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69"/>
  </p:notesMasterIdLst>
  <p:handoutMasterIdLst>
    <p:handoutMasterId r:id="rId70"/>
  </p:handoutMasterIdLst>
  <p:sldIdLst>
    <p:sldId id="257" r:id="rId5"/>
    <p:sldId id="295" r:id="rId6"/>
    <p:sldId id="270" r:id="rId7"/>
    <p:sldId id="297" r:id="rId8"/>
    <p:sldId id="372" r:id="rId9"/>
    <p:sldId id="418" r:id="rId10"/>
    <p:sldId id="419" r:id="rId11"/>
    <p:sldId id="420" r:id="rId12"/>
    <p:sldId id="422" r:id="rId13"/>
    <p:sldId id="423" r:id="rId14"/>
    <p:sldId id="424" r:id="rId15"/>
    <p:sldId id="425" r:id="rId16"/>
    <p:sldId id="426" r:id="rId17"/>
    <p:sldId id="427" r:id="rId18"/>
    <p:sldId id="428" r:id="rId19"/>
    <p:sldId id="429" r:id="rId20"/>
    <p:sldId id="430" r:id="rId21"/>
    <p:sldId id="431" r:id="rId22"/>
    <p:sldId id="432" r:id="rId23"/>
    <p:sldId id="433" r:id="rId24"/>
    <p:sldId id="389" r:id="rId25"/>
    <p:sldId id="390" r:id="rId26"/>
    <p:sldId id="391" r:id="rId27"/>
    <p:sldId id="392" r:id="rId28"/>
    <p:sldId id="393" r:id="rId29"/>
    <p:sldId id="394" r:id="rId30"/>
    <p:sldId id="395" r:id="rId31"/>
    <p:sldId id="396" r:id="rId32"/>
    <p:sldId id="397" r:id="rId33"/>
    <p:sldId id="398" r:id="rId34"/>
    <p:sldId id="399" r:id="rId35"/>
    <p:sldId id="400" r:id="rId36"/>
    <p:sldId id="401" r:id="rId37"/>
    <p:sldId id="402" r:id="rId38"/>
    <p:sldId id="403" r:id="rId39"/>
    <p:sldId id="404" r:id="rId40"/>
    <p:sldId id="405" r:id="rId41"/>
    <p:sldId id="406" r:id="rId42"/>
    <p:sldId id="407" r:id="rId43"/>
    <p:sldId id="408" r:id="rId44"/>
    <p:sldId id="409" r:id="rId45"/>
    <p:sldId id="410" r:id="rId46"/>
    <p:sldId id="411" r:id="rId47"/>
    <p:sldId id="412" r:id="rId48"/>
    <p:sldId id="413" r:id="rId49"/>
    <p:sldId id="414" r:id="rId50"/>
    <p:sldId id="415" r:id="rId51"/>
    <p:sldId id="416" r:id="rId52"/>
    <p:sldId id="417" r:id="rId53"/>
    <p:sldId id="349" r:id="rId54"/>
    <p:sldId id="367" r:id="rId55"/>
    <p:sldId id="368" r:id="rId56"/>
    <p:sldId id="350" r:id="rId57"/>
    <p:sldId id="351" r:id="rId58"/>
    <p:sldId id="370" r:id="rId59"/>
    <p:sldId id="353" r:id="rId60"/>
    <p:sldId id="369" r:id="rId61"/>
    <p:sldId id="356" r:id="rId62"/>
    <p:sldId id="357" r:id="rId63"/>
    <p:sldId id="358" r:id="rId64"/>
    <p:sldId id="359" r:id="rId65"/>
    <p:sldId id="360" r:id="rId66"/>
    <p:sldId id="364" r:id="rId67"/>
    <p:sldId id="365" r:id="rId68"/>
  </p:sldIdLst>
  <p:sldSz cx="9144000" cy="6858000" type="screen4x3"/>
  <p:notesSz cx="6858000" cy="9144000"/>
  <p:embeddedFontLst>
    <p:embeddedFont>
      <p:font typeface="MV Boli" panose="02000500030200090000" pitchFamily="2" charset="0"/>
      <p:regular r:id="rId71"/>
    </p:embeddedFont>
    <p:embeddedFont>
      <p:font typeface="Calibri" panose="020F0502020204030204" pitchFamily="34" charset="0"/>
      <p:regular r:id="rId72"/>
      <p:bold r:id="rId73"/>
      <p:italic r:id="rId74"/>
      <p:boldItalic r:id="rId75"/>
    </p:embeddedFont>
    <p:embeddedFont>
      <p:font typeface="黑体" panose="02010609060101010101" pitchFamily="49" charset="-122"/>
      <p:regular r:id="rId76"/>
    </p:embeddedFont>
    <p:embeddedFont>
      <p:font typeface="SimSun" panose="02010600030101010101" pitchFamily="2" charset="-122"/>
      <p:regular r:id="rId77"/>
    </p:embeddedFont>
  </p:embeddedFontLst>
  <p:custDataLst>
    <p:tags r:id="rId7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59">
          <p15:clr>
            <a:srgbClr val="A4A3A4"/>
          </p15:clr>
        </p15:guide>
        <p15:guide id="2" orient="horz" pos="245">
          <p15:clr>
            <a:srgbClr val="A4A3A4"/>
          </p15:clr>
        </p15:guide>
        <p15:guide id="3" orient="horz" pos="665">
          <p15:clr>
            <a:srgbClr val="A4A3A4"/>
          </p15:clr>
        </p15:guide>
        <p15:guide id="4" orient="horz" pos="732">
          <p15:clr>
            <a:srgbClr val="A4A3A4"/>
          </p15:clr>
        </p15:guide>
        <p15:guide id="5" orient="horz" pos="4223">
          <p15:clr>
            <a:srgbClr val="A4A3A4"/>
          </p15:clr>
        </p15:guide>
        <p15:guide id="6" orient="horz" pos="4142">
          <p15:clr>
            <a:srgbClr val="A4A3A4"/>
          </p15:clr>
        </p15:guide>
        <p15:guide id="7" orient="horz" pos="4090">
          <p15:clr>
            <a:srgbClr val="A4A3A4"/>
          </p15:clr>
        </p15:guide>
        <p15:guide id="8" orient="horz" pos="811">
          <p15:clr>
            <a:srgbClr val="A4A3A4"/>
          </p15:clr>
        </p15:guide>
        <p15:guide id="9" orient="horz" pos="2451">
          <p15:clr>
            <a:srgbClr val="A4A3A4"/>
          </p15:clr>
        </p15:guide>
        <p15:guide id="10" pos="287">
          <p15:clr>
            <a:srgbClr val="A4A3A4"/>
          </p15:clr>
        </p15:guide>
        <p15:guide id="11" pos="5473">
          <p15:clr>
            <a:srgbClr val="A4A3A4"/>
          </p15:clr>
        </p15:guide>
        <p15:guide id="12" pos="2845">
          <p15:clr>
            <a:srgbClr val="A4A3A4"/>
          </p15:clr>
        </p15:guide>
        <p15:guide id="13" pos="2915">
          <p15:clr>
            <a:srgbClr val="A4A3A4"/>
          </p15:clr>
        </p15:guide>
        <p15:guide id="14" pos="2881">
          <p15:clr>
            <a:srgbClr val="A4A3A4"/>
          </p15:clr>
        </p15:guide>
        <p15:guide id="15" pos="5504">
          <p15:clr>
            <a:srgbClr val="A4A3A4"/>
          </p15:clr>
        </p15:guide>
        <p15:guide id="16" pos="1970">
          <p15:clr>
            <a:srgbClr val="A4A3A4"/>
          </p15:clr>
        </p15:guide>
        <p15:guide id="17" pos="3790">
          <p15:clr>
            <a:srgbClr val="A4A3A4"/>
          </p15:clr>
        </p15:guide>
        <p15:guide id="18" pos="3721">
          <p15:clr>
            <a:srgbClr val="A4A3A4"/>
          </p15:clr>
        </p15:guide>
        <p15:guide id="19" pos="2037">
          <p15:clr>
            <a:srgbClr val="A4A3A4"/>
          </p15:clr>
        </p15:guide>
        <p15:guide id="20" orient="horz" pos="741">
          <p15:clr>
            <a:srgbClr val="A4A3A4"/>
          </p15:clr>
        </p15:guide>
        <p15:guide id="21" orient="horz" pos="4065">
          <p15:clr>
            <a:srgbClr val="A4A3A4"/>
          </p15:clr>
        </p15:guide>
        <p15:guide id="22" orient="horz" pos="2441">
          <p15:clr>
            <a:srgbClr val="A4A3A4"/>
          </p15:clr>
        </p15:guide>
        <p15:guide id="23" pos="2813">
          <p15:clr>
            <a:srgbClr val="A4A3A4"/>
          </p15:clr>
        </p15:guide>
        <p15:guide id="24" pos="2948">
          <p15:clr>
            <a:srgbClr val="A4A3A4"/>
          </p15:clr>
        </p15:guide>
        <p15:guide id="25" pos="2061">
          <p15:clr>
            <a:srgbClr val="A4A3A4"/>
          </p15:clr>
        </p15:guide>
        <p15:guide id="26" pos="3699">
          <p15:clr>
            <a:srgbClr val="A4A3A4"/>
          </p15:clr>
        </p15:guide>
        <p15:guide id="27" pos="1925">
          <p15:clr>
            <a:srgbClr val="A4A3A4"/>
          </p15:clr>
        </p15:guide>
        <p15:guide id="28" pos="3835">
          <p15:clr>
            <a:srgbClr val="A4A3A4"/>
          </p15:clr>
        </p15:guide>
        <p15:guide id="29" orient="horz" pos="232">
          <p15:clr>
            <a:srgbClr val="A4A3A4"/>
          </p15:clr>
        </p15:guide>
        <p15:guide id="30" orient="horz" pos="526">
          <p15:clr>
            <a:srgbClr val="A4A3A4"/>
          </p15:clr>
        </p15:guide>
        <p15:guide id="31" orient="horz" pos="582">
          <p15:clr>
            <a:srgbClr val="A4A3A4"/>
          </p15:clr>
        </p15:guide>
        <p15:guide id="32" orient="horz" pos="4225">
          <p15:clr>
            <a:srgbClr val="A4A3A4"/>
          </p15:clr>
        </p15:guide>
        <p15:guide id="33" orient="horz" pos="707">
          <p15:clr>
            <a:srgbClr val="A4A3A4"/>
          </p15:clr>
        </p15:guide>
        <p15:guide id="34" orient="horz" pos="3990">
          <p15:clr>
            <a:srgbClr val="A4A3A4"/>
          </p15:clr>
        </p15:guide>
        <p15:guide id="35" orient="horz" pos="2335">
          <p15:clr>
            <a:srgbClr val="A4A3A4"/>
          </p15:clr>
        </p15:guide>
        <p15:guide id="36" orient="horz" pos="1133">
          <p15:clr>
            <a:srgbClr val="A4A3A4"/>
          </p15:clr>
        </p15:guide>
        <p15:guide id="37" pos="547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LO" initials="DLO " lastIdx="23" clrIdx="0"/>
  <p:cmAuthor id="1" name="Rachael Willis" initials="RW"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0000"/>
    <a:srgbClr val="CBCCCC"/>
    <a:srgbClr val="FF9900"/>
    <a:srgbClr val="002200"/>
    <a:srgbClr val="003200"/>
    <a:srgbClr val="FFFFFF"/>
    <a:srgbClr val="551155"/>
    <a:srgbClr val="2F539C"/>
    <a:srgbClr val="0033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02" autoAdjust="0"/>
    <p:restoredTop sz="89388" autoAdjust="0"/>
  </p:normalViewPr>
  <p:slideViewPr>
    <p:cSldViewPr snapToGrid="0" snapToObjects="1" showGuides="1">
      <p:cViewPr varScale="1">
        <p:scale>
          <a:sx n="109" d="100"/>
          <a:sy n="109" d="100"/>
        </p:scale>
        <p:origin x="126" y="126"/>
      </p:cViewPr>
      <p:guideLst>
        <p:guide orient="horz" pos="2159"/>
        <p:guide orient="horz" pos="245"/>
        <p:guide orient="horz" pos="665"/>
        <p:guide orient="horz" pos="732"/>
        <p:guide orient="horz" pos="4223"/>
        <p:guide orient="horz" pos="4142"/>
        <p:guide orient="horz" pos="4090"/>
        <p:guide orient="horz" pos="811"/>
        <p:guide orient="horz" pos="2451"/>
        <p:guide pos="287"/>
        <p:guide pos="5473"/>
        <p:guide pos="2845"/>
        <p:guide pos="2915"/>
        <p:guide pos="2881"/>
        <p:guide pos="5504"/>
        <p:guide pos="1970"/>
        <p:guide pos="3790"/>
        <p:guide pos="3721"/>
        <p:guide pos="2037"/>
        <p:guide orient="horz" pos="741"/>
        <p:guide orient="horz" pos="4065"/>
        <p:guide orient="horz" pos="2441"/>
        <p:guide pos="2813"/>
        <p:guide pos="2948"/>
        <p:guide pos="2061"/>
        <p:guide pos="3699"/>
        <p:guide pos="1925"/>
        <p:guide pos="3835"/>
        <p:guide orient="horz" pos="232"/>
        <p:guide orient="horz" pos="526"/>
        <p:guide orient="horz" pos="582"/>
        <p:guide orient="horz" pos="4225"/>
        <p:guide orient="horz" pos="707"/>
        <p:guide orient="horz" pos="3990"/>
        <p:guide orient="horz" pos="2335"/>
        <p:guide orient="horz" pos="1133"/>
        <p:guide pos="54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6.fntdata"/><Relationship Id="rId7" Type="http://schemas.openxmlformats.org/officeDocument/2006/relationships/slide" Target="slides/slide3.xml"/><Relationship Id="rId71" Type="http://schemas.openxmlformats.org/officeDocument/2006/relationships/font" Target="fonts/font1.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font" Target="fonts/font4.fntdata"/><Relationship Id="rId79"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3.fntdata"/><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openxmlformats.org/officeDocument/2006/relationships/font" Target="fonts/font7.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2.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font" Target="fonts/font5.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7/1/2016</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7/1/2016</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pitchFamily="34"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github.com/cucumber/cucumber/wiki"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p:spPr>
      </p:sp>
      <p:sp>
        <p:nvSpPr>
          <p:cNvPr id="9219" name="Notes Placeholder 2"/>
          <p:cNvSpPr>
            <a:spLocks noGrp="1"/>
          </p:cNvSpPr>
          <p:nvPr>
            <p:ph type="body" idx="1"/>
          </p:nvPr>
        </p:nvSpPr>
        <p:spPr bwMode="auto">
          <a:noFill/>
        </p:spPr>
        <p:txBody>
          <a:bodyPr/>
          <a:lstStyle/>
          <a:p>
            <a:r>
              <a:rPr lang="en-GB" dirty="0" smtClean="0"/>
              <a:t>Welcome</a:t>
            </a:r>
            <a:r>
              <a:rPr lang="en-GB" baseline="0" dirty="0" smtClean="0"/>
              <a:t> people and say we’re glad to have them, </a:t>
            </a:r>
          </a:p>
          <a:p>
            <a:r>
              <a:rPr lang="en-GB" baseline="0" dirty="0" smtClean="0"/>
              <a:t>DevOps is really important</a:t>
            </a:r>
          </a:p>
          <a:p>
            <a:r>
              <a:rPr lang="en-GB" baseline="0" dirty="0" smtClean="0"/>
              <a:t>It’s going to be great to spend 2 days going through the course</a:t>
            </a:r>
            <a:endParaRPr lang="en-GB" dirty="0" smtClean="0"/>
          </a:p>
          <a:p>
            <a:endParaRPr lang="en-US" dirty="0" smtClean="0"/>
          </a:p>
        </p:txBody>
      </p:sp>
    </p:spTree>
    <p:extLst>
      <p:ext uri="{BB962C8B-B14F-4D97-AF65-F5344CB8AC3E}">
        <p14:creationId xmlns:p14="http://schemas.microsoft.com/office/powerpoint/2010/main" val="3857415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xplain Shipyard.</a:t>
            </a:r>
          </a:p>
          <a:p>
            <a:endParaRPr lang="en-GB" dirty="0" smtClean="0"/>
          </a:p>
          <a:p>
            <a:pPr marL="171450" indent="-171450">
              <a:buFont typeface="Arial" panose="020B0604020202020204" pitchFamily="34" charset="0"/>
              <a:buChar char="•"/>
            </a:pPr>
            <a:r>
              <a:rPr lang="en-GB" dirty="0" smtClean="0"/>
              <a:t>Manage</a:t>
            </a:r>
            <a:r>
              <a:rPr lang="en-GB" baseline="0" dirty="0" smtClean="0"/>
              <a:t> </a:t>
            </a:r>
            <a:r>
              <a:rPr lang="en-GB" dirty="0" smtClean="0"/>
              <a:t>Docker daemons</a:t>
            </a:r>
            <a:r>
              <a:rPr lang="en-GB" baseline="0" dirty="0" smtClean="0"/>
              <a:t> on separate hosts.</a:t>
            </a:r>
            <a:endParaRPr lang="en-GB" dirty="0" smtClean="0"/>
          </a:p>
          <a:p>
            <a:pPr marL="171450" indent="-171450">
              <a:buFont typeface="Arial" panose="020B0604020202020204" pitchFamily="34" charset="0"/>
              <a:buChar char="•"/>
            </a:pPr>
            <a:r>
              <a:rPr lang="en-GB" dirty="0" smtClean="0"/>
              <a:t>View Container logs</a:t>
            </a:r>
          </a:p>
          <a:p>
            <a:pPr marL="171450" indent="-171450">
              <a:buFont typeface="Arial" panose="020B0604020202020204" pitchFamily="34" charset="0"/>
              <a:buChar char="•"/>
            </a:pPr>
            <a:r>
              <a:rPr lang="en-GB" dirty="0" smtClean="0"/>
              <a:t>Deploy, Destroy, Scale</a:t>
            </a:r>
            <a:r>
              <a:rPr lang="en-GB" baseline="0" dirty="0" smtClean="0"/>
              <a:t> and </a:t>
            </a:r>
            <a:r>
              <a:rPr lang="en-GB" dirty="0" smtClean="0"/>
              <a:t>restart containers</a:t>
            </a:r>
          </a:p>
          <a:p>
            <a:pPr marL="171450" indent="-171450">
              <a:buFont typeface="Arial" panose="020B0604020202020204" pitchFamily="34" charset="0"/>
              <a:buChar char="•"/>
            </a:pPr>
            <a:r>
              <a:rPr lang="en-GB" dirty="0" smtClean="0"/>
              <a:t>View running containers</a:t>
            </a:r>
          </a:p>
          <a:p>
            <a:pPr marL="171450" indent="-171450">
              <a:buFont typeface="Arial" panose="020B0604020202020204" pitchFamily="34" charset="0"/>
              <a:buChar char="•"/>
            </a:pPr>
            <a:r>
              <a:rPr lang="en-GB" dirty="0" smtClean="0"/>
              <a:t>Monitor Container CPU/Memory Usage</a:t>
            </a:r>
          </a:p>
          <a:p>
            <a:pPr marL="0" indent="0">
              <a:buFont typeface="Arial" panose="020B0604020202020204" pitchFamily="34" charset="0"/>
              <a:buNone/>
            </a:pPr>
            <a:endParaRPr lang="en-GB" baseline="0" dirty="0" smtClean="0"/>
          </a:p>
          <a:p>
            <a:pPr marL="0" indent="0">
              <a:buFont typeface="Arial" panose="020B0604020202020204" pitchFamily="34" charset="0"/>
              <a:buNone/>
            </a:pPr>
            <a:r>
              <a:rPr lang="en-GB" baseline="0" dirty="0" smtClean="0"/>
              <a:t>Downsides:</a:t>
            </a:r>
          </a:p>
          <a:p>
            <a:pPr marL="0" indent="0">
              <a:buFont typeface="Arial" panose="020B0604020202020204" pitchFamily="34" charset="0"/>
              <a:buNone/>
            </a:pPr>
            <a:endParaRPr lang="en-GB" baseline="0" dirty="0" smtClean="0"/>
          </a:p>
          <a:p>
            <a:pPr marL="0" indent="0">
              <a:buFont typeface="Arial" panose="020B0604020202020204" pitchFamily="34" charset="0"/>
              <a:buNone/>
            </a:pPr>
            <a:r>
              <a:rPr lang="en-GB" baseline="0" dirty="0" smtClean="0"/>
              <a:t>Security - Docker daemon needs to be listening on 0.0.0.0:2375 opposed to a local web socket. </a:t>
            </a:r>
          </a:p>
        </p:txBody>
      </p:sp>
      <p:sp>
        <p:nvSpPr>
          <p:cNvPr id="4" name="Slide Number Placeholder 3"/>
          <p:cNvSpPr>
            <a:spLocks noGrp="1"/>
          </p:cNvSpPr>
          <p:nvPr>
            <p:ph type="sldNum" sz="quarter" idx="10"/>
          </p:nvPr>
        </p:nvSpPr>
        <p:spPr/>
        <p:txBody>
          <a:bodyPr/>
          <a:lstStyle/>
          <a:p>
            <a:fld id="{BFBB8159-5CDE-4634-8C5A-3005F6D7C227}" type="slidenum">
              <a:rPr lang="en-GB" smtClean="0"/>
              <a:t>17</a:t>
            </a:fld>
            <a:endParaRPr lang="en-GB" dirty="0"/>
          </a:p>
        </p:txBody>
      </p:sp>
    </p:spTree>
    <p:extLst>
      <p:ext uri="{BB962C8B-B14F-4D97-AF65-F5344CB8AC3E}">
        <p14:creationId xmlns:p14="http://schemas.microsoft.com/office/powerpoint/2010/main" val="1685889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90684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t>It’s controlling</a:t>
            </a:r>
            <a:r>
              <a:rPr lang="en-US" altLang="en-US" baseline="0" dirty="0" smtClean="0"/>
              <a:t> what moves to achieve reproducibility and predictability </a:t>
            </a:r>
            <a:endParaRPr lang="en-US" altLang="en-US" dirty="0"/>
          </a:p>
        </p:txBody>
      </p:sp>
      <p:sp>
        <p:nvSpPr>
          <p:cNvPr id="4" name="Slide Number Placeholder 3"/>
          <p:cNvSpPr>
            <a:spLocks noGrp="1"/>
          </p:cNvSpPr>
          <p:nvPr>
            <p:ph type="sldNum" sz="quarter" idx="10"/>
          </p:nvPr>
        </p:nvSpPr>
        <p:spPr/>
        <p:txBody>
          <a:bodyPr/>
          <a:lstStyle/>
          <a:p>
            <a:fld id="{27F7A45B-6EF4-48D1-BAD3-C67D3F7B37C9}" type="slidenum">
              <a:rPr lang="en-GB" smtClean="0"/>
              <a:t>22</a:t>
            </a:fld>
            <a:endParaRPr lang="en-GB"/>
          </a:p>
        </p:txBody>
      </p:sp>
    </p:spTree>
    <p:extLst>
      <p:ext uri="{BB962C8B-B14F-4D97-AF65-F5344CB8AC3E}">
        <p14:creationId xmlns:p14="http://schemas.microsoft.com/office/powerpoint/2010/main" val="2705348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en-US" dirty="0" smtClean="0"/>
              <a:t>Everything</a:t>
            </a:r>
            <a:r>
              <a:rPr lang="en-US" altLang="en-US" baseline="0" dirty="0" smtClean="0"/>
              <a:t> </a:t>
            </a:r>
          </a:p>
          <a:p>
            <a:r>
              <a:rPr lang="en-US" altLang="en-US" dirty="0" smtClean="0"/>
              <a:t>Hardware</a:t>
            </a:r>
            <a:r>
              <a:rPr lang="en-US" altLang="en-US" baseline="0" dirty="0" smtClean="0"/>
              <a:t> and software can be treated the same!</a:t>
            </a:r>
            <a:endParaRPr lang="en-US" altLang="en-US" dirty="0"/>
          </a:p>
        </p:txBody>
      </p:sp>
    </p:spTree>
    <p:extLst>
      <p:ext uri="{BB962C8B-B14F-4D97-AF65-F5344CB8AC3E}">
        <p14:creationId xmlns:p14="http://schemas.microsoft.com/office/powerpoint/2010/main" val="562841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2"/>
          <p:cNvSpPr>
            <a:spLocks noGrp="1" noRot="1" noChangeAspect="1" noChangeArrowheads="1" noTextEdit="1"/>
          </p:cNvSpPr>
          <p:nvPr>
            <p:ph type="sldImg"/>
          </p:nvPr>
        </p:nvSpPr>
        <p:spPr>
          <a:ln/>
        </p:spPr>
      </p:sp>
      <p:sp>
        <p:nvSpPr>
          <p:cNvPr id="388099" name="Rectangle 3"/>
          <p:cNvSpPr>
            <a:spLocks noGrp="1" noChangeArrowheads="1"/>
          </p:cNvSpPr>
          <p:nvPr>
            <p:ph type="body" idx="1"/>
          </p:nvPr>
        </p:nvSpPr>
        <p:spPr/>
        <p:txBody>
          <a:bodyPr/>
          <a:lstStyle/>
          <a:p>
            <a:r>
              <a:rPr lang="en-US" altLang="en-US" dirty="0" smtClean="0"/>
              <a:t>The “CM tool” term</a:t>
            </a:r>
            <a:r>
              <a:rPr lang="en-US" altLang="en-US" baseline="0" dirty="0" smtClean="0"/>
              <a:t> gets applied to Infrastructure-as-Code tools</a:t>
            </a:r>
            <a:r>
              <a:rPr lang="en-US" altLang="en-US" dirty="0" smtClean="0"/>
              <a:t> like Puppet and Chef also</a:t>
            </a:r>
            <a:r>
              <a:rPr lang="en-US" altLang="en-US" baseline="0" dirty="0" smtClean="0"/>
              <a:t>. In terms of overall Configuration Management, these are new types of Configuration Items that used to be captured in the design documents we used to use to deploy infrastructure by hand in the </a:t>
            </a:r>
            <a:r>
              <a:rPr lang="en-US" altLang="en-US" baseline="0" dirty="0" err="1" smtClean="0"/>
              <a:t>datacentre</a:t>
            </a:r>
            <a:r>
              <a:rPr lang="en-US" altLang="en-US" baseline="0" dirty="0" smtClean="0"/>
              <a:t>.  </a:t>
            </a:r>
          </a:p>
          <a:p>
            <a:r>
              <a:rPr lang="en-US" altLang="en-US" baseline="0" dirty="0" smtClean="0"/>
              <a:t>As more code deployment pipelines begin to also defined infrastructure configuration dynamically, the concept of </a:t>
            </a:r>
            <a:r>
              <a:rPr lang="en-US" altLang="en-US" baseline="0" dirty="0" err="1" smtClean="0"/>
              <a:t>Config</a:t>
            </a:r>
            <a:r>
              <a:rPr lang="en-US" altLang="en-US" baseline="0" dirty="0" smtClean="0"/>
              <a:t> </a:t>
            </a:r>
            <a:r>
              <a:rPr lang="en-US" altLang="en-US" baseline="0" dirty="0" err="1" smtClean="0"/>
              <a:t>Mgmt</a:t>
            </a:r>
            <a:r>
              <a:rPr lang="en-US" altLang="en-US" baseline="0" dirty="0" smtClean="0"/>
              <a:t> and </a:t>
            </a:r>
            <a:r>
              <a:rPr lang="en-US" altLang="en-US" baseline="0" dirty="0" err="1" smtClean="0"/>
              <a:t>Config</a:t>
            </a:r>
            <a:r>
              <a:rPr lang="en-US" altLang="en-US" baseline="0" dirty="0" smtClean="0"/>
              <a:t> Item is expanding</a:t>
            </a:r>
            <a:endParaRPr lang="en-US" altLang="en-US" dirty="0"/>
          </a:p>
        </p:txBody>
      </p:sp>
    </p:spTree>
    <p:extLst>
      <p:ext uri="{BB962C8B-B14F-4D97-AF65-F5344CB8AC3E}">
        <p14:creationId xmlns:p14="http://schemas.microsoft.com/office/powerpoint/2010/main" val="1986015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esenter Notes:</a:t>
            </a:r>
          </a:p>
          <a:p>
            <a:pPr marL="171450" indent="-171450">
              <a:buFontTx/>
              <a:buChar char="-"/>
            </a:pPr>
            <a:r>
              <a:rPr lang="en-GB" dirty="0" smtClean="0"/>
              <a:t>Define SCM</a:t>
            </a:r>
          </a:p>
          <a:p>
            <a:pPr marL="171450" indent="-171450">
              <a:buFontTx/>
              <a:buChar char="-"/>
            </a:pPr>
            <a:r>
              <a:rPr lang="en-GB" dirty="0" smtClean="0"/>
              <a:t>What is involved in SCM e.g. managing code, collaboration</a:t>
            </a:r>
            <a:r>
              <a:rPr lang="en-GB" baseline="0" dirty="0" smtClean="0"/>
              <a:t> between developers etc.</a:t>
            </a:r>
            <a:endParaRPr lang="en-GB" dirty="0" smtClean="0"/>
          </a:p>
          <a:p>
            <a:pPr marL="171450" indent="-171450">
              <a:buFontTx/>
              <a:buChar char="-"/>
            </a:pPr>
            <a:r>
              <a:rPr lang="en-GB" dirty="0" smtClean="0"/>
              <a:t>After defining SCM, presenter can</a:t>
            </a:r>
            <a:r>
              <a:rPr lang="en-GB" baseline="0" dirty="0" smtClean="0"/>
              <a:t> go into some of the challenges of SCM</a:t>
            </a:r>
          </a:p>
          <a:p>
            <a:pPr marL="171450" indent="-171450">
              <a:buFontTx/>
              <a:buChar char="-"/>
            </a:pPr>
            <a:r>
              <a:rPr lang="en-GB" baseline="0" dirty="0" smtClean="0"/>
              <a:t>Explain why we use SCM tools</a:t>
            </a:r>
          </a:p>
          <a:p>
            <a:pPr marL="171450" indent="-171450">
              <a:buFontTx/>
              <a:buChar char="-"/>
            </a:pPr>
            <a:r>
              <a:rPr lang="en-GB" baseline="0" dirty="0" smtClean="0"/>
              <a:t>Detail Some of the function of SCM tools</a:t>
            </a:r>
          </a:p>
          <a:p>
            <a:pPr marL="171450" indent="-171450">
              <a:buFontTx/>
              <a:buChar char="-"/>
            </a:pPr>
            <a:r>
              <a:rPr lang="en-GB" baseline="0" dirty="0" smtClean="0"/>
              <a:t>Be sure not to confuse CM, SCM and Source Code Control. CM is part of a knowledge discipline of Software Engineering, SCM is a methodology for capturing some good discipline and practices consistent with good CM for Software Engineering</a:t>
            </a:r>
          </a:p>
          <a:p>
            <a:pPr marL="171450" indent="-171450">
              <a:buFontTx/>
              <a:buChar char="-"/>
            </a:pPr>
            <a:r>
              <a:rPr lang="en-GB" baseline="0" dirty="0" smtClean="0"/>
              <a:t>Source Code Control is specific to source code assets</a:t>
            </a:r>
            <a:endParaRPr lang="en-GB" dirty="0" smtClean="0"/>
          </a:p>
          <a:p>
            <a:endParaRPr lang="en-GB" dirty="0"/>
          </a:p>
        </p:txBody>
      </p:sp>
      <p:sp>
        <p:nvSpPr>
          <p:cNvPr id="4" name="Slide Number Placeholder 3"/>
          <p:cNvSpPr>
            <a:spLocks noGrp="1"/>
          </p:cNvSpPr>
          <p:nvPr>
            <p:ph type="sldNum" sz="quarter" idx="10"/>
          </p:nvPr>
        </p:nvSpPr>
        <p:spPr/>
        <p:txBody>
          <a:bodyPr/>
          <a:lstStyle/>
          <a:p>
            <a:fld id="{27F7A45B-6EF4-48D1-BAD3-C67D3F7B37C9}" type="slidenum">
              <a:rPr lang="en-GB" smtClean="0"/>
              <a:t>25</a:t>
            </a:fld>
            <a:endParaRPr lang="en-GB"/>
          </a:p>
        </p:txBody>
      </p:sp>
    </p:spTree>
    <p:extLst>
      <p:ext uri="{BB962C8B-B14F-4D97-AF65-F5344CB8AC3E}">
        <p14:creationId xmlns:p14="http://schemas.microsoft.com/office/powerpoint/2010/main" val="1540179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esenter Notes:</a:t>
            </a:r>
          </a:p>
          <a:p>
            <a:pPr marL="171450" indent="-171450">
              <a:buFontTx/>
              <a:buChar char="-"/>
            </a:pPr>
            <a:r>
              <a:rPr lang="en-GB" dirty="0" smtClean="0"/>
              <a:t>Explain what a version control system is</a:t>
            </a:r>
          </a:p>
          <a:p>
            <a:pPr marL="171450" indent="-171450">
              <a:buFontTx/>
              <a:buChar char="-"/>
            </a:pPr>
            <a:r>
              <a:rPr lang="en-GB" dirty="0" smtClean="0"/>
              <a:t>Explain why we use it</a:t>
            </a:r>
          </a:p>
          <a:p>
            <a:pPr marL="171450" indent="-171450">
              <a:buFontTx/>
              <a:buChar char="-"/>
            </a:pPr>
            <a:r>
              <a:rPr lang="en-GB" dirty="0" smtClean="0"/>
              <a:t>Expand</a:t>
            </a:r>
            <a:r>
              <a:rPr lang="en-GB" baseline="0" dirty="0" smtClean="0"/>
              <a:t> on w</a:t>
            </a:r>
            <a:r>
              <a:rPr lang="en-GB" dirty="0" smtClean="0"/>
              <a:t>hat</a:t>
            </a:r>
            <a:r>
              <a:rPr lang="en-GB" baseline="0" dirty="0" smtClean="0"/>
              <a:t> are the kinds of metadata tracked by VCS</a:t>
            </a:r>
          </a:p>
          <a:p>
            <a:pPr marL="171450" indent="-171450">
              <a:buFontTx/>
              <a:buChar char="-"/>
            </a:pPr>
            <a:r>
              <a:rPr lang="en-GB" baseline="0" dirty="0" smtClean="0"/>
              <a:t>Highlight there are two main types of VCS</a:t>
            </a:r>
          </a:p>
          <a:p>
            <a:pPr marL="171450" indent="-171450">
              <a:buFontTx/>
              <a:buChar char="-"/>
            </a:pPr>
            <a:r>
              <a:rPr lang="en-GB" baseline="0" dirty="0" smtClean="0"/>
              <a:t>Introduce Centralized VCS</a:t>
            </a:r>
          </a:p>
          <a:p>
            <a:pPr marL="171450" indent="-171450">
              <a:buFontTx/>
              <a:buChar char="-"/>
            </a:pPr>
            <a:r>
              <a:rPr lang="en-GB" baseline="0" dirty="0" smtClean="0"/>
              <a:t>Introduce Distributed VCS</a:t>
            </a:r>
          </a:p>
          <a:p>
            <a:pPr marL="171450" indent="-171450">
              <a:buFontTx/>
              <a:buChar char="-"/>
            </a:pPr>
            <a:r>
              <a:rPr lang="en-GB" baseline="0" dirty="0" smtClean="0"/>
              <a:t>Make sure to highlight the differences between the two – VERY IMPORTANT (see slide 13)</a:t>
            </a:r>
            <a:endParaRPr lang="en-GB" dirty="0" smtClean="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6</a:t>
            </a:fld>
            <a:endParaRPr lang="en-GB" dirty="0"/>
          </a:p>
        </p:txBody>
      </p:sp>
    </p:spTree>
    <p:extLst>
      <p:ext uri="{BB962C8B-B14F-4D97-AF65-F5344CB8AC3E}">
        <p14:creationId xmlns:p14="http://schemas.microsoft.com/office/powerpoint/2010/main" val="1940011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esenter Notes:</a:t>
            </a:r>
          </a:p>
          <a:p>
            <a:pPr marL="171450" indent="-171450">
              <a:buFontTx/>
              <a:buChar char="-"/>
            </a:pPr>
            <a:r>
              <a:rPr lang="en-GB" baseline="0" dirty="0" smtClean="0"/>
              <a:t>Introduce Git</a:t>
            </a:r>
          </a:p>
          <a:p>
            <a:pPr marL="171450" indent="-171450">
              <a:buFontTx/>
              <a:buChar char="-"/>
            </a:pPr>
            <a:r>
              <a:rPr lang="en-GB" baseline="0" dirty="0" smtClean="0"/>
              <a:t>Invented by Linus </a:t>
            </a:r>
            <a:r>
              <a:rPr lang="en-GB" sz="1200" b="0" i="0" kern="1200" dirty="0" smtClean="0">
                <a:solidFill>
                  <a:schemeClr val="tx1"/>
                </a:solidFill>
                <a:effectLst/>
                <a:latin typeface="+mn-lt"/>
                <a:ea typeface="+mn-ea"/>
                <a:cs typeface="+mn-cs"/>
              </a:rPr>
              <a:t>Torvalds </a:t>
            </a:r>
            <a:r>
              <a:rPr lang="en-GB" baseline="0" dirty="0" smtClean="0"/>
              <a:t>(Linux)</a:t>
            </a:r>
          </a:p>
          <a:p>
            <a:pPr marL="171450" indent="-171450">
              <a:buFontTx/>
              <a:buChar char="-"/>
            </a:pPr>
            <a:r>
              <a:rPr lang="en-GB" baseline="0" dirty="0" smtClean="0"/>
              <a:t>Why Git:</a:t>
            </a:r>
          </a:p>
          <a:p>
            <a:pPr marL="171450" indent="-171450">
              <a:buFontTx/>
              <a:buChar char="-"/>
            </a:pPr>
            <a:r>
              <a:rPr lang="en-GB" sz="1200" b="0" i="0" kern="1200" dirty="0" smtClean="0">
                <a:solidFill>
                  <a:schemeClr val="tx1"/>
                </a:solidFill>
                <a:effectLst/>
                <a:latin typeface="+mn-lt"/>
                <a:ea typeface="+mn-ea"/>
                <a:cs typeface="+mn-cs"/>
              </a:rPr>
              <a:t>Torvalds said: "I'm an egotistical </a:t>
            </a:r>
            <a:r>
              <a:rPr lang="en-GB" sz="1200" b="0" i="0" strike="sngStrike" kern="1200" dirty="0" smtClean="0">
                <a:solidFill>
                  <a:schemeClr val="tx1"/>
                </a:solidFill>
                <a:effectLst/>
                <a:latin typeface="+mn-lt"/>
                <a:ea typeface="+mn-ea"/>
                <a:cs typeface="+mn-cs"/>
              </a:rPr>
              <a:t>bastard</a:t>
            </a:r>
            <a:r>
              <a:rPr lang="en-GB" sz="1200" b="0" i="0" kern="1200" dirty="0" smtClean="0">
                <a:solidFill>
                  <a:schemeClr val="tx1"/>
                </a:solidFill>
                <a:effectLst/>
                <a:latin typeface="+mn-lt"/>
                <a:ea typeface="+mn-ea"/>
                <a:cs typeface="+mn-cs"/>
              </a:rPr>
              <a:t>, and I </a:t>
            </a:r>
            <a:r>
              <a:rPr lang="en-GB" sz="1200" b="1" i="0" kern="1200" dirty="0" smtClean="0">
                <a:solidFill>
                  <a:schemeClr val="tx1"/>
                </a:solidFill>
                <a:effectLst/>
                <a:latin typeface="+mn-lt"/>
                <a:ea typeface="+mn-ea"/>
                <a:cs typeface="+mn-cs"/>
              </a:rPr>
              <a:t>name</a:t>
            </a:r>
            <a:r>
              <a:rPr lang="en-GB" sz="1200" b="0" i="0" kern="1200" dirty="0" smtClean="0">
                <a:solidFill>
                  <a:schemeClr val="tx1"/>
                </a:solidFill>
                <a:effectLst/>
                <a:latin typeface="+mn-lt"/>
                <a:ea typeface="+mn-ea"/>
                <a:cs typeface="+mn-cs"/>
              </a:rPr>
              <a:t> all my projects after myself. First 'Linux', now '</a:t>
            </a:r>
            <a:r>
              <a:rPr lang="en-GB" sz="1200" b="1" i="0" kern="1200" dirty="0" smtClean="0">
                <a:solidFill>
                  <a:schemeClr val="tx1"/>
                </a:solidFill>
                <a:effectLst/>
                <a:latin typeface="+mn-lt"/>
                <a:ea typeface="+mn-ea"/>
                <a:cs typeface="+mn-cs"/>
              </a:rPr>
              <a:t>git</a:t>
            </a:r>
            <a:r>
              <a:rPr lang="en-GB" sz="1200" b="0" i="0" kern="1200" dirty="0" smtClean="0">
                <a:solidFill>
                  <a:schemeClr val="tx1"/>
                </a:solidFill>
                <a:effectLst/>
                <a:latin typeface="+mn-lt"/>
                <a:ea typeface="+mn-ea"/>
                <a:cs typeface="+mn-cs"/>
              </a:rPr>
              <a:t>'."</a:t>
            </a:r>
            <a:endParaRPr lang="en-GB" baseline="0" dirty="0" smtClean="0"/>
          </a:p>
          <a:p>
            <a:pPr marL="171450" indent="-171450">
              <a:buFontTx/>
              <a:buChar char="-"/>
            </a:pPr>
            <a:r>
              <a:rPr lang="en-GB" baseline="0" dirty="0" smtClean="0"/>
              <a:t>Presenter may want to go into background, how it came about</a:t>
            </a:r>
          </a:p>
          <a:p>
            <a:pPr marL="171450" indent="-171450">
              <a:buFontTx/>
              <a:buChar char="-"/>
            </a:pPr>
            <a:r>
              <a:rPr lang="en-GB" baseline="0" dirty="0" smtClean="0"/>
              <a:t>Main advantage of Git, distributed it can work offline, without central server</a:t>
            </a:r>
          </a:p>
          <a:p>
            <a:pPr marL="171450" indent="-171450">
              <a:buFontTx/>
              <a:buChar char="-"/>
            </a:pPr>
            <a:r>
              <a:rPr lang="en-GB" baseline="0" dirty="0" smtClean="0"/>
              <a:t>Expand on How Git differs from other VCS in managing data</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7</a:t>
            </a:fld>
            <a:endParaRPr lang="en-GB" dirty="0"/>
          </a:p>
        </p:txBody>
      </p:sp>
    </p:spTree>
    <p:extLst>
      <p:ext uri="{BB962C8B-B14F-4D97-AF65-F5344CB8AC3E}">
        <p14:creationId xmlns:p14="http://schemas.microsoft.com/office/powerpoint/2010/main" val="14312436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smtClean="0"/>
              <a:t>Lots of good</a:t>
            </a:r>
            <a:r>
              <a:rPr lang="en-GB" baseline="0" dirty="0" smtClean="0"/>
              <a:t> points for Git over SVN – to promote a discussion </a:t>
            </a:r>
            <a:endParaRPr lang="en-GB" dirty="0" smtClean="0"/>
          </a:p>
        </p:txBody>
      </p:sp>
      <p:sp>
        <p:nvSpPr>
          <p:cNvPr id="4" name="Slide Number Placeholder 3"/>
          <p:cNvSpPr>
            <a:spLocks noGrp="1"/>
          </p:cNvSpPr>
          <p:nvPr>
            <p:ph type="sldNum" sz="quarter" idx="10"/>
          </p:nvPr>
        </p:nvSpPr>
        <p:spPr/>
        <p:txBody>
          <a:bodyPr/>
          <a:lstStyle/>
          <a:p>
            <a:fld id="{ADFC3BCD-C15C-44ED-85E0-D5D35BC71198}"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8060697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GB" dirty="0" smtClean="0"/>
              <a:t>Who</a:t>
            </a:r>
            <a:r>
              <a:rPr lang="en-GB" baseline="0" dirty="0" smtClean="0"/>
              <a:t> can say something about lean?</a:t>
            </a:r>
          </a:p>
          <a:p>
            <a:endParaRPr lang="en-GB" dirty="0" smtClean="0"/>
          </a:p>
          <a:p>
            <a:endParaRPr lang="en-GB" dirty="0" smtClean="0"/>
          </a:p>
          <a:p>
            <a:r>
              <a:rPr lang="en-GB" dirty="0" smtClean="0"/>
              <a:t>We’ll go into more detail in</a:t>
            </a:r>
            <a:r>
              <a:rPr lang="en-GB" baseline="0" dirty="0" smtClean="0"/>
              <a:t> the CI and CD modules but introduce LEAN from a high level</a:t>
            </a:r>
          </a:p>
          <a:p>
            <a:endParaRPr lang="en-GB" baseline="0" dirty="0" smtClean="0"/>
          </a:p>
          <a:p>
            <a:r>
              <a:rPr lang="en-GB" dirty="0" smtClean="0"/>
              <a:t>Mention</a:t>
            </a:r>
            <a:r>
              <a:rPr lang="en-GB" baseline="0" dirty="0" smtClean="0"/>
              <a:t> that reducing waste has a key implication to our SCM practices – such as minimizing branching</a:t>
            </a:r>
            <a:endParaRPr lang="en-GB" dirty="0" smtClean="0"/>
          </a:p>
          <a:p>
            <a:endParaRPr lang="en-GB" dirty="0" smtClean="0"/>
          </a:p>
          <a:p>
            <a:r>
              <a:rPr lang="en-GB" dirty="0" smtClean="0"/>
              <a:t>Lean initially derived from manufacturing and is way of thinking that has seen huge</a:t>
            </a:r>
            <a:r>
              <a:rPr lang="en-GB" baseline="0" dirty="0" smtClean="0"/>
              <a:t> impact in</a:t>
            </a:r>
            <a:r>
              <a:rPr lang="en-GB" dirty="0" smtClean="0"/>
              <a:t> Software Development. The earliest Agile</a:t>
            </a:r>
            <a:r>
              <a:rPr lang="en-GB" baseline="0" dirty="0" smtClean="0"/>
              <a:t> practitioners drew some of their “lightweight” development processes from early Lean examples like the Toyota Production System</a:t>
            </a:r>
            <a:endParaRPr lang="en-GB" dirty="0" smtClean="0"/>
          </a:p>
          <a:p>
            <a:endParaRPr lang="en-GB" dirty="0" smtClean="0"/>
          </a:p>
          <a:p>
            <a:r>
              <a:rPr lang="en-GB" dirty="0" smtClean="0"/>
              <a:t>The goal of Lean is to sustainably deliver the maximum amount of value to the customer in the shortest possible lead time, simultaneously providing the highest possible value and quality to our customers, our people and society as a whole.</a:t>
            </a:r>
          </a:p>
          <a:p>
            <a:pPr marL="0" indent="0">
              <a:buNone/>
            </a:pPr>
            <a:endParaRPr lang="en-GB" dirty="0" smtClean="0"/>
          </a:p>
          <a:p>
            <a:r>
              <a:rPr lang="en-GB" dirty="0" smtClean="0"/>
              <a:t>Lean focuses on:</a:t>
            </a:r>
          </a:p>
          <a:p>
            <a:pPr lvl="1"/>
            <a:r>
              <a:rPr lang="en-GB" dirty="0" smtClean="0"/>
              <a:t>Achieving continuous flow</a:t>
            </a:r>
          </a:p>
          <a:p>
            <a:pPr lvl="1"/>
            <a:r>
              <a:rPr lang="en-GB" dirty="0" smtClean="0"/>
              <a:t>Identifying delays</a:t>
            </a:r>
          </a:p>
          <a:p>
            <a:pPr lvl="1"/>
            <a:r>
              <a:rPr lang="en-GB" dirty="0" smtClean="0"/>
              <a:t>Identifying non-value added activities</a:t>
            </a:r>
          </a:p>
          <a:p>
            <a:pPr lvl="1"/>
            <a:r>
              <a:rPr lang="en-GB" dirty="0" smtClean="0"/>
              <a:t>Constantly reducing delays and valueless activities</a:t>
            </a:r>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9</a:t>
            </a:fld>
            <a:endParaRPr lang="en-GB" dirty="0"/>
          </a:p>
        </p:txBody>
      </p:sp>
    </p:spTree>
    <p:extLst>
      <p:ext uri="{BB962C8B-B14F-4D97-AF65-F5344CB8AC3E}">
        <p14:creationId xmlns:p14="http://schemas.microsoft.com/office/powerpoint/2010/main" val="297533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 is a definition of DevOps</a:t>
            </a:r>
            <a:r>
              <a:rPr lang="en-GB" baseline="0" dirty="0" smtClean="0"/>
              <a:t> as evolved by Martin Croker (global DevOps lead) and Mark Rendell (UK/I DCSC lead).</a:t>
            </a:r>
          </a:p>
          <a:p>
            <a:r>
              <a:rPr lang="en-GB" baseline="0" dirty="0" smtClean="0"/>
              <a:t>It could be translated as:</a:t>
            </a:r>
          </a:p>
          <a:p>
            <a:r>
              <a:rPr lang="en-GB" baseline="0" dirty="0" smtClean="0"/>
              <a:t>Someone in the Business has a good idea</a:t>
            </a:r>
          </a:p>
          <a:p>
            <a:r>
              <a:rPr lang="en-GB" baseline="0" dirty="0" smtClean="0"/>
              <a:t>We (the IT team / service provider) </a:t>
            </a:r>
          </a:p>
          <a:p>
            <a:r>
              <a:rPr lang="en-GB" baseline="0" dirty="0" smtClean="0"/>
              <a:t>will endeavour to take the idea and get it implemented as soon as possible</a:t>
            </a:r>
          </a:p>
          <a:p>
            <a:r>
              <a:rPr lang="en-GB" baseline="0" dirty="0" smtClean="0"/>
              <a:t>So that the results of the idea can be demonstrated </a:t>
            </a:r>
            <a:r>
              <a:rPr lang="en-GB" u="sng" baseline="0" dirty="0" smtClean="0"/>
              <a:t>as quickly as possible</a:t>
            </a:r>
          </a:p>
          <a:p>
            <a:r>
              <a:rPr lang="en-GB" dirty="0" smtClean="0"/>
              <a:t>Speed</a:t>
            </a:r>
            <a:r>
              <a:rPr lang="en-GB" baseline="0" dirty="0" smtClean="0"/>
              <a:t> of feedback is our highest priority</a:t>
            </a:r>
          </a:p>
          <a:p>
            <a:endParaRPr lang="en-US" dirty="0"/>
          </a:p>
        </p:txBody>
      </p:sp>
    </p:spTree>
    <p:extLst>
      <p:ext uri="{BB962C8B-B14F-4D97-AF65-F5344CB8AC3E}">
        <p14:creationId xmlns:p14="http://schemas.microsoft.com/office/powerpoint/2010/main" val="4429255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Just</a:t>
            </a:r>
            <a:r>
              <a:rPr lang="en-GB" baseline="0" dirty="0" smtClean="0"/>
              <a:t> another view on Lean from the Scaled Agile Framework SAFe</a:t>
            </a:r>
          </a:p>
          <a:p>
            <a:endParaRPr lang="en-GB" baseline="0" dirty="0" smtClean="0"/>
          </a:p>
          <a:p>
            <a:r>
              <a:rPr lang="en-GB" baseline="0" dirty="0" smtClean="0"/>
              <a:t>Highlight the point about waste again, </a:t>
            </a:r>
          </a:p>
          <a:p>
            <a:r>
              <a:rPr lang="en-GB" baseline="0" dirty="0" smtClean="0"/>
              <a:t>managing queues – branches are like queues to production</a:t>
            </a:r>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0</a:t>
            </a:fld>
            <a:endParaRPr lang="en-GB" dirty="0"/>
          </a:p>
        </p:txBody>
      </p:sp>
    </p:spTree>
    <p:extLst>
      <p:ext uri="{BB962C8B-B14F-4D97-AF65-F5344CB8AC3E}">
        <p14:creationId xmlns:p14="http://schemas.microsoft.com/office/powerpoint/2010/main" val="1202533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Name</a:t>
            </a:r>
            <a:r>
              <a:rPr lang="en-GB" baseline="0" dirty="0" smtClean="0"/>
              <a:t> some types</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1</a:t>
            </a:fld>
            <a:endParaRPr lang="en-GB" dirty="0"/>
          </a:p>
        </p:txBody>
      </p:sp>
    </p:spTree>
    <p:extLst>
      <p:ext uri="{BB962C8B-B14F-4D97-AF65-F5344CB8AC3E}">
        <p14:creationId xmlns:p14="http://schemas.microsoft.com/office/powerpoint/2010/main" val="9696543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o can guess what might be high inventory</a:t>
            </a:r>
            <a:r>
              <a:rPr lang="en-GB" baseline="0" dirty="0" smtClean="0"/>
              <a:t> in SLDC?</a:t>
            </a:r>
          </a:p>
          <a:p>
            <a:r>
              <a:rPr lang="en-GB" baseline="0" dirty="0" smtClean="0"/>
              <a:t>It’s branching</a:t>
            </a:r>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2</a:t>
            </a:fld>
            <a:endParaRPr lang="en-GB" dirty="0"/>
          </a:p>
        </p:txBody>
      </p:sp>
    </p:spTree>
    <p:extLst>
      <p:ext uri="{BB962C8B-B14F-4D97-AF65-F5344CB8AC3E}">
        <p14:creationId xmlns:p14="http://schemas.microsoft.com/office/powerpoint/2010/main" val="9845875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esenter Notes:</a:t>
            </a:r>
          </a:p>
          <a:p>
            <a:pPr marL="171450" indent="-171450">
              <a:buFontTx/>
              <a:buChar char="-"/>
            </a:pPr>
            <a:r>
              <a:rPr lang="en-GB" dirty="0" smtClean="0"/>
              <a:t>Define what a branch is</a:t>
            </a:r>
          </a:p>
          <a:p>
            <a:pPr marL="171450" indent="-171450">
              <a:buFontTx/>
              <a:buChar char="-"/>
            </a:pPr>
            <a:r>
              <a:rPr lang="en-GB" dirty="0" smtClean="0"/>
              <a:t>Explain the benefits of using branches</a:t>
            </a:r>
          </a:p>
          <a:p>
            <a:pPr marL="171450" indent="-171450">
              <a:buFontTx/>
              <a:buChar char="-"/>
            </a:pPr>
            <a:r>
              <a:rPr lang="en-GB" dirty="0" smtClean="0"/>
              <a:t>Explain on</a:t>
            </a:r>
            <a:r>
              <a:rPr lang="en-GB" baseline="0" dirty="0" smtClean="0"/>
              <a:t> what type of projects branching is likely to be used</a:t>
            </a:r>
          </a:p>
          <a:p>
            <a:pPr marL="171450" indent="-171450">
              <a:buFontTx/>
              <a:buChar char="-"/>
            </a:pPr>
            <a:r>
              <a:rPr lang="en-GB" baseline="0" dirty="0" smtClean="0"/>
              <a:t>Briefly explain diagram and at what points new branches may be needed</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3</a:t>
            </a:fld>
            <a:endParaRPr lang="en-GB" dirty="0"/>
          </a:p>
        </p:txBody>
      </p:sp>
    </p:spTree>
    <p:extLst>
      <p:ext uri="{BB962C8B-B14F-4D97-AF65-F5344CB8AC3E}">
        <p14:creationId xmlns:p14="http://schemas.microsoft.com/office/powerpoint/2010/main" val="1823688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4</a:t>
            </a:fld>
            <a:endParaRPr lang="en-GB" dirty="0"/>
          </a:p>
        </p:txBody>
      </p:sp>
    </p:spTree>
    <p:extLst>
      <p:ext uri="{BB962C8B-B14F-4D97-AF65-F5344CB8AC3E}">
        <p14:creationId xmlns:p14="http://schemas.microsoft.com/office/powerpoint/2010/main" val="25776198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7888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ovoke</a:t>
            </a:r>
            <a:r>
              <a:rPr lang="en-GB" baseline="0" dirty="0" smtClean="0"/>
              <a:t> a discussion about why we test and then what are the considerations with owning tests</a:t>
            </a:r>
            <a:endParaRPr lang="en-GB" dirty="0" smtClean="0"/>
          </a:p>
          <a:p>
            <a:endParaRPr lang="en-GB" dirty="0" smtClean="0"/>
          </a:p>
          <a:p>
            <a:pPr marL="0" indent="0">
              <a:buFontTx/>
              <a:buNone/>
            </a:pPr>
            <a:r>
              <a:rPr lang="en-GB" baseline="0" dirty="0" smtClean="0"/>
              <a:t>Discuss the considerations</a:t>
            </a:r>
          </a:p>
          <a:p>
            <a:pPr marL="628650" lvl="1" indent="-171450">
              <a:buFontTx/>
              <a:buChar char="-"/>
            </a:pPr>
            <a:r>
              <a:rPr lang="en-GB" dirty="0" smtClean="0"/>
              <a:t>Maintenance:</a:t>
            </a:r>
            <a:r>
              <a:rPr lang="en-GB" baseline="0" dirty="0" smtClean="0"/>
              <a:t> Bad code w</a:t>
            </a:r>
            <a:r>
              <a:rPr lang="en-GB" dirty="0" smtClean="0"/>
              <a:t>ill make it difficult to maintain afterwards</a:t>
            </a:r>
          </a:p>
          <a:p>
            <a:pPr lvl="1"/>
            <a:r>
              <a:rPr lang="en-GB" dirty="0" smtClean="0"/>
              <a:t>- Technical debt: Will have to go back to fix</a:t>
            </a:r>
          </a:p>
          <a:p>
            <a:pPr lvl="1"/>
            <a:r>
              <a:rPr lang="en-GB" dirty="0" smtClean="0"/>
              <a:t>- More people will read the</a:t>
            </a:r>
            <a:r>
              <a:rPr lang="en-GB" baseline="0" dirty="0" smtClean="0"/>
              <a:t> </a:t>
            </a:r>
            <a:r>
              <a:rPr lang="en-GB" dirty="0" smtClean="0"/>
              <a:t>code than write over lifetime of project: Can’t be a specific style or catered just to advanced need to accommodate all by using best practices</a:t>
            </a:r>
          </a:p>
          <a:p>
            <a:pPr lvl="1"/>
            <a:r>
              <a:rPr lang="en-GB" dirty="0" smtClean="0"/>
              <a:t>- Financial losses: Can lead to financial losses putting things right</a:t>
            </a:r>
          </a:p>
          <a:p>
            <a:pPr marL="0" indent="0">
              <a:buFontTx/>
              <a:buNone/>
            </a:pPr>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36</a:t>
            </a:fld>
            <a:endParaRPr lang="en-GB" dirty="0"/>
          </a:p>
        </p:txBody>
      </p:sp>
    </p:spTree>
    <p:extLst>
      <p:ext uri="{BB962C8B-B14F-4D97-AF65-F5344CB8AC3E}">
        <p14:creationId xmlns:p14="http://schemas.microsoft.com/office/powerpoint/2010/main" val="2460871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170" name="Rectangle 2"/>
          <p:cNvSpPr>
            <a:spLocks noGrp="1" noRot="1" noChangeAspect="1" noChangeArrowheads="1" noTextEdit="1"/>
          </p:cNvSpPr>
          <p:nvPr>
            <p:ph type="sldImg"/>
          </p:nvPr>
        </p:nvSpPr>
        <p:spPr>
          <a:xfrm>
            <a:off x="804863" y="211138"/>
            <a:ext cx="5200650" cy="3900487"/>
          </a:xfrm>
          <a:ln/>
        </p:spPr>
      </p:sp>
      <p:sp>
        <p:nvSpPr>
          <p:cNvPr id="519171" name="Rectangle 3"/>
          <p:cNvSpPr>
            <a:spLocks noGrp="1" noChangeArrowheads="1"/>
          </p:cNvSpPr>
          <p:nvPr>
            <p:ph type="body" idx="1"/>
          </p:nvPr>
        </p:nvSpPr>
        <p:spPr>
          <a:xfrm>
            <a:off x="600384" y="4344663"/>
            <a:ext cx="5609263" cy="4508851"/>
          </a:xfrm>
        </p:spPr>
        <p:txBody>
          <a:bodyPr/>
          <a:lstStyle/>
          <a:p>
            <a:r>
              <a:rPr lang="en-US" altLang="en-US" dirty="0" smtClean="0"/>
              <a:t>This is the Wikipedia</a:t>
            </a:r>
            <a:r>
              <a:rPr lang="en-US" altLang="en-US" baseline="0" dirty="0" smtClean="0"/>
              <a:t> definition, read it or let people read it</a:t>
            </a:r>
          </a:p>
          <a:p>
            <a:endParaRPr lang="en-US" altLang="en-US" baseline="0" dirty="0" smtClean="0"/>
          </a:p>
          <a:p>
            <a:r>
              <a:rPr lang="en-US" altLang="en-US" baseline="0" dirty="0" smtClean="0"/>
              <a:t>Anyone got any criticisms with it??</a:t>
            </a:r>
          </a:p>
          <a:p>
            <a:endParaRPr lang="en-US" altLang="en-US" baseline="0" dirty="0" smtClean="0"/>
          </a:p>
          <a:p>
            <a:r>
              <a:rPr lang="en-US" altLang="en-US" baseline="0" dirty="0" smtClean="0"/>
              <a:t>Emphasis the importance of it being about </a:t>
            </a:r>
            <a:r>
              <a:rPr lang="en-US" altLang="en-US" b="1" baseline="0" dirty="0" smtClean="0"/>
              <a:t>risk</a:t>
            </a:r>
            <a:r>
              <a:rPr lang="en-US" altLang="en-US" baseline="0" dirty="0" smtClean="0"/>
              <a:t> management.  You can always cut back on testing, but you increase risk.</a:t>
            </a:r>
          </a:p>
          <a:p>
            <a:endParaRPr lang="en-US" altLang="en-US" baseline="0" dirty="0" smtClean="0"/>
          </a:p>
          <a:p>
            <a:r>
              <a:rPr lang="en-US" altLang="en-US" baseline="0" dirty="0" smtClean="0"/>
              <a:t>Lean focusses on eliminating waste.  How could testing be wasteful – class discussion</a:t>
            </a:r>
          </a:p>
          <a:p>
            <a:pPr marL="171450" indent="-171450">
              <a:buFont typeface="Arial" charset="0"/>
              <a:buChar char="•"/>
            </a:pPr>
            <a:r>
              <a:rPr lang="en-US" altLang="en-US" baseline="0" dirty="0" smtClean="0"/>
              <a:t>Testing things that haven’t changed</a:t>
            </a:r>
          </a:p>
          <a:p>
            <a:pPr marL="171450" indent="-171450">
              <a:buFont typeface="Arial" charset="0"/>
              <a:buChar char="•"/>
            </a:pPr>
            <a:r>
              <a:rPr lang="en-US" altLang="en-US" baseline="0" dirty="0" smtClean="0"/>
              <a:t>Finding things later in the lifecycle</a:t>
            </a:r>
          </a:p>
          <a:p>
            <a:pPr marL="171450" indent="-171450">
              <a:buFont typeface="Arial" charset="0"/>
              <a:buChar char="•"/>
            </a:pPr>
            <a:r>
              <a:rPr lang="en-US" altLang="en-US" baseline="0" dirty="0" smtClean="0"/>
              <a:t>Testing things multiple times</a:t>
            </a:r>
          </a:p>
          <a:p>
            <a:pPr marL="171450" indent="-171450">
              <a:buFont typeface="Arial" charset="0"/>
              <a:buChar char="•"/>
            </a:pPr>
            <a:r>
              <a:rPr lang="en-US" altLang="en-US" baseline="0" dirty="0" smtClean="0"/>
              <a:t>Manual testing</a:t>
            </a:r>
          </a:p>
          <a:p>
            <a:pPr marL="171450" indent="-171450">
              <a:buFont typeface="Arial" charset="0"/>
              <a:buChar char="•"/>
            </a:pPr>
            <a:r>
              <a:rPr lang="en-US" altLang="en-US" baseline="0" dirty="0" smtClean="0"/>
              <a:t>Testing too much – could you fix in prod – continuous deployment</a:t>
            </a:r>
          </a:p>
        </p:txBody>
      </p:sp>
    </p:spTree>
    <p:extLst>
      <p:ext uri="{BB962C8B-B14F-4D97-AF65-F5344CB8AC3E}">
        <p14:creationId xmlns:p14="http://schemas.microsoft.com/office/powerpoint/2010/main" val="38650561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170" name="Rectangle 2"/>
          <p:cNvSpPr>
            <a:spLocks noGrp="1" noRot="1" noChangeAspect="1" noChangeArrowheads="1" noTextEdit="1"/>
          </p:cNvSpPr>
          <p:nvPr>
            <p:ph type="sldImg"/>
          </p:nvPr>
        </p:nvSpPr>
        <p:spPr>
          <a:xfrm>
            <a:off x="804863" y="211138"/>
            <a:ext cx="5200650" cy="3900487"/>
          </a:xfrm>
          <a:ln/>
        </p:spPr>
      </p:sp>
      <p:sp>
        <p:nvSpPr>
          <p:cNvPr id="519171" name="Rectangle 3"/>
          <p:cNvSpPr>
            <a:spLocks noGrp="1" noChangeArrowheads="1"/>
          </p:cNvSpPr>
          <p:nvPr>
            <p:ph type="body" idx="1"/>
          </p:nvPr>
        </p:nvSpPr>
        <p:spPr>
          <a:xfrm>
            <a:off x="600384" y="4344663"/>
            <a:ext cx="5609263" cy="4508851"/>
          </a:xfrm>
        </p:spPr>
        <p:txBody>
          <a:bodyPr/>
          <a:lstStyle/>
          <a:p>
            <a:r>
              <a:rPr lang="en-US" altLang="en-US" dirty="0" smtClean="0"/>
              <a:t>Get the class to define them and propose</a:t>
            </a:r>
            <a:r>
              <a:rPr lang="en-US" altLang="en-US" baseline="0" dirty="0" smtClean="0"/>
              <a:t> others.</a:t>
            </a:r>
          </a:p>
          <a:p>
            <a:endParaRPr lang="en-US" altLang="en-US" baseline="0" dirty="0" smtClean="0"/>
          </a:p>
          <a:p>
            <a:r>
              <a:rPr lang="en-US" altLang="en-US" baseline="0" dirty="0" smtClean="0"/>
              <a:t>Ask people to apply lean thinking and what does this guide us about test phases?</a:t>
            </a:r>
          </a:p>
          <a:p>
            <a:pPr marL="171450" indent="-171450">
              <a:buFont typeface="Arial" charset="0"/>
              <a:buChar char="•"/>
            </a:pPr>
            <a:r>
              <a:rPr lang="en-US" altLang="en-US" dirty="0" smtClean="0"/>
              <a:t>Fail fast</a:t>
            </a:r>
          </a:p>
          <a:p>
            <a:pPr marL="171450" indent="-171450">
              <a:buFont typeface="Arial" charset="0"/>
              <a:buChar char="•"/>
            </a:pPr>
            <a:r>
              <a:rPr lang="en-US" altLang="en-US" dirty="0" smtClean="0"/>
              <a:t>Fail meaning</a:t>
            </a:r>
            <a:r>
              <a:rPr lang="en-US" altLang="en-US" baseline="0" dirty="0" smtClean="0"/>
              <a:t>ful</a:t>
            </a:r>
          </a:p>
          <a:p>
            <a:pPr marL="171450" indent="-171450">
              <a:buFont typeface="Arial" charset="0"/>
              <a:buChar char="•"/>
            </a:pPr>
            <a:r>
              <a:rPr lang="en-US" altLang="en-US" baseline="0" dirty="0" smtClean="0"/>
              <a:t>Eliminate waste</a:t>
            </a:r>
            <a:endParaRPr lang="en-US" altLang="en-US" dirty="0"/>
          </a:p>
        </p:txBody>
      </p:sp>
    </p:spTree>
    <p:extLst>
      <p:ext uri="{BB962C8B-B14F-4D97-AF65-F5344CB8AC3E}">
        <p14:creationId xmlns:p14="http://schemas.microsoft.com/office/powerpoint/2010/main" val="22740797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resenter Notes:</a:t>
            </a:r>
          </a:p>
          <a:p>
            <a:pPr marL="171450" indent="-171450">
              <a:buFontTx/>
              <a:buChar char="-"/>
            </a:pPr>
            <a:r>
              <a:rPr lang="en-GB" dirty="0" smtClean="0"/>
              <a:t>Expand on the different types</a:t>
            </a:r>
            <a:r>
              <a:rPr lang="en-GB" baseline="0" dirty="0" smtClean="0"/>
              <a:t> of quality gates</a:t>
            </a:r>
          </a:p>
          <a:p>
            <a:pPr marL="171450" indent="-171450">
              <a:buFontTx/>
              <a:buChar char="-"/>
            </a:pPr>
            <a:endParaRPr lang="en-GB" baseline="0" dirty="0" smtClean="0"/>
          </a:p>
          <a:p>
            <a:pPr marL="171450" indent="-171450">
              <a:buFontTx/>
              <a:buChar char="-"/>
            </a:pPr>
            <a:r>
              <a:rPr lang="en-GB" dirty="0" smtClean="0"/>
              <a:t>Mention</a:t>
            </a:r>
            <a:r>
              <a:rPr lang="en-GB" baseline="0" dirty="0" smtClean="0"/>
              <a:t> they correspond to boxes on the right of the V-model and the traditional test phases we’ve covered</a:t>
            </a:r>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39</a:t>
            </a:fld>
            <a:endParaRPr lang="en-GB" dirty="0"/>
          </a:p>
        </p:txBody>
      </p:sp>
    </p:spTree>
    <p:extLst>
      <p:ext uri="{BB962C8B-B14F-4D97-AF65-F5344CB8AC3E}">
        <p14:creationId xmlns:p14="http://schemas.microsoft.com/office/powerpoint/2010/main" val="2076327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alk through animation</a:t>
            </a:r>
          </a:p>
          <a:p>
            <a:r>
              <a:rPr lang="en-GB" dirty="0" smtClean="0"/>
              <a:t>The</a:t>
            </a:r>
            <a:r>
              <a:rPr lang="en-GB" baseline="0" dirty="0" smtClean="0"/>
              <a:t> classic view of DevOps is that enterprises have IT split into 2 silos: Dev and Ops</a:t>
            </a:r>
          </a:p>
          <a:p>
            <a:r>
              <a:rPr lang="en-GB" baseline="0" dirty="0" smtClean="0"/>
              <a:t>As per this slide, they have opposing objectives and major obligations to each other</a:t>
            </a:r>
          </a:p>
          <a:p>
            <a:r>
              <a:rPr lang="en-GB" baseline="0" dirty="0" smtClean="0"/>
              <a:t>DevOps seeks to blend these two silos into an empathetic, collaborative unit and to balance the objectives and obligations</a:t>
            </a:r>
          </a:p>
          <a:p>
            <a:endParaRPr lang="en-GB" baseline="0" dirty="0" smtClean="0"/>
          </a:p>
        </p:txBody>
      </p:sp>
    </p:spTree>
    <p:extLst>
      <p:ext uri="{BB962C8B-B14F-4D97-AF65-F5344CB8AC3E}">
        <p14:creationId xmlns:p14="http://schemas.microsoft.com/office/powerpoint/2010/main" val="36257590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ve covered</a:t>
            </a:r>
            <a:r>
              <a:rPr lang="en-GB" baseline="0" dirty="0" smtClean="0"/>
              <a:t> where they go - throughout</a:t>
            </a:r>
          </a:p>
          <a:p>
            <a:r>
              <a:rPr lang="en-GB" baseline="0" dirty="0" smtClean="0"/>
              <a:t>Failing fast is important as is (from CI)</a:t>
            </a:r>
          </a:p>
          <a:p>
            <a:r>
              <a:rPr lang="en-GB" baseline="0" dirty="0" smtClean="0"/>
              <a:t>Key point is “Stop the production line”.  Analogous to a factory stopping.  Machines being powered down.  Relative calm and quiet.</a:t>
            </a:r>
          </a:p>
          <a:p>
            <a:r>
              <a:rPr lang="en-GB" baseline="0" dirty="0" smtClean="0"/>
              <a:t>People rally together to fix the failing machine / test.</a:t>
            </a:r>
          </a:p>
          <a:p>
            <a:r>
              <a:rPr lang="en-GB" baseline="0" dirty="0" smtClean="0"/>
              <a:t>And then re-start</a:t>
            </a:r>
          </a:p>
          <a:p>
            <a:endParaRPr lang="en-GB" baseline="0" dirty="0" smtClean="0"/>
          </a:p>
          <a:p>
            <a:r>
              <a:rPr lang="en-GB" baseline="0" dirty="0" smtClean="0"/>
              <a:t>Finally we can class the tests as </a:t>
            </a:r>
            <a:r>
              <a:rPr lang="en-GB" b="1" baseline="0" dirty="0" smtClean="0"/>
              <a:t>Static</a:t>
            </a:r>
            <a:r>
              <a:rPr lang="en-GB" baseline="0" dirty="0" smtClean="0"/>
              <a:t> – no dependencies e.g. DB, environment, network</a:t>
            </a:r>
          </a:p>
          <a:p>
            <a:r>
              <a:rPr lang="en-GB" b="1" baseline="0" dirty="0" smtClean="0"/>
              <a:t>Dynamic</a:t>
            </a:r>
            <a:r>
              <a:rPr lang="en-GB" baseline="0" dirty="0" smtClean="0"/>
              <a:t> – dependencies and run in a test environment</a:t>
            </a:r>
          </a:p>
        </p:txBody>
      </p:sp>
      <p:sp>
        <p:nvSpPr>
          <p:cNvPr id="4" name="Slide Number Placeholder 3"/>
          <p:cNvSpPr>
            <a:spLocks noGrp="1"/>
          </p:cNvSpPr>
          <p:nvPr>
            <p:ph type="sldNum" sz="quarter" idx="10"/>
          </p:nvPr>
        </p:nvSpPr>
        <p:spPr/>
        <p:txBody>
          <a:bodyPr/>
          <a:lstStyle/>
          <a:p>
            <a:fld id="{AE93A72A-D4BA-4A5E-B748-B1B9B78BBAFC}" type="slidenum">
              <a:rPr lang="en-GB" smtClean="0"/>
              <a:t>40</a:t>
            </a:fld>
            <a:endParaRPr lang="en-GB" dirty="0"/>
          </a:p>
        </p:txBody>
      </p:sp>
    </p:spTree>
    <p:extLst>
      <p:ext uri="{BB962C8B-B14F-4D97-AF65-F5344CB8AC3E}">
        <p14:creationId xmlns:p14="http://schemas.microsoft.com/office/powerpoint/2010/main" val="16656478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asically it’s like</a:t>
            </a:r>
            <a:r>
              <a:rPr lang="en-GB" baseline="0" dirty="0" smtClean="0"/>
              <a:t> the syntax stage of a compiler but much stricter</a:t>
            </a:r>
          </a:p>
          <a:p>
            <a:r>
              <a:rPr lang="en-GB" baseline="0" dirty="0" smtClean="0"/>
              <a:t>If a compiler syntax checking is a spell check, this is a super grammar checker</a:t>
            </a:r>
          </a:p>
          <a:p>
            <a:endParaRPr lang="en-GB" dirty="0" smtClean="0"/>
          </a:p>
          <a:p>
            <a:r>
              <a:rPr lang="en-GB" dirty="0" smtClean="0"/>
              <a:t>This is a screenshot from</a:t>
            </a:r>
            <a:r>
              <a:rPr lang="en-GB" baseline="0" dirty="0" smtClean="0"/>
              <a:t> Sonar – a tool we like</a:t>
            </a:r>
          </a:p>
          <a:p>
            <a:r>
              <a:rPr lang="en-GB" baseline="0" dirty="0" smtClean="0"/>
              <a:t>It’s actually a public instance</a:t>
            </a:r>
          </a:p>
          <a:p>
            <a:r>
              <a:rPr lang="en-GB" baseline="0" dirty="0" smtClean="0"/>
              <a:t>And this is a real issue with… TomCat!</a:t>
            </a:r>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1</a:t>
            </a:fld>
            <a:endParaRPr lang="en-GB" dirty="0"/>
          </a:p>
        </p:txBody>
      </p:sp>
    </p:spTree>
    <p:extLst>
      <p:ext uri="{BB962C8B-B14F-4D97-AF65-F5344CB8AC3E}">
        <p14:creationId xmlns:p14="http://schemas.microsoft.com/office/powerpoint/2010/main" val="2988159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a screenshot of SonarQube</a:t>
            </a:r>
          </a:p>
          <a:p>
            <a:r>
              <a:rPr lang="en-GB" baseline="0" dirty="0" smtClean="0"/>
              <a:t>Key things to get right for a project:</a:t>
            </a:r>
          </a:p>
          <a:p>
            <a:pPr marL="171450" indent="-171450">
              <a:buFont typeface="Arial" charset="0"/>
              <a:buChar char="•"/>
            </a:pPr>
            <a:r>
              <a:rPr lang="en-GB" baseline="0" dirty="0" smtClean="0"/>
              <a:t>Plugins – right for your code type</a:t>
            </a:r>
          </a:p>
          <a:p>
            <a:pPr marL="171450" indent="-171450">
              <a:buFont typeface="Arial" charset="0"/>
              <a:buChar char="•"/>
            </a:pPr>
            <a:r>
              <a:rPr lang="en-GB" baseline="0" dirty="0" smtClean="0"/>
              <a:t>Rules – which to test and how severe</a:t>
            </a:r>
          </a:p>
          <a:p>
            <a:pPr marL="171450" indent="-171450">
              <a:buFont typeface="Arial" charset="0"/>
              <a:buChar char="•"/>
            </a:pPr>
            <a:r>
              <a:rPr lang="en-GB" baseline="0" dirty="0" smtClean="0"/>
              <a:t>Thresholds to fail the build</a:t>
            </a:r>
          </a:p>
          <a:p>
            <a:pPr marL="171450" indent="-171450">
              <a:buFont typeface="Arial" charset="0"/>
              <a:buChar char="•"/>
            </a:pPr>
            <a:r>
              <a:rPr lang="en-GB" b="1" baseline="0" dirty="0" smtClean="0"/>
              <a:t>this </a:t>
            </a:r>
            <a:r>
              <a:rPr lang="en-GB" b="1" u="sng" baseline="0" dirty="0" smtClean="0"/>
              <a:t>IS</a:t>
            </a:r>
            <a:r>
              <a:rPr lang="en-GB" b="1" baseline="0" dirty="0" smtClean="0"/>
              <a:t> a quality gate</a:t>
            </a:r>
          </a:p>
        </p:txBody>
      </p:sp>
      <p:sp>
        <p:nvSpPr>
          <p:cNvPr id="4" name="Slide Number Placeholder 3"/>
          <p:cNvSpPr>
            <a:spLocks noGrp="1"/>
          </p:cNvSpPr>
          <p:nvPr>
            <p:ph type="sldNum" sz="quarter" idx="10"/>
          </p:nvPr>
        </p:nvSpPr>
        <p:spPr/>
        <p:txBody>
          <a:bodyPr/>
          <a:lstStyle/>
          <a:p>
            <a:fld id="{AE93A72A-D4BA-4A5E-B748-B1B9B78BBAFC}" type="slidenum">
              <a:rPr lang="en-GB" smtClean="0"/>
              <a:t>42</a:t>
            </a:fld>
            <a:endParaRPr lang="en-GB" dirty="0"/>
          </a:p>
        </p:txBody>
      </p:sp>
    </p:spTree>
    <p:extLst>
      <p:ext uri="{BB962C8B-B14F-4D97-AF65-F5344CB8AC3E}">
        <p14:creationId xmlns:p14="http://schemas.microsoft.com/office/powerpoint/2010/main" val="19525339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baseline="0" dirty="0" smtClean="0"/>
              <a:t>Have a discussion about who has used what</a:t>
            </a:r>
          </a:p>
          <a:p>
            <a:endParaRPr lang="en-GB" b="0" baseline="0" dirty="0" smtClean="0"/>
          </a:p>
          <a:p>
            <a:r>
              <a:rPr lang="en-GB" b="0" baseline="0" dirty="0" smtClean="0"/>
              <a:t>Stress, we like SonarQube – it’s very powerful out of the box, extensible, part of Monsoon, etc.</a:t>
            </a:r>
          </a:p>
          <a:p>
            <a:endParaRPr lang="en-GB" b="0" baseline="0" dirty="0" smtClean="0"/>
          </a:p>
          <a:p>
            <a:r>
              <a:rPr lang="en-GB" b="0" baseline="0" dirty="0" smtClean="0"/>
              <a:t>Can anyone spot the half jokey one?  The Rational AppScan isn’t one we actually use.  </a:t>
            </a:r>
          </a:p>
          <a:p>
            <a:r>
              <a:rPr lang="en-GB" b="0" baseline="0" dirty="0" smtClean="0"/>
              <a:t>There are commercial options here… but FOSS is great!</a:t>
            </a:r>
          </a:p>
        </p:txBody>
      </p:sp>
      <p:sp>
        <p:nvSpPr>
          <p:cNvPr id="4" name="Slide Number Placeholder 3"/>
          <p:cNvSpPr>
            <a:spLocks noGrp="1"/>
          </p:cNvSpPr>
          <p:nvPr>
            <p:ph type="sldNum" sz="quarter" idx="10"/>
          </p:nvPr>
        </p:nvSpPr>
        <p:spPr/>
        <p:txBody>
          <a:bodyPr/>
          <a:lstStyle/>
          <a:p>
            <a:fld id="{AE93A72A-D4BA-4A5E-B748-B1B9B78BBAFC}" type="slidenum">
              <a:rPr lang="en-GB" smtClean="0"/>
              <a:t>43</a:t>
            </a:fld>
            <a:endParaRPr lang="en-GB" dirty="0"/>
          </a:p>
        </p:txBody>
      </p:sp>
    </p:spTree>
    <p:extLst>
      <p:ext uri="{BB962C8B-B14F-4D97-AF65-F5344CB8AC3E}">
        <p14:creationId xmlns:p14="http://schemas.microsoft.com/office/powerpoint/2010/main" val="3351825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GB" dirty="0" smtClean="0"/>
              <a:t>This slide explains it</a:t>
            </a:r>
          </a:p>
          <a:p>
            <a:r>
              <a:rPr lang="en-GB" dirty="0" smtClean="0"/>
              <a:t>Here is a pretty</a:t>
            </a:r>
            <a:r>
              <a:rPr lang="en-GB" baseline="0" dirty="0" smtClean="0"/>
              <a:t> output from Jenkins</a:t>
            </a:r>
          </a:p>
          <a:p>
            <a:endParaRPr lang="en-GB" baseline="0" dirty="0" smtClean="0"/>
          </a:p>
          <a:p>
            <a:r>
              <a:rPr lang="en-GB" dirty="0" smtClean="0"/>
              <a:t>Cucumber lets you write features in natural language</a:t>
            </a:r>
            <a:br>
              <a:rPr lang="en-GB" dirty="0" smtClean="0"/>
            </a:br>
            <a:r>
              <a:rPr lang="en-GB" dirty="0" smtClean="0"/>
              <a:t>and develop them behaviour-driven afterwards</a:t>
            </a:r>
          </a:p>
          <a:p>
            <a:r>
              <a:rPr lang="en-GB" dirty="0" smtClean="0"/>
              <a:t>It is a tool that executes plain-text functional descriptions as automated tests.</a:t>
            </a:r>
          </a:p>
          <a:p>
            <a:r>
              <a:rPr lang="en-GB" dirty="0" smtClean="0"/>
              <a:t>Written in Ruby but can be used in other programming languages</a:t>
            </a:r>
          </a:p>
          <a:p>
            <a:pPr lvl="1"/>
            <a:r>
              <a:rPr lang="en-GB" dirty="0" smtClean="0"/>
              <a:t>Cucumber-JVM for Java</a:t>
            </a:r>
          </a:p>
          <a:p>
            <a:pPr lvl="1"/>
            <a:r>
              <a:rPr lang="en-GB" dirty="0" smtClean="0"/>
              <a:t>IronRuby and .NET for .NET</a:t>
            </a:r>
          </a:p>
          <a:p>
            <a:pPr lvl="1"/>
            <a:r>
              <a:rPr lang="en-GB" dirty="0" smtClean="0"/>
              <a:t>cucumberl for Erlang</a:t>
            </a:r>
          </a:p>
          <a:p>
            <a:r>
              <a:rPr lang="en-GB" dirty="0" smtClean="0"/>
              <a:t>Gherkin is the language that Cucumber understands</a:t>
            </a:r>
          </a:p>
          <a:p>
            <a:r>
              <a:rPr lang="en-GB" dirty="0" smtClean="0"/>
              <a:t>It is a Business Readable, Domain Specific Language </a:t>
            </a:r>
          </a:p>
          <a:p>
            <a:r>
              <a:rPr lang="en-GB" dirty="0" smtClean="0"/>
              <a:t>It lets you describe software’s behaviour without </a:t>
            </a:r>
            <a:br>
              <a:rPr lang="en-GB" dirty="0" smtClean="0"/>
            </a:br>
            <a:r>
              <a:rPr lang="en-GB" dirty="0" smtClean="0"/>
              <a:t>detailing how that behaviour is implemented.</a:t>
            </a:r>
          </a:p>
          <a:p>
            <a:endParaRPr lang="en-GB" dirty="0" smtClean="0"/>
          </a:p>
          <a:p>
            <a:endParaRPr lang="en-GB" dirty="0" smtClean="0"/>
          </a:p>
          <a:p>
            <a:endParaRPr lang="en-GB" dirty="0" smtClean="0"/>
          </a:p>
          <a:p>
            <a:endParaRPr lang="en-GB" dirty="0" smtClean="0"/>
          </a:p>
          <a:p>
            <a:endParaRPr lang="en-GB" dirty="0" smtClean="0"/>
          </a:p>
          <a:p>
            <a:endParaRPr lang="en-GB" dirty="0" smtClean="0"/>
          </a:p>
          <a:p>
            <a:pPr marL="0" indent="0">
              <a:buNone/>
            </a:pPr>
            <a:r>
              <a:rPr lang="en-GB" dirty="0" smtClean="0"/>
              <a:t/>
            </a:r>
            <a:br>
              <a:rPr lang="en-GB" dirty="0" smtClean="0"/>
            </a:br>
            <a:r>
              <a:rPr lang="en-GB" sz="1100" dirty="0" smtClean="0"/>
              <a:t>Cucumber logo credit: </a:t>
            </a:r>
            <a:r>
              <a:rPr lang="en-GB" sz="1100" dirty="0" smtClean="0">
                <a:hlinkClick r:id="rId3"/>
              </a:rPr>
              <a:t>https://github.com/cucumber/cucumber/wiki</a:t>
            </a:r>
            <a:endParaRPr lang="en-GB" sz="1100" dirty="0" smtClean="0"/>
          </a:p>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4</a:t>
            </a:fld>
            <a:endParaRPr lang="en-GB" dirty="0"/>
          </a:p>
        </p:txBody>
      </p:sp>
    </p:spTree>
    <p:extLst>
      <p:ext uri="{BB962C8B-B14F-4D97-AF65-F5344CB8AC3E}">
        <p14:creationId xmlns:p14="http://schemas.microsoft.com/office/powerpoint/2010/main" val="34714916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alk</a:t>
            </a:r>
            <a:r>
              <a:rPr lang="en-GB" baseline="0" dirty="0" smtClean="0"/>
              <a:t> about Selenium being just one way to automate tests</a:t>
            </a:r>
          </a:p>
          <a:p>
            <a:r>
              <a:rPr lang="en-GB" baseline="0" dirty="0" smtClean="0"/>
              <a:t>Mention needing a grid and a virtual screen (frame) buffer e.g. XVFB </a:t>
            </a:r>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5</a:t>
            </a:fld>
            <a:endParaRPr lang="en-GB" dirty="0"/>
          </a:p>
        </p:txBody>
      </p:sp>
    </p:spTree>
    <p:extLst>
      <p:ext uri="{BB962C8B-B14F-4D97-AF65-F5344CB8AC3E}">
        <p14:creationId xmlns:p14="http://schemas.microsoft.com/office/powerpoint/2010/main" val="18294683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xplain</a:t>
            </a:r>
            <a:r>
              <a:rPr lang="en-GB" baseline="0" dirty="0" smtClean="0"/>
              <a:t> Grid view.</a:t>
            </a:r>
          </a:p>
          <a:p>
            <a:endParaRPr lang="en-GB" baseline="0" dirty="0" smtClean="0"/>
          </a:p>
          <a:p>
            <a:r>
              <a:rPr lang="en-GB" baseline="0" dirty="0" smtClean="0"/>
              <a:t>Nodes – nodes have one or more webdrivers.</a:t>
            </a:r>
          </a:p>
          <a:p>
            <a:r>
              <a:rPr lang="en-GB" baseline="0" dirty="0" smtClean="0"/>
              <a:t>Hub – has 0 or more nodes registered. </a:t>
            </a:r>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6</a:t>
            </a:fld>
            <a:endParaRPr lang="en-GB" dirty="0"/>
          </a:p>
        </p:txBody>
      </p:sp>
    </p:spTree>
    <p:extLst>
      <p:ext uri="{BB962C8B-B14F-4D97-AF65-F5344CB8AC3E}">
        <p14:creationId xmlns:p14="http://schemas.microsoft.com/office/powerpoint/2010/main" val="18852408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lide sums up OWASP</a:t>
            </a:r>
            <a:r>
              <a:rPr lang="en-GB" baseline="0" dirty="0" smtClean="0"/>
              <a:t> </a:t>
            </a:r>
            <a:r>
              <a:rPr lang="en-GB" dirty="0" smtClean="0"/>
              <a:t>ZAP and shows</a:t>
            </a:r>
            <a:r>
              <a:rPr lang="en-GB" baseline="0" dirty="0" smtClean="0"/>
              <a:t> vulnerability report. </a:t>
            </a:r>
          </a:p>
          <a:p>
            <a:endParaRPr lang="en-GB" baseline="0" dirty="0" smtClean="0"/>
          </a:p>
          <a:p>
            <a:r>
              <a:rPr lang="en-GB" baseline="0" dirty="0" smtClean="0"/>
              <a:t>Experiences: Proxying traffic increases Selenium execution times. </a:t>
            </a:r>
          </a:p>
          <a:p>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7</a:t>
            </a:fld>
            <a:endParaRPr lang="en-GB" dirty="0"/>
          </a:p>
        </p:txBody>
      </p:sp>
    </p:spTree>
    <p:extLst>
      <p:ext uri="{BB962C8B-B14F-4D97-AF65-F5344CB8AC3E}">
        <p14:creationId xmlns:p14="http://schemas.microsoft.com/office/powerpoint/2010/main" val="19020002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lide sums up OWASP</a:t>
            </a:r>
            <a:r>
              <a:rPr lang="en-GB" baseline="0" dirty="0" smtClean="0"/>
              <a:t> </a:t>
            </a:r>
            <a:r>
              <a:rPr lang="en-GB" dirty="0" smtClean="0"/>
              <a:t>ZAP and shows</a:t>
            </a:r>
            <a:r>
              <a:rPr lang="en-GB" baseline="0" dirty="0" smtClean="0"/>
              <a:t> vulnerability report. </a:t>
            </a:r>
          </a:p>
          <a:p>
            <a:endParaRPr lang="en-GB" baseline="0" dirty="0" smtClean="0"/>
          </a:p>
          <a:p>
            <a:r>
              <a:rPr lang="en-GB" baseline="0" dirty="0" smtClean="0"/>
              <a:t>Experiences: Proxying traffic increases Selenium execution times. </a:t>
            </a:r>
          </a:p>
          <a:p>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8</a:t>
            </a:fld>
            <a:endParaRPr lang="en-GB" dirty="0"/>
          </a:p>
        </p:txBody>
      </p:sp>
    </p:spTree>
    <p:extLst>
      <p:ext uri="{BB962C8B-B14F-4D97-AF65-F5344CB8AC3E}">
        <p14:creationId xmlns:p14="http://schemas.microsoft.com/office/powerpoint/2010/main" val="11431637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iscuss experiences and pro’s and con’s</a:t>
            </a:r>
          </a:p>
          <a:p>
            <a:r>
              <a:rPr lang="en-GB" dirty="0" smtClean="0"/>
              <a:t>Sauce Labs</a:t>
            </a:r>
            <a:r>
              <a:rPr lang="en-GB" baseline="0" dirty="0" smtClean="0"/>
              <a:t> and Soasta are worth mentioning as SaaS options – great options, but hard for Accenture to use as we’re putting client data into </a:t>
            </a:r>
            <a:r>
              <a:rPr lang="en-GB" baseline="0" smtClean="0"/>
              <a:t>someone else’s cloud</a:t>
            </a:r>
            <a:endParaRPr lang="en-GB" dirty="0"/>
          </a:p>
        </p:txBody>
      </p:sp>
      <p:sp>
        <p:nvSpPr>
          <p:cNvPr id="4" name="Slide Number Placeholder 3"/>
          <p:cNvSpPr>
            <a:spLocks noGrp="1"/>
          </p:cNvSpPr>
          <p:nvPr>
            <p:ph type="sldNum" sz="quarter" idx="10"/>
          </p:nvPr>
        </p:nvSpPr>
        <p:spPr/>
        <p:txBody>
          <a:bodyPr/>
          <a:lstStyle/>
          <a:p>
            <a:fld id="{AE93A72A-D4BA-4A5E-B748-B1B9B78BBAFC}" type="slidenum">
              <a:rPr lang="en-GB" smtClean="0"/>
              <a:t>49</a:t>
            </a:fld>
            <a:endParaRPr lang="en-GB" dirty="0"/>
          </a:p>
        </p:txBody>
      </p:sp>
    </p:spTree>
    <p:extLst>
      <p:ext uri="{BB962C8B-B14F-4D97-AF65-F5344CB8AC3E}">
        <p14:creationId xmlns:p14="http://schemas.microsoft.com/office/powerpoint/2010/main" val="299010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a:t>
            </a:r>
            <a:r>
              <a:rPr lang="en-GB" baseline="0" dirty="0" smtClean="0"/>
              <a:t> idea here is all these methodologies have evolved to optimise the basic software delivery lifecycle in different ways, </a:t>
            </a:r>
          </a:p>
          <a:p>
            <a:r>
              <a:rPr lang="en-GB" baseline="0" dirty="0" smtClean="0"/>
              <a:t>Bringing more and more focus on collaboration</a:t>
            </a:r>
          </a:p>
          <a:p>
            <a:r>
              <a:rPr lang="en-GB" baseline="0" dirty="0" smtClean="0"/>
              <a:t>And hence more and more value creation</a:t>
            </a:r>
          </a:p>
          <a:p>
            <a:r>
              <a:rPr lang="en-GB" baseline="0" dirty="0" smtClean="0"/>
              <a:t>To logical destination for all these practices becomes applying Lean techniques in an end to end way between business and customer – Lean </a:t>
            </a:r>
            <a:r>
              <a:rPr lang="en-GB" baseline="0" dirty="0" err="1" smtClean="0"/>
              <a:t>Startup</a:t>
            </a:r>
            <a:endParaRPr lang="en-GB" baseline="0" dirty="0" smtClean="0"/>
          </a:p>
          <a:p>
            <a:endParaRPr lang="en-GB" dirty="0" smtClean="0"/>
          </a:p>
          <a:p>
            <a:r>
              <a:rPr lang="en-GB" dirty="0" smtClean="0"/>
              <a:t>Agile Development goes</a:t>
            </a:r>
            <a:r>
              <a:rPr lang="en-GB" baseline="0" dirty="0" smtClean="0"/>
              <a:t> some of the way to help dev work with the business but traditionally does not reach into Operations</a:t>
            </a:r>
          </a:p>
          <a:p>
            <a:r>
              <a:rPr lang="en-GB" baseline="0" dirty="0" smtClean="0"/>
              <a:t>We’ll cover CI and CD in detail later, but fundamentally</a:t>
            </a:r>
          </a:p>
          <a:p>
            <a:r>
              <a:rPr lang="en-GB" baseline="0" dirty="0" smtClean="0"/>
              <a:t>CI introduces quality feedback</a:t>
            </a:r>
          </a:p>
          <a:p>
            <a:r>
              <a:rPr lang="en-GB" baseline="0" dirty="0" smtClean="0"/>
              <a:t>CD takes you as far as being able to deploy to production at any time</a:t>
            </a:r>
          </a:p>
          <a:p>
            <a:r>
              <a:rPr lang="en-GB" baseline="0" dirty="0" smtClean="0"/>
              <a:t>DevOps includes optimising both the building and the running of systems</a:t>
            </a:r>
          </a:p>
          <a:p>
            <a:r>
              <a:rPr lang="en-GB" baseline="0" dirty="0" smtClean="0"/>
              <a:t>But the widest view of all is:</a:t>
            </a:r>
          </a:p>
          <a:p>
            <a:r>
              <a:rPr lang="en-GB" baseline="0" dirty="0" smtClean="0"/>
              <a:t>Lean and Lean </a:t>
            </a:r>
            <a:r>
              <a:rPr lang="en-GB" baseline="0" dirty="0" err="1" smtClean="0"/>
              <a:t>Startup</a:t>
            </a:r>
            <a:endParaRPr lang="en-GB" baseline="0" dirty="0" smtClean="0"/>
          </a:p>
          <a:p>
            <a:endParaRPr lang="en-GB" baseline="0" dirty="0" smtClean="0"/>
          </a:p>
        </p:txBody>
      </p:sp>
    </p:spTree>
    <p:extLst>
      <p:ext uri="{BB962C8B-B14F-4D97-AF65-F5344CB8AC3E}">
        <p14:creationId xmlns:p14="http://schemas.microsoft.com/office/powerpoint/2010/main" val="37184117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83831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ention</a:t>
            </a:r>
            <a:r>
              <a:rPr lang="en-GB" baseline="0" dirty="0" smtClean="0"/>
              <a:t> that Martin said that all software projects had an integration stage which was impossible to estimate</a:t>
            </a:r>
          </a:p>
          <a:p>
            <a:r>
              <a:rPr lang="en-GB" baseline="0" dirty="0" smtClean="0"/>
              <a:t>Took forever and wasteful</a:t>
            </a:r>
          </a:p>
          <a:p>
            <a:r>
              <a:rPr lang="en-GB" baseline="0" dirty="0" smtClean="0"/>
              <a:t>It it’s difficult, do it regularly until it’s easier (like building a muscle)</a:t>
            </a:r>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51</a:t>
            </a:fld>
            <a:endParaRPr lang="en-GB" dirty="0"/>
          </a:p>
        </p:txBody>
      </p:sp>
    </p:spTree>
    <p:extLst>
      <p:ext uri="{BB962C8B-B14F-4D97-AF65-F5344CB8AC3E}">
        <p14:creationId xmlns:p14="http://schemas.microsoft.com/office/powerpoint/2010/main" val="41939529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ention</a:t>
            </a:r>
            <a:r>
              <a:rPr lang="en-GB" baseline="0" dirty="0" smtClean="0"/>
              <a:t> that Martin said that all software projects had an integration stage which was impossible to estimate</a:t>
            </a:r>
          </a:p>
          <a:p>
            <a:r>
              <a:rPr lang="en-GB" baseline="0" dirty="0" smtClean="0"/>
              <a:t>Took forever and wasteful</a:t>
            </a:r>
          </a:p>
          <a:p>
            <a:r>
              <a:rPr lang="en-GB" baseline="0" dirty="0" smtClean="0"/>
              <a:t>It it’s difficult, do it regularly until it’s easier (like building a muscle)</a:t>
            </a:r>
            <a:endParaRPr lang="en-GB" dirty="0"/>
          </a:p>
        </p:txBody>
      </p:sp>
      <p:sp>
        <p:nvSpPr>
          <p:cNvPr id="4" name="Slide Number Placeholder 3"/>
          <p:cNvSpPr>
            <a:spLocks noGrp="1"/>
          </p:cNvSpPr>
          <p:nvPr>
            <p:ph type="sldNum" sz="quarter" idx="10"/>
          </p:nvPr>
        </p:nvSpPr>
        <p:spPr/>
        <p:txBody>
          <a:bodyPr/>
          <a:lstStyle/>
          <a:p>
            <a:fld id="{EC36FEC3-79C8-4D44-BA28-2D949EA9A177}" type="slidenum">
              <a:rPr lang="en-GB" smtClean="0"/>
              <a:t>52</a:t>
            </a:fld>
            <a:endParaRPr lang="en-GB" dirty="0"/>
          </a:p>
        </p:txBody>
      </p:sp>
    </p:spTree>
    <p:extLst>
      <p:ext uri="{BB962C8B-B14F-4D97-AF65-F5344CB8AC3E}">
        <p14:creationId xmlns:p14="http://schemas.microsoft.com/office/powerpoint/2010/main" val="20640371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f we take</a:t>
            </a:r>
            <a:r>
              <a:rPr lang="en-US" baseline="0" dirty="0" smtClean="0"/>
              <a:t> what we do in IT down to the simplest form, basically we are taking ideas and turning them into some type of system which involves computers and hoping that this will make money.</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process for taking an idea and getting it into the state where it can start delivering business value is our main focu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Using the terminology from lean we can call that part the Value Stream</a:t>
            </a:r>
            <a:endParaRPr lang="en-US" dirty="0" smtClean="0"/>
          </a:p>
          <a:p>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38994990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at we typically do in traditional</a:t>
            </a:r>
            <a:r>
              <a:rPr lang="en-US" baseline="0" dirty="0" smtClean="0"/>
              <a:t> delivery is group those ideas into a release and that would then batch up at the end of a release all of the expected value outcomes.</a:t>
            </a:r>
            <a:endParaRPr lang="en-US" dirty="0" smtClean="0"/>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d as those things start going wrong, our natural tendency is to do them less frequently by having bigger</a:t>
            </a:r>
            <a:r>
              <a:rPr lang="en-US" baseline="0" dirty="0" smtClean="0"/>
              <a:t> and bigger and bigger releases, so you enter a kind of destructive spiral.</a:t>
            </a:r>
            <a:endParaRPr lang="en-US" dirty="0" smtClean="0"/>
          </a:p>
          <a:p>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4159814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f,</a:t>
            </a:r>
            <a:r>
              <a:rPr lang="en-US" baseline="0" dirty="0" smtClean="0"/>
              <a:t> in fact, a number of those ideas were flawed or faulty or didn’t have significance in the expected value case, the end result from the release is going to be less.</a:t>
            </a:r>
            <a:endParaRPr lang="en-US" dirty="0" smtClean="0"/>
          </a:p>
          <a:p>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21909298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hat we typically do in traditional</a:t>
            </a:r>
            <a:r>
              <a:rPr lang="en-US" baseline="0" dirty="0" smtClean="0"/>
              <a:t> delivery is group those ideas into a release and that would then batch up at the end of a release all of the expected value outcomes.</a:t>
            </a:r>
            <a:endParaRPr lang="en-US" dirty="0" smtClean="0"/>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d as those things start going wrong, our natural tendency is to do them less frequently by having bigger</a:t>
            </a:r>
            <a:r>
              <a:rPr lang="en-US" baseline="0" dirty="0" smtClean="0"/>
              <a:t> and bigger and bigger releases, so you enter a kind of destructive spiral.</a:t>
            </a:r>
            <a:endParaRPr lang="en-US" dirty="0" smtClean="0"/>
          </a:p>
          <a:p>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8002241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inally the normal reality</a:t>
            </a:r>
            <a:r>
              <a:rPr lang="en-GB" baseline="0" dirty="0" smtClean="0"/>
              <a:t> is that live systems still take various types of updates whilst releases are still being developed</a:t>
            </a:r>
          </a:p>
          <a:p>
            <a:r>
              <a:rPr lang="en-GB" baseline="0" dirty="0" smtClean="0"/>
              <a:t>This leads to risk and cost in the form of regression testing and merge</a:t>
            </a: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9845946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ooking at the agile and lean concepts, the concept is that we</a:t>
            </a:r>
            <a:r>
              <a:rPr lang="en-US" baseline="0" dirty="0" smtClean="0"/>
              <a:t> try to deliver individual ideas or individual changes, seeking to drive down – to use the parallel to manufacturing – drive down that batch size until we’re working on just-in-time manufacturing, just making the product immediately to order. And by that smaller batch size, firstly, the business gets the value as they go, but we also start to get the feedback from the customer base – is this product working? – and with that, the nimbleness and the agility to change direction. And, we get to optimize our delivery process so that by the end of the release, hopefully, we’re delivering far more efficiently as the machine starts to perform optimally.</a:t>
            </a:r>
            <a:endParaRPr lang="en-US" dirty="0" smtClean="0"/>
          </a:p>
          <a:p>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238767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a:t>
            </a:r>
            <a:r>
              <a:rPr lang="en-GB" baseline="0" dirty="0" smtClean="0"/>
              <a:t> can also expect that as the change size gets smaller, so will the risk and the associated waste</a:t>
            </a: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1762253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65372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a:t>
            </a:r>
            <a:r>
              <a:rPr lang="en-GB" baseline="0" dirty="0" smtClean="0"/>
              <a:t> we need an approach to optimising the SDLC for ease of regular releasing aka high throughput</a:t>
            </a:r>
          </a:p>
          <a:p>
            <a:r>
              <a:rPr lang="en-GB" baseline="0" dirty="0" smtClean="0"/>
              <a:t>We call that Continuous Delivery</a:t>
            </a:r>
          </a:p>
          <a:p>
            <a:endParaRPr lang="en-GB" baseline="0" dirty="0" smtClean="0"/>
          </a:p>
          <a:p>
            <a:r>
              <a:rPr lang="en-GB" baseline="0" dirty="0" smtClean="0"/>
              <a:t>Which is basically like building an initialised factory</a:t>
            </a:r>
          </a:p>
        </p:txBody>
      </p:sp>
      <p:sp>
        <p:nvSpPr>
          <p:cNvPr id="4" name="Slide Number Placeholder 3"/>
          <p:cNvSpPr>
            <a:spLocks noGrp="1"/>
          </p:cNvSpPr>
          <p:nvPr>
            <p:ph type="sldNum" sz="quarter" idx="10"/>
          </p:nvPr>
        </p:nvSpPr>
        <p:spPr/>
        <p:txBody>
          <a:bodyPr/>
          <a:lstStyle/>
          <a:p>
            <a:fld id="{CD05F13F-F850-4EC8-B299-3D74C19DB59F}" type="slidenum">
              <a:rPr lang="en-GB" smtClean="0">
                <a:solidFill>
                  <a:prstClr val="black"/>
                </a:solidFill>
              </a:rPr>
              <a:pPr/>
              <a:t>62</a:t>
            </a:fld>
            <a:endParaRPr lang="en-GB" dirty="0">
              <a:solidFill>
                <a:prstClr val="black"/>
              </a:solidFill>
            </a:endParaRPr>
          </a:p>
        </p:txBody>
      </p:sp>
    </p:spTree>
    <p:extLst>
      <p:ext uri="{BB962C8B-B14F-4D97-AF65-F5344CB8AC3E}">
        <p14:creationId xmlns:p14="http://schemas.microsoft.com/office/powerpoint/2010/main" val="35397926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k</a:t>
            </a:r>
            <a:r>
              <a:rPr lang="en-GB" baseline="0" dirty="0" smtClean="0"/>
              <a:t> for projects with other solutions</a:t>
            </a:r>
          </a:p>
          <a:p>
            <a:r>
              <a:rPr lang="en-GB" baseline="0" dirty="0" smtClean="0"/>
              <a:t>Ask for people with dramatically different stuff e.g. Microsoft</a:t>
            </a:r>
          </a:p>
          <a:p>
            <a:r>
              <a:rPr lang="en-GB" baseline="0" dirty="0" smtClean="0"/>
              <a:t>Capture any radically different ones and </a:t>
            </a:r>
            <a:r>
              <a:rPr lang="en-GB" u="sng" baseline="0" dirty="0" smtClean="0"/>
              <a:t>update this slide</a:t>
            </a:r>
            <a:endParaRPr lang="en-GB" u="sng" dirty="0"/>
          </a:p>
        </p:txBody>
      </p:sp>
      <p:sp>
        <p:nvSpPr>
          <p:cNvPr id="4" name="Slide Number Placeholder 3"/>
          <p:cNvSpPr>
            <a:spLocks noGrp="1"/>
          </p:cNvSpPr>
          <p:nvPr>
            <p:ph type="sldNum" sz="quarter" idx="10"/>
          </p:nvPr>
        </p:nvSpPr>
        <p:spPr/>
        <p:txBody>
          <a:bodyPr/>
          <a:lstStyle/>
          <a:p>
            <a:fld id="{EC36FEC3-79C8-4D44-BA28-2D949EA9A177}" type="slidenum">
              <a:rPr lang="en-GB" smtClean="0"/>
              <a:t>64</a:t>
            </a:fld>
            <a:endParaRPr lang="en-GB" dirty="0"/>
          </a:p>
        </p:txBody>
      </p:sp>
    </p:spTree>
    <p:extLst>
      <p:ext uri="{BB962C8B-B14F-4D97-AF65-F5344CB8AC3E}">
        <p14:creationId xmlns:p14="http://schemas.microsoft.com/office/powerpoint/2010/main" val="3420138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rompt</a:t>
            </a:r>
            <a:r>
              <a:rPr lang="en-US" baseline="0" dirty="0" smtClean="0"/>
              <a:t> discussion</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Show school answer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fter the first “reveal” ask for 4 main concep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loud Computing </a:t>
            </a:r>
            <a:r>
              <a:rPr lang="en-GB" dirty="0" smtClean="0"/>
              <a:t>is a collection of computing services (compute, storage, network, etc.) accessible on-demand over a network</a:t>
            </a:r>
            <a:r>
              <a:rPr lang="en-US" dirty="0" smtClean="0"/>
              <a:t>. It is a business and technology model for delivering and acquiring IT services in a utility-like fash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itchFamily="34" charset="0"/>
              <a:ea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itchFamily="34" charset="0"/>
                <a:ea typeface="Arial" pitchFamily="34" charset="0"/>
                <a:cs typeface="Arial" pitchFamily="34" charset="0"/>
              </a:rPr>
              <a:t>Cloud Computing addresses many of the limitations of traditional, on premise IT infrastructure. Cloud computing provides customers with access to remote computing resources, delivered as a service, over the internet. With cloud computing, customers no longer have to purchase and maintain the hardware required to roll out new business applications. Instead, cloud computing allows developers to access computing resources remotely, at any time, through a web browser or through APIs.</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effectLst/>
                <a:latin typeface="Arial" pitchFamily="34" charset="0"/>
                <a:ea typeface="Arial" pitchFamily="34" charset="0"/>
                <a:cs typeface="Arial" pitchFamily="34" charset="0"/>
              </a:rPr>
              <a:t>Utility computing</a:t>
            </a:r>
            <a:r>
              <a:rPr lang="en-GB" sz="1200" b="0" i="0" kern="1200" dirty="0" smtClean="0">
                <a:solidFill>
                  <a:schemeClr val="tx1"/>
                </a:solidFill>
                <a:effectLst/>
                <a:latin typeface="Arial" pitchFamily="34" charset="0"/>
                <a:ea typeface="Arial" pitchFamily="34" charset="0"/>
                <a:cs typeface="Arial" pitchFamily="34" charset="0"/>
              </a:rPr>
              <a:t> is a service provisioning model in which a service provider makes computing resources and infrastructure management available to the customer as needed, and charges them for specific usage rather than a flat rate.</a:t>
            </a:r>
            <a:endParaRPr lang="en-US" sz="1200" kern="1200" dirty="0" smtClean="0">
              <a:solidFill>
                <a:schemeClr val="tx1"/>
              </a:solidFill>
              <a:effectLst/>
              <a:latin typeface="Arial" pitchFamily="34" charset="0"/>
              <a:ea typeface="Arial" pitchFamily="34" charset="0"/>
              <a:cs typeface="Arial" pitchFamily="34" charset="0"/>
            </a:endParaRPr>
          </a:p>
          <a:p>
            <a:endParaRPr lang="en-US" dirty="0"/>
          </a:p>
        </p:txBody>
      </p:sp>
    </p:spTree>
    <p:extLst>
      <p:ext uri="{BB962C8B-B14F-4D97-AF65-F5344CB8AC3E}">
        <p14:creationId xmlns:p14="http://schemas.microsoft.com/office/powerpoint/2010/main" val="6016560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stack, get people to</a:t>
            </a:r>
            <a:r>
              <a:rPr lang="en-US" baseline="0" dirty="0" smtClean="0"/>
              <a:t> state what is included (don’t work too hard on the first one)</a:t>
            </a:r>
          </a:p>
          <a:p>
            <a:r>
              <a:rPr lang="en-US" baseline="0" dirty="0" smtClean="0"/>
              <a:t>Then get people to say who manages what</a:t>
            </a:r>
            <a:endParaRPr lang="en-US" dirty="0" smtClean="0"/>
          </a:p>
          <a:p>
            <a:endParaRPr lang="en-US" dirty="0"/>
          </a:p>
        </p:txBody>
      </p:sp>
    </p:spTree>
    <p:extLst>
      <p:ext uri="{BB962C8B-B14F-4D97-AF65-F5344CB8AC3E}">
        <p14:creationId xmlns:p14="http://schemas.microsoft.com/office/powerpoint/2010/main" val="3475056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50" dirty="0" smtClean="0"/>
              <a:t>All nice things,</a:t>
            </a:r>
            <a:r>
              <a:rPr lang="en-GB" sz="1050" baseline="0" dirty="0" smtClean="0"/>
              <a:t> but basically whether you use a 3</a:t>
            </a:r>
            <a:r>
              <a:rPr lang="en-GB" sz="1050" baseline="30000" dirty="0" smtClean="0"/>
              <a:t>rd</a:t>
            </a:r>
            <a:r>
              <a:rPr lang="en-GB" sz="1050" baseline="0" dirty="0" smtClean="0"/>
              <a:t> party PaaS, host your own instance of a 3</a:t>
            </a:r>
            <a:r>
              <a:rPr lang="en-GB" sz="1050" baseline="30000" dirty="0" smtClean="0"/>
              <a:t>rd</a:t>
            </a:r>
            <a:r>
              <a:rPr lang="en-GB" sz="1050" baseline="0" dirty="0" smtClean="0"/>
              <a:t> Party PaaS App, or build you own…</a:t>
            </a:r>
          </a:p>
          <a:p>
            <a:r>
              <a:rPr lang="en-GB" sz="1050" baseline="0" dirty="0" smtClean="0"/>
              <a:t>The value prospects are the same – we’re industrialising</a:t>
            </a:r>
          </a:p>
          <a:p>
            <a:endParaRPr lang="en-GB" sz="1050" dirty="0"/>
          </a:p>
        </p:txBody>
      </p:sp>
      <p:sp>
        <p:nvSpPr>
          <p:cNvPr id="4" name="Slide Number Placeholder 3"/>
          <p:cNvSpPr>
            <a:spLocks noGrp="1"/>
          </p:cNvSpPr>
          <p:nvPr>
            <p:ph type="sldNum" sz="quarter" idx="10"/>
          </p:nvPr>
        </p:nvSpPr>
        <p:spPr/>
        <p:txBody>
          <a:bodyPr/>
          <a:lstStyle/>
          <a:p>
            <a:fld id="{27F7A45B-6EF4-48D1-BAD3-C67D3F7B37C9}" type="slidenum">
              <a:rPr lang="en-GB" smtClean="0"/>
              <a:t>9</a:t>
            </a:fld>
            <a:endParaRPr lang="en-GB" dirty="0"/>
          </a:p>
        </p:txBody>
      </p:sp>
    </p:spTree>
    <p:extLst>
      <p:ext uri="{BB962C8B-B14F-4D97-AF65-F5344CB8AC3E}">
        <p14:creationId xmlns:p14="http://schemas.microsoft.com/office/powerpoint/2010/main" val="214321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Kibana provides rich interactions and UI elements for visualising data.</a:t>
            </a:r>
          </a:p>
          <a:p>
            <a:endParaRPr lang="en-GB" baseline="0" dirty="0" smtClean="0"/>
          </a:p>
          <a:p>
            <a:r>
              <a:rPr lang="en-GB" baseline="0" dirty="0" smtClean="0"/>
              <a:t>We can:</a:t>
            </a:r>
          </a:p>
          <a:p>
            <a:pPr marL="171450" lvl="0" indent="-171450">
              <a:buFont typeface="Arial" panose="020B0604020202020204" pitchFamily="34" charset="0"/>
              <a:buChar char="•"/>
            </a:pPr>
            <a:r>
              <a:rPr lang="en-GB" baseline="0" dirty="0" smtClean="0"/>
              <a:t>Produce Pie charts, tables, histograms, maps. </a:t>
            </a:r>
          </a:p>
          <a:p>
            <a:pPr marL="171450" lvl="0" indent="-171450">
              <a:buFont typeface="Arial" panose="020B0604020202020204" pitchFamily="34" charset="0"/>
              <a:buChar char="•"/>
            </a:pPr>
            <a:r>
              <a:rPr lang="en-GB" baseline="0" dirty="0" smtClean="0"/>
              <a:t>Filter through logs based on filters.</a:t>
            </a:r>
          </a:p>
          <a:p>
            <a:pPr marL="171450" lvl="0" indent="-171450">
              <a:buFont typeface="Arial" panose="020B0604020202020204" pitchFamily="34" charset="0"/>
              <a:buChar char="•"/>
            </a:pPr>
            <a:r>
              <a:rPr lang="en-GB" baseline="0" dirty="0" smtClean="0"/>
              <a:t>Complex search queries based on Apache Lucene language.</a:t>
            </a:r>
          </a:p>
          <a:p>
            <a:pPr marL="0" indent="0">
              <a:buFont typeface="Arial" panose="020B0604020202020204" pitchFamily="34" charset="0"/>
              <a:buNone/>
            </a:pPr>
            <a:endParaRPr lang="en-GB" baseline="0" dirty="0" smtClean="0"/>
          </a:p>
          <a:p>
            <a:pPr marL="0" indent="0">
              <a:buFont typeface="Arial" panose="020B0604020202020204" pitchFamily="34" charset="0"/>
              <a:buNone/>
            </a:pPr>
            <a:endParaRPr lang="en-GB" baseline="0" dirty="0" smtClean="0"/>
          </a:p>
        </p:txBody>
      </p:sp>
      <p:sp>
        <p:nvSpPr>
          <p:cNvPr id="4" name="Slide Number Placeholder 3"/>
          <p:cNvSpPr>
            <a:spLocks noGrp="1"/>
          </p:cNvSpPr>
          <p:nvPr>
            <p:ph type="sldNum" sz="quarter" idx="10"/>
          </p:nvPr>
        </p:nvSpPr>
        <p:spPr/>
        <p:txBody>
          <a:bodyPr/>
          <a:lstStyle/>
          <a:p>
            <a:fld id="{BFBB8159-5CDE-4634-8C5A-3005F6D7C227}" type="slidenum">
              <a:rPr lang="en-GB" smtClean="0"/>
              <a:t>16</a:t>
            </a:fld>
            <a:endParaRPr lang="en-GB" dirty="0"/>
          </a:p>
        </p:txBody>
      </p:sp>
    </p:spTree>
    <p:extLst>
      <p:ext uri="{BB962C8B-B14F-4D97-AF65-F5344CB8AC3E}">
        <p14:creationId xmlns:p14="http://schemas.microsoft.com/office/powerpoint/2010/main" val="17094425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_Bottom">
    <p:spTree>
      <p:nvGrpSpPr>
        <p:cNvPr id="1" name=""/>
        <p:cNvGrpSpPr/>
        <p:nvPr/>
      </p:nvGrpSpPr>
      <p:grpSpPr>
        <a:xfrm>
          <a:off x="0" y="0"/>
          <a:ext cx="0" cy="0"/>
          <a:chOff x="0" y="0"/>
          <a:chExt cx="0" cy="0"/>
        </a:xfrm>
      </p:grpSpPr>
      <p:pic>
        <p:nvPicPr>
          <p:cNvPr id="84" name="Picture 83"/>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0" y="1"/>
            <a:ext cx="9144000" cy="6858000"/>
          </a:xfrm>
          <a:prstGeom prst="rect">
            <a:avLst/>
          </a:prstGeom>
        </p:spPr>
      </p:pic>
      <p:sp>
        <p:nvSpPr>
          <p:cNvPr id="2" name="Title 1"/>
          <p:cNvSpPr>
            <a:spLocks noGrp="1"/>
          </p:cNvSpPr>
          <p:nvPr userDrawn="1">
            <p:ph type="ctrTitle" hasCustomPrompt="1"/>
          </p:nvPr>
        </p:nvSpPr>
        <p:spPr>
          <a:xfrm>
            <a:off x="455614" y="1434245"/>
            <a:ext cx="4010024" cy="996950"/>
          </a:xfrm>
          <a:prstGeom prst="rect">
            <a:avLst/>
          </a:prstGeom>
        </p:spPr>
        <p:txBody>
          <a:bodyPr lIns="0" tIns="0" anchor="b" anchorCtr="0">
            <a:noAutofit/>
          </a:bodyPr>
          <a:lstStyle>
            <a:lvl1pPr algn="l">
              <a:lnSpc>
                <a:spcPct val="90000"/>
              </a:lnSpc>
              <a:defRPr sz="3200" b="0" spc="0" baseline="0">
                <a:solidFill>
                  <a:schemeClr val="accent1"/>
                </a:solidFill>
                <a:latin typeface="+mj-lt"/>
                <a:cs typeface="Arial" pitchFamily="34" charset="0"/>
              </a:defRPr>
            </a:lvl1pPr>
          </a:lstStyle>
          <a:p>
            <a:r>
              <a:rPr lang="en-US" dirty="0" smtClean="0"/>
              <a:t>Click to edit Master title style </a:t>
            </a:r>
            <a:endParaRPr lang="en-GB" dirty="0"/>
          </a:p>
        </p:txBody>
      </p:sp>
      <p:sp>
        <p:nvSpPr>
          <p:cNvPr id="33" name="Text Placeholder 32"/>
          <p:cNvSpPr>
            <a:spLocks noGrp="1"/>
          </p:cNvSpPr>
          <p:nvPr userDrawn="1">
            <p:ph type="body" sz="quarter" idx="10"/>
          </p:nvPr>
        </p:nvSpPr>
        <p:spPr>
          <a:xfrm>
            <a:off x="455613" y="2504971"/>
            <a:ext cx="4010024" cy="46756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smtClean="0"/>
              <a:t>Click to edit Master text styles</a:t>
            </a:r>
          </a:p>
        </p:txBody>
      </p:sp>
      <p:grpSp>
        <p:nvGrpSpPr>
          <p:cNvPr id="28" name="Group 27"/>
          <p:cNvGrpSpPr/>
          <p:nvPr userDrawn="1"/>
        </p:nvGrpSpPr>
        <p:grpSpPr>
          <a:xfrm>
            <a:off x="5663206" y="1469805"/>
            <a:ext cx="3074394" cy="2061722"/>
            <a:chOff x="5728986" y="1472516"/>
            <a:chExt cx="3074394" cy="2061722"/>
          </a:xfrm>
        </p:grpSpPr>
        <p:sp>
          <p:nvSpPr>
            <p:cNvPr id="29" name="Freeform 28"/>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pic>
        <p:nvPicPr>
          <p:cNvPr id="82" name="Picture 8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06800" y="6228000"/>
            <a:ext cx="4698000" cy="228799"/>
          </a:xfrm>
          <a:prstGeom prst="rect">
            <a:avLst/>
          </a:prstGeom>
          <a:noFill/>
          <a:ln>
            <a:noFill/>
          </a:ln>
        </p:spPr>
      </p:pic>
      <p:pic>
        <p:nvPicPr>
          <p:cNvPr id="83"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466442" y="302741"/>
            <a:ext cx="4543634" cy="7480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51503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748800"/>
            <a:ext cx="8232775"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3" name="Footer Placeholder 2"/>
          <p:cNvSpPr>
            <a:spLocks noGrp="1"/>
          </p:cNvSpPr>
          <p:nvPr>
            <p:ph type="ftr" sz="quarter" idx="10"/>
          </p:nvPr>
        </p:nvSpPr>
        <p:spPr/>
        <p:txBody>
          <a:bodyPr/>
          <a:lstStyle/>
          <a:p>
            <a:r>
              <a:rPr lang="en-US" smtClean="0"/>
              <a:t>Copyright © 2015 Accenture  All rights reserved.</a:t>
            </a:r>
            <a:endParaRPr lang="en-US" dirty="0"/>
          </a:p>
        </p:txBody>
      </p:sp>
      <p:sp>
        <p:nvSpPr>
          <p:cNvPr id="4" name="Slide Number Placeholder 3"/>
          <p:cNvSpPr>
            <a:spLocks noGrp="1"/>
          </p:cNvSpPr>
          <p:nvPr>
            <p:ph type="sldNum" sz="quarter" idx="11"/>
          </p:nvPr>
        </p:nvSpPr>
        <p:spPr/>
        <p:txBody>
          <a:bodyPr/>
          <a:lstStyle/>
          <a:p>
            <a:pPr>
              <a:defRPr/>
            </a:pPr>
            <a:r>
              <a:rPr lang="en-US" smtClean="0"/>
              <a:t>Page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1071830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lide 2 - Sub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748800"/>
            <a:ext cx="8232775"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6" name="Text Placeholder 5"/>
          <p:cNvSpPr>
            <a:spLocks noGrp="1"/>
          </p:cNvSpPr>
          <p:nvPr>
            <p:ph type="body" sz="quarter" idx="11"/>
          </p:nvPr>
        </p:nvSpPr>
        <p:spPr>
          <a:xfrm>
            <a:off x="455613" y="1909764"/>
            <a:ext cx="8232775" cy="44243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3" name="Footer Placeholder 2"/>
          <p:cNvSpPr>
            <a:spLocks noGrp="1"/>
          </p:cNvSpPr>
          <p:nvPr>
            <p:ph type="ftr" sz="quarter" idx="12"/>
          </p:nvPr>
        </p:nvSpPr>
        <p:spPr/>
        <p:txBody>
          <a:bodyPr/>
          <a:lstStyle/>
          <a:p>
            <a:r>
              <a:rPr lang="en-US" smtClean="0"/>
              <a:t>Copyright © 2015 Accenture  All rights reserved.</a:t>
            </a:r>
            <a:endParaRPr lang="en-US" dirty="0"/>
          </a:p>
        </p:txBody>
      </p:sp>
      <p:sp>
        <p:nvSpPr>
          <p:cNvPr id="4" name="Slide Number Placeholder 3"/>
          <p:cNvSpPr>
            <a:spLocks noGrp="1"/>
          </p:cNvSpPr>
          <p:nvPr>
            <p:ph type="sldNum" sz="quarter" idx="13"/>
          </p:nvPr>
        </p:nvSpPr>
        <p:spPr/>
        <p:txBody>
          <a:bodyPr/>
          <a:lstStyle/>
          <a:p>
            <a:pPr>
              <a:defRPr/>
            </a:pPr>
            <a:r>
              <a:rPr lang="en-US" smtClean="0"/>
              <a:t>Page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88553031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748800"/>
            <a:ext cx="8232775" cy="1161492"/>
          </a:xfrm>
          <a:prstGeom prst="rect">
            <a:avLst/>
          </a:prstGeom>
        </p:spPr>
        <p:txBody>
          <a:bodyPr lIns="0" tIns="0" anchor="b" anchorCtr="0">
            <a:noAutofit/>
          </a:bodyPr>
          <a:lstStyle>
            <a:lvl1pPr algn="l">
              <a:lnSpc>
                <a:spcPct val="100000"/>
              </a:lnSpc>
              <a:defRPr sz="3600" b="0" spc="0" baseline="0">
                <a:solidFill>
                  <a:schemeClr val="accent1"/>
                </a:solidFill>
                <a:latin typeface="+mj-lt"/>
                <a:cs typeface="Arial" pitchFamily="34" charset="0"/>
              </a:defRPr>
            </a:lvl1pPr>
          </a:lstStyle>
          <a:p>
            <a:r>
              <a:rPr lang="en-US" dirty="0" smtClean="0"/>
              <a:t>Click to edit Master title style </a:t>
            </a:r>
            <a:endParaRPr lang="en-GB" dirty="0"/>
          </a:p>
        </p:txBody>
      </p:sp>
      <p:sp>
        <p:nvSpPr>
          <p:cNvPr id="3" name="Footer Placeholder 2"/>
          <p:cNvSpPr>
            <a:spLocks noGrp="1"/>
          </p:cNvSpPr>
          <p:nvPr>
            <p:ph type="ftr" sz="quarter" idx="10"/>
          </p:nvPr>
        </p:nvSpPr>
        <p:spPr/>
        <p:txBody>
          <a:bodyPr/>
          <a:lstStyle>
            <a:lvl1pPr>
              <a:defRPr>
                <a:solidFill>
                  <a:schemeClr val="tx1"/>
                </a:solidFill>
              </a:defRPr>
            </a:lvl1pPr>
          </a:lstStyle>
          <a:p>
            <a:r>
              <a:rPr lang="en-US" dirty="0" smtClean="0"/>
              <a:t>Copyright © 2015 Accenture  All rights reserved.</a:t>
            </a:r>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pPr>
              <a:defRPr/>
            </a:pPr>
            <a:r>
              <a:rPr lang="en-US" dirty="0" smtClean="0"/>
              <a:t>Page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55788113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2" name="Footer Placeholder 1"/>
          <p:cNvSpPr>
            <a:spLocks noGrp="1"/>
          </p:cNvSpPr>
          <p:nvPr>
            <p:ph type="ftr" sz="quarter" idx="12"/>
          </p:nvPr>
        </p:nvSpPr>
        <p:spPr/>
        <p:txBody>
          <a:bodyPr/>
          <a:lstStyle/>
          <a:p>
            <a:r>
              <a:rPr lang="en-AU" smtClean="0"/>
              <a:t>Copyright © 2015 Accenture  All rights reserved.</a:t>
            </a:r>
            <a:endParaRPr lang="en-AU" dirty="0"/>
          </a:p>
        </p:txBody>
      </p:sp>
      <p:sp>
        <p:nvSpPr>
          <p:cNvPr id="6" name="Rectangle 33"/>
          <p:cNvSpPr>
            <a:spLocks noChangeArrowheads="1"/>
          </p:cNvSpPr>
          <p:nvPr userDrawn="1"/>
        </p:nvSpPr>
        <p:spPr bwMode="auto">
          <a:xfrm>
            <a:off x="1298530" y="3756303"/>
            <a:ext cx="43281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Design </a:t>
            </a:r>
          </a:p>
          <a:p>
            <a:pPr eaLnBrk="0" hangingPunct="0">
              <a:lnSpc>
                <a:spcPct val="80000"/>
              </a:lnSpc>
              <a:buClrTx/>
              <a:buFontTx/>
              <a:buNone/>
            </a:pPr>
            <a:r>
              <a:rPr lang="en-GB" altLang="en-US" sz="1000" b="0" i="0" dirty="0">
                <a:solidFill>
                  <a:schemeClr val="tx2"/>
                </a:solidFill>
              </a:rPr>
              <a:t>Review</a:t>
            </a:r>
            <a:endParaRPr lang="en-GB" altLang="en-US" sz="1000" i="0" dirty="0">
              <a:solidFill>
                <a:schemeClr val="tx2"/>
              </a:solidFill>
            </a:endParaRPr>
          </a:p>
        </p:txBody>
      </p:sp>
      <p:sp>
        <p:nvSpPr>
          <p:cNvPr id="7" name="Rectangle 34"/>
          <p:cNvSpPr>
            <a:spLocks noChangeArrowheads="1"/>
          </p:cNvSpPr>
          <p:nvPr userDrawn="1"/>
        </p:nvSpPr>
        <p:spPr bwMode="auto">
          <a:xfrm>
            <a:off x="2201185" y="4587534"/>
            <a:ext cx="43281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Design </a:t>
            </a:r>
          </a:p>
          <a:p>
            <a:pPr eaLnBrk="0" hangingPunct="0">
              <a:lnSpc>
                <a:spcPct val="80000"/>
              </a:lnSpc>
              <a:buClrTx/>
              <a:buFontTx/>
              <a:buNone/>
            </a:pPr>
            <a:r>
              <a:rPr lang="en-GB" altLang="en-US" sz="1000" b="0" i="0" dirty="0">
                <a:solidFill>
                  <a:schemeClr val="tx2"/>
                </a:solidFill>
              </a:rPr>
              <a:t>Review</a:t>
            </a:r>
            <a:endParaRPr lang="en-GB" altLang="en-US" sz="1000" i="0" dirty="0">
              <a:solidFill>
                <a:schemeClr val="tx2"/>
              </a:solidFill>
            </a:endParaRPr>
          </a:p>
        </p:txBody>
      </p:sp>
      <p:sp>
        <p:nvSpPr>
          <p:cNvPr id="8" name="Rectangle 35"/>
          <p:cNvSpPr>
            <a:spLocks noChangeArrowheads="1"/>
          </p:cNvSpPr>
          <p:nvPr userDrawn="1"/>
        </p:nvSpPr>
        <p:spPr bwMode="auto">
          <a:xfrm>
            <a:off x="3100003" y="5424621"/>
            <a:ext cx="419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Design</a:t>
            </a:r>
          </a:p>
          <a:p>
            <a:pPr eaLnBrk="0" hangingPunct="0">
              <a:lnSpc>
                <a:spcPct val="80000"/>
              </a:lnSpc>
              <a:buClrTx/>
              <a:buFontTx/>
              <a:buNone/>
            </a:pPr>
            <a:r>
              <a:rPr lang="en-GB" altLang="en-US" sz="1000" b="0" i="0" dirty="0">
                <a:solidFill>
                  <a:schemeClr val="tx2"/>
                </a:solidFill>
              </a:rPr>
              <a:t>Review</a:t>
            </a:r>
            <a:endParaRPr lang="en-GB" altLang="en-US" sz="1000" i="0" dirty="0">
              <a:solidFill>
                <a:schemeClr val="tx2"/>
              </a:solidFill>
            </a:endParaRPr>
          </a:p>
        </p:txBody>
      </p:sp>
      <p:sp>
        <p:nvSpPr>
          <p:cNvPr id="9" name="Rectangle 36"/>
          <p:cNvSpPr>
            <a:spLocks noChangeArrowheads="1"/>
          </p:cNvSpPr>
          <p:nvPr userDrawn="1"/>
        </p:nvSpPr>
        <p:spPr bwMode="auto">
          <a:xfrm>
            <a:off x="5571940" y="5428800"/>
            <a:ext cx="7598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smtClean="0">
                <a:solidFill>
                  <a:schemeClr val="tx2"/>
                </a:solidFill>
              </a:rPr>
              <a:t>Code</a:t>
            </a:r>
            <a:br>
              <a:rPr lang="en-GB" altLang="en-US" sz="1000" b="0" i="0" dirty="0" smtClean="0">
                <a:solidFill>
                  <a:schemeClr val="tx2"/>
                </a:solidFill>
              </a:rPr>
            </a:br>
            <a:r>
              <a:rPr lang="en-GB" altLang="en-US" sz="1000" b="0" i="0" dirty="0" smtClean="0">
                <a:solidFill>
                  <a:schemeClr val="tx2"/>
                </a:solidFill>
              </a:rPr>
              <a:t>Review</a:t>
            </a:r>
            <a:endParaRPr lang="en-GB" altLang="en-US" sz="1000" i="0" dirty="0">
              <a:solidFill>
                <a:schemeClr val="tx2"/>
              </a:solidFill>
            </a:endParaRPr>
          </a:p>
        </p:txBody>
      </p:sp>
      <p:sp>
        <p:nvSpPr>
          <p:cNvPr id="10" name="Rectangle 37"/>
          <p:cNvSpPr>
            <a:spLocks noChangeArrowheads="1"/>
          </p:cNvSpPr>
          <p:nvPr userDrawn="1"/>
        </p:nvSpPr>
        <p:spPr bwMode="auto">
          <a:xfrm>
            <a:off x="6489357" y="4587077"/>
            <a:ext cx="7037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Test </a:t>
            </a:r>
            <a:r>
              <a:rPr lang="en-GB" altLang="en-US" sz="1000" b="0" i="0" dirty="0" smtClean="0">
                <a:solidFill>
                  <a:schemeClr val="tx2"/>
                </a:solidFill>
              </a:rPr>
              <a:t/>
            </a:r>
            <a:br>
              <a:rPr lang="en-GB" altLang="en-US" sz="1000" b="0" i="0" dirty="0" smtClean="0">
                <a:solidFill>
                  <a:schemeClr val="tx2"/>
                </a:solidFill>
              </a:rPr>
            </a:br>
            <a:r>
              <a:rPr lang="en-GB" altLang="en-US" sz="1000" b="0" i="0" dirty="0" smtClean="0">
                <a:solidFill>
                  <a:schemeClr val="tx2"/>
                </a:solidFill>
              </a:rPr>
              <a:t>Review</a:t>
            </a:r>
            <a:endParaRPr lang="en-GB" altLang="en-US" sz="1000" i="0" dirty="0">
              <a:solidFill>
                <a:schemeClr val="tx2"/>
              </a:solidFill>
            </a:endParaRPr>
          </a:p>
        </p:txBody>
      </p:sp>
      <p:sp>
        <p:nvSpPr>
          <p:cNvPr id="11" name="Rectangle 38"/>
          <p:cNvSpPr>
            <a:spLocks noChangeArrowheads="1"/>
          </p:cNvSpPr>
          <p:nvPr userDrawn="1"/>
        </p:nvSpPr>
        <p:spPr bwMode="auto">
          <a:xfrm>
            <a:off x="7401489" y="3755855"/>
            <a:ext cx="7037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Test </a:t>
            </a:r>
            <a:r>
              <a:rPr lang="en-GB" altLang="en-US" sz="1000" b="0" i="0" dirty="0" smtClean="0">
                <a:solidFill>
                  <a:schemeClr val="tx2"/>
                </a:solidFill>
              </a:rPr>
              <a:t/>
            </a:r>
            <a:br>
              <a:rPr lang="en-GB" altLang="en-US" sz="1000" b="0" i="0" dirty="0" smtClean="0">
                <a:solidFill>
                  <a:schemeClr val="tx2"/>
                </a:solidFill>
              </a:rPr>
            </a:br>
            <a:r>
              <a:rPr lang="en-GB" altLang="en-US" sz="1000" b="0" i="0" dirty="0" smtClean="0">
                <a:solidFill>
                  <a:schemeClr val="tx2"/>
                </a:solidFill>
              </a:rPr>
              <a:t>Review</a:t>
            </a:r>
            <a:endParaRPr lang="en-GB" altLang="en-US" sz="1000" i="0" dirty="0">
              <a:solidFill>
                <a:schemeClr val="tx2"/>
              </a:solidFill>
            </a:endParaRPr>
          </a:p>
        </p:txBody>
      </p:sp>
      <p:sp>
        <p:nvSpPr>
          <p:cNvPr id="12" name="Rectangle 74"/>
          <p:cNvSpPr>
            <a:spLocks noChangeArrowheads="1"/>
          </p:cNvSpPr>
          <p:nvPr userDrawn="1"/>
        </p:nvSpPr>
        <p:spPr bwMode="auto">
          <a:xfrm>
            <a:off x="650478" y="3194933"/>
            <a:ext cx="6235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Scope </a:t>
            </a:r>
          </a:p>
          <a:p>
            <a:pPr eaLnBrk="0" hangingPunct="0">
              <a:lnSpc>
                <a:spcPct val="80000"/>
              </a:lnSpc>
              <a:buClrTx/>
              <a:buFontTx/>
              <a:buNone/>
            </a:pPr>
            <a:r>
              <a:rPr lang="en-GB" altLang="en-US" sz="1000" b="0" i="0" dirty="0" smtClean="0">
                <a:solidFill>
                  <a:schemeClr val="tx2"/>
                </a:solidFill>
              </a:rPr>
              <a:t>Agreement</a:t>
            </a:r>
            <a:endParaRPr lang="en-GB" altLang="en-US" sz="1000" b="0" i="0" dirty="0">
              <a:solidFill>
                <a:schemeClr val="tx2"/>
              </a:solidFill>
            </a:endParaRPr>
          </a:p>
        </p:txBody>
      </p:sp>
      <p:cxnSp>
        <p:nvCxnSpPr>
          <p:cNvPr id="13" name="Elbow Connector 12"/>
          <p:cNvCxnSpPr>
            <a:stCxn id="37" idx="2"/>
            <a:endCxn id="35" idx="1"/>
          </p:cNvCxnSpPr>
          <p:nvPr userDrawn="1"/>
        </p:nvCxnSpPr>
        <p:spPr>
          <a:xfrm rot="16200000" flipH="1">
            <a:off x="892398" y="2597430"/>
            <a:ext cx="524049"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35" idx="2"/>
            <a:endCxn id="33" idx="1"/>
          </p:cNvCxnSpPr>
          <p:nvPr userDrawn="1"/>
        </p:nvCxnSpPr>
        <p:spPr>
          <a:xfrm rot="16200000" flipH="1">
            <a:off x="1786017" y="3427479"/>
            <a:ext cx="524049"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33" idx="2"/>
            <a:endCxn id="34" idx="1"/>
          </p:cNvCxnSpPr>
          <p:nvPr userDrawn="1"/>
        </p:nvCxnSpPr>
        <p:spPr>
          <a:xfrm rot="16200000" flipH="1">
            <a:off x="2679636" y="4257528"/>
            <a:ext cx="524049"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34" idx="2"/>
            <a:endCxn id="29" idx="1"/>
          </p:cNvCxnSpPr>
          <p:nvPr userDrawn="1"/>
        </p:nvCxnSpPr>
        <p:spPr>
          <a:xfrm rot="16200000" flipH="1">
            <a:off x="3573255" y="5087577"/>
            <a:ext cx="524048"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29" idx="3"/>
            <a:endCxn id="30" idx="2"/>
          </p:cNvCxnSpPr>
          <p:nvPr userDrawn="1"/>
        </p:nvCxnSpPr>
        <p:spPr>
          <a:xfrm flipV="1">
            <a:off x="5038089" y="5016886"/>
            <a:ext cx="401524" cy="527525"/>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30" idx="3"/>
            <a:endCxn id="31" idx="2"/>
          </p:cNvCxnSpPr>
          <p:nvPr userDrawn="1"/>
        </p:nvCxnSpPr>
        <p:spPr>
          <a:xfrm flipV="1">
            <a:off x="5943613" y="4183362"/>
            <a:ext cx="401524" cy="527524"/>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31" idx="3"/>
            <a:endCxn id="32" idx="2"/>
          </p:cNvCxnSpPr>
          <p:nvPr userDrawn="1"/>
        </p:nvCxnSpPr>
        <p:spPr>
          <a:xfrm flipV="1">
            <a:off x="6849137" y="3349838"/>
            <a:ext cx="401524" cy="527524"/>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32" idx="3"/>
            <a:endCxn id="36" idx="2"/>
          </p:cNvCxnSpPr>
          <p:nvPr userDrawn="1"/>
        </p:nvCxnSpPr>
        <p:spPr>
          <a:xfrm flipV="1">
            <a:off x="7754661" y="2516314"/>
            <a:ext cx="401524" cy="527524"/>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1" name="Freeform 85"/>
          <p:cNvSpPr>
            <a:spLocks/>
          </p:cNvSpPr>
          <p:nvPr userDrawn="1"/>
        </p:nvSpPr>
        <p:spPr bwMode="auto">
          <a:xfrm>
            <a:off x="8068051" y="2951276"/>
            <a:ext cx="180000" cy="180000"/>
          </a:xfrm>
          <a:custGeom>
            <a:avLst/>
            <a:gdLst>
              <a:gd name="T0" fmla="*/ 0 w 215"/>
              <a:gd name="T1" fmla="*/ 64 h 129"/>
              <a:gd name="T2" fmla="*/ 107 w 215"/>
              <a:gd name="T3" fmla="*/ 0 h 129"/>
              <a:gd name="T4" fmla="*/ 215 w 215"/>
              <a:gd name="T5" fmla="*/ 64 h 129"/>
              <a:gd name="T6" fmla="*/ 107 w 215"/>
              <a:gd name="T7" fmla="*/ 129 h 129"/>
              <a:gd name="T8" fmla="*/ 0 w 215"/>
              <a:gd name="T9" fmla="*/ 64 h 129"/>
            </a:gdLst>
            <a:ahLst/>
            <a:cxnLst>
              <a:cxn ang="0">
                <a:pos x="T0" y="T1"/>
              </a:cxn>
              <a:cxn ang="0">
                <a:pos x="T2" y="T3"/>
              </a:cxn>
              <a:cxn ang="0">
                <a:pos x="T4" y="T5"/>
              </a:cxn>
              <a:cxn ang="0">
                <a:pos x="T6" y="T7"/>
              </a:cxn>
              <a:cxn ang="0">
                <a:pos x="T8" y="T9"/>
              </a:cxn>
            </a:cxnLst>
            <a:rect l="0" t="0" r="r" b="b"/>
            <a:pathLst>
              <a:path w="215" h="129">
                <a:moveTo>
                  <a:pt x="0" y="64"/>
                </a:moveTo>
                <a:lnTo>
                  <a:pt x="107" y="0"/>
                </a:lnTo>
                <a:lnTo>
                  <a:pt x="215" y="64"/>
                </a:lnTo>
                <a:lnTo>
                  <a:pt x="107" y="129"/>
                </a:lnTo>
                <a:lnTo>
                  <a:pt x="0" y="64"/>
                </a:lnTo>
                <a:close/>
              </a:path>
            </a:pathLst>
          </a:custGeom>
          <a:solidFill>
            <a:schemeClr val="accent5"/>
          </a:solidFill>
          <a:ln w="19050">
            <a:solidFill>
              <a:schemeClr val="bg1"/>
            </a:solidFill>
          </a:ln>
          <a:extLst/>
        </p:spPr>
        <p:txBody>
          <a:bodyPr/>
          <a:lstStyle/>
          <a:p>
            <a:endParaRPr lang="en-GB" sz="1200" dirty="0"/>
          </a:p>
        </p:txBody>
      </p:sp>
      <p:sp>
        <p:nvSpPr>
          <p:cNvPr id="22" name="Freeform 32"/>
          <p:cNvSpPr>
            <a:spLocks/>
          </p:cNvSpPr>
          <p:nvPr userDrawn="1"/>
        </p:nvSpPr>
        <p:spPr bwMode="auto">
          <a:xfrm>
            <a:off x="7162527" y="3784400"/>
            <a:ext cx="180000" cy="180000"/>
          </a:xfrm>
          <a:custGeom>
            <a:avLst/>
            <a:gdLst>
              <a:gd name="T0" fmla="*/ 0 w 215"/>
              <a:gd name="T1" fmla="*/ 65 h 129"/>
              <a:gd name="T2" fmla="*/ 107 w 215"/>
              <a:gd name="T3" fmla="*/ 0 h 129"/>
              <a:gd name="T4" fmla="*/ 215 w 215"/>
              <a:gd name="T5" fmla="*/ 65 h 129"/>
              <a:gd name="T6" fmla="*/ 107 w 215"/>
              <a:gd name="T7" fmla="*/ 129 h 129"/>
              <a:gd name="T8" fmla="*/ 0 w 215"/>
              <a:gd name="T9" fmla="*/ 65 h 129"/>
            </a:gdLst>
            <a:ahLst/>
            <a:cxnLst>
              <a:cxn ang="0">
                <a:pos x="T0" y="T1"/>
              </a:cxn>
              <a:cxn ang="0">
                <a:pos x="T2" y="T3"/>
              </a:cxn>
              <a:cxn ang="0">
                <a:pos x="T4" y="T5"/>
              </a:cxn>
              <a:cxn ang="0">
                <a:pos x="T6" y="T7"/>
              </a:cxn>
              <a:cxn ang="0">
                <a:pos x="T8" y="T9"/>
              </a:cxn>
            </a:cxnLst>
            <a:rect l="0" t="0" r="r" b="b"/>
            <a:pathLst>
              <a:path w="215" h="129">
                <a:moveTo>
                  <a:pt x="0" y="65"/>
                </a:moveTo>
                <a:lnTo>
                  <a:pt x="107" y="0"/>
                </a:lnTo>
                <a:lnTo>
                  <a:pt x="215" y="65"/>
                </a:lnTo>
                <a:lnTo>
                  <a:pt x="107" y="129"/>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3" name="Freeform 28"/>
          <p:cNvSpPr>
            <a:spLocks/>
          </p:cNvSpPr>
          <p:nvPr userDrawn="1"/>
        </p:nvSpPr>
        <p:spPr bwMode="auto">
          <a:xfrm>
            <a:off x="5350050" y="5447481"/>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4" name="Freeform 30"/>
          <p:cNvSpPr>
            <a:spLocks/>
          </p:cNvSpPr>
          <p:nvPr userDrawn="1"/>
        </p:nvSpPr>
        <p:spPr bwMode="auto">
          <a:xfrm>
            <a:off x="6257003" y="4616579"/>
            <a:ext cx="180000" cy="180000"/>
          </a:xfrm>
          <a:custGeom>
            <a:avLst/>
            <a:gdLst>
              <a:gd name="T0" fmla="*/ 0 w 215"/>
              <a:gd name="T1" fmla="*/ 64 h 129"/>
              <a:gd name="T2" fmla="*/ 108 w 215"/>
              <a:gd name="T3" fmla="*/ 0 h 129"/>
              <a:gd name="T4" fmla="*/ 215 w 215"/>
              <a:gd name="T5" fmla="*/ 64 h 129"/>
              <a:gd name="T6" fmla="*/ 108 w 215"/>
              <a:gd name="T7" fmla="*/ 129 h 129"/>
              <a:gd name="T8" fmla="*/ 0 w 215"/>
              <a:gd name="T9" fmla="*/ 64 h 129"/>
            </a:gdLst>
            <a:ahLst/>
            <a:cxnLst>
              <a:cxn ang="0">
                <a:pos x="T0" y="T1"/>
              </a:cxn>
              <a:cxn ang="0">
                <a:pos x="T2" y="T3"/>
              </a:cxn>
              <a:cxn ang="0">
                <a:pos x="T4" y="T5"/>
              </a:cxn>
              <a:cxn ang="0">
                <a:pos x="T6" y="T7"/>
              </a:cxn>
              <a:cxn ang="0">
                <a:pos x="T8" y="T9"/>
              </a:cxn>
            </a:cxnLst>
            <a:rect l="0" t="0" r="r" b="b"/>
            <a:pathLst>
              <a:path w="215" h="129">
                <a:moveTo>
                  <a:pt x="0" y="64"/>
                </a:moveTo>
                <a:lnTo>
                  <a:pt x="108" y="0"/>
                </a:lnTo>
                <a:lnTo>
                  <a:pt x="215" y="64"/>
                </a:lnTo>
                <a:lnTo>
                  <a:pt x="108" y="129"/>
                </a:lnTo>
                <a:lnTo>
                  <a:pt x="0" y="64"/>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5" name="Freeform 28"/>
          <p:cNvSpPr>
            <a:spLocks/>
          </p:cNvSpPr>
          <p:nvPr userDrawn="1"/>
        </p:nvSpPr>
        <p:spPr bwMode="auto">
          <a:xfrm>
            <a:off x="3550470" y="5447481"/>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6" name="Freeform 28"/>
          <p:cNvSpPr>
            <a:spLocks/>
          </p:cNvSpPr>
          <p:nvPr userDrawn="1"/>
        </p:nvSpPr>
        <p:spPr bwMode="auto">
          <a:xfrm>
            <a:off x="2656851" y="4623959"/>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7" name="Freeform 28"/>
          <p:cNvSpPr>
            <a:spLocks/>
          </p:cNvSpPr>
          <p:nvPr userDrawn="1"/>
        </p:nvSpPr>
        <p:spPr bwMode="auto">
          <a:xfrm>
            <a:off x="1756833" y="3794193"/>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8" name="Freeform 28"/>
          <p:cNvSpPr>
            <a:spLocks/>
          </p:cNvSpPr>
          <p:nvPr userDrawn="1"/>
        </p:nvSpPr>
        <p:spPr bwMode="auto">
          <a:xfrm>
            <a:off x="872263" y="2956342"/>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9" name="Rectangle 5"/>
          <p:cNvSpPr>
            <a:spLocks noChangeArrowheads="1"/>
          </p:cNvSpPr>
          <p:nvPr userDrawn="1"/>
        </p:nvSpPr>
        <p:spPr bwMode="auto">
          <a:xfrm>
            <a:off x="4030089" y="5238411"/>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smtClean="0">
                <a:solidFill>
                  <a:schemeClr val="accent5"/>
                </a:solidFill>
              </a:rPr>
              <a:t>CODE</a:t>
            </a:r>
            <a:br>
              <a:rPr lang="en-GB" altLang="en-US" sz="1100" b="0" i="0" spc="-20" smtClean="0">
                <a:solidFill>
                  <a:schemeClr val="accent5"/>
                </a:solidFill>
              </a:rPr>
            </a:br>
            <a:r>
              <a:rPr lang="en-GB" altLang="en-US" sz="1100" b="0" i="0" spc="-20" smtClean="0">
                <a:solidFill>
                  <a:schemeClr val="accent5"/>
                </a:solidFill>
              </a:rPr>
              <a:t>UNIT TEST</a:t>
            </a:r>
            <a:endParaRPr lang="en-GB" altLang="en-US" sz="1100" i="0" spc="-20" dirty="0">
              <a:solidFill>
                <a:schemeClr val="accent5"/>
              </a:solidFill>
            </a:endParaRPr>
          </a:p>
        </p:txBody>
      </p:sp>
      <p:sp>
        <p:nvSpPr>
          <p:cNvPr id="30" name="Rectangle 12"/>
          <p:cNvSpPr>
            <a:spLocks noChangeArrowheads="1"/>
          </p:cNvSpPr>
          <p:nvPr userDrawn="1"/>
        </p:nvSpPr>
        <p:spPr bwMode="auto">
          <a:xfrm>
            <a:off x="4935613" y="4404886"/>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smtClean="0">
                <a:solidFill>
                  <a:schemeClr val="accent5"/>
                </a:solidFill>
              </a:rPr>
              <a:t>LINK</a:t>
            </a:r>
            <a:br>
              <a:rPr lang="en-GB" altLang="en-US" sz="1100" b="0" i="0" spc="-20" dirty="0" smtClean="0">
                <a:solidFill>
                  <a:schemeClr val="accent5"/>
                </a:solidFill>
              </a:rPr>
            </a:br>
            <a:r>
              <a:rPr lang="en-GB" altLang="en-US" sz="1100" b="0" i="0" spc="-20" dirty="0" smtClean="0">
                <a:solidFill>
                  <a:schemeClr val="accent5"/>
                </a:solidFill>
              </a:rPr>
              <a:t>TEST</a:t>
            </a:r>
            <a:endParaRPr lang="en-GB" altLang="en-US" sz="1100" i="0" spc="-20" dirty="0">
              <a:solidFill>
                <a:schemeClr val="accent5"/>
              </a:solidFill>
            </a:endParaRPr>
          </a:p>
        </p:txBody>
      </p:sp>
      <p:sp>
        <p:nvSpPr>
          <p:cNvPr id="31" name="Rectangle 16"/>
          <p:cNvSpPr>
            <a:spLocks noChangeArrowheads="1"/>
          </p:cNvSpPr>
          <p:nvPr userDrawn="1"/>
        </p:nvSpPr>
        <p:spPr bwMode="auto">
          <a:xfrm>
            <a:off x="5841137" y="3571362"/>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smtClean="0">
                <a:solidFill>
                  <a:schemeClr val="accent5"/>
                </a:solidFill>
              </a:rPr>
              <a:t>ASSEMBLY</a:t>
            </a:r>
            <a:br>
              <a:rPr lang="en-GB" altLang="en-US" sz="1100" b="0" i="0" spc="-20" dirty="0" smtClean="0">
                <a:solidFill>
                  <a:schemeClr val="accent5"/>
                </a:solidFill>
              </a:rPr>
            </a:br>
            <a:r>
              <a:rPr lang="en-GB" altLang="en-US" sz="1100" b="0" i="0" spc="-20" dirty="0" smtClean="0">
                <a:solidFill>
                  <a:schemeClr val="accent5"/>
                </a:solidFill>
              </a:rPr>
              <a:t>TEST</a:t>
            </a:r>
            <a:endParaRPr lang="en-GB" altLang="en-US" sz="1100" i="0" spc="-20" dirty="0">
              <a:solidFill>
                <a:schemeClr val="accent5"/>
              </a:solidFill>
            </a:endParaRPr>
          </a:p>
        </p:txBody>
      </p:sp>
      <p:sp>
        <p:nvSpPr>
          <p:cNvPr id="32" name="Rectangle 20"/>
          <p:cNvSpPr>
            <a:spLocks noChangeArrowheads="1"/>
          </p:cNvSpPr>
          <p:nvPr userDrawn="1"/>
        </p:nvSpPr>
        <p:spPr bwMode="auto">
          <a:xfrm>
            <a:off x="6746661" y="2737838"/>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smtClean="0">
                <a:solidFill>
                  <a:schemeClr val="accent5"/>
                </a:solidFill>
              </a:rPr>
              <a:t>BUSINESS</a:t>
            </a:r>
            <a:br>
              <a:rPr lang="en-GB" altLang="en-US" sz="1100" b="0" i="0" spc="-20" dirty="0" smtClean="0">
                <a:solidFill>
                  <a:schemeClr val="accent5"/>
                </a:solidFill>
              </a:rPr>
            </a:br>
            <a:r>
              <a:rPr lang="en-GB" altLang="en-US" sz="1100" b="0" i="0" spc="-20" dirty="0" smtClean="0">
                <a:solidFill>
                  <a:schemeClr val="accent5"/>
                </a:solidFill>
              </a:rPr>
              <a:t>PROCESS </a:t>
            </a:r>
          </a:p>
          <a:p>
            <a:pPr algn="ctr" eaLnBrk="0" hangingPunct="0">
              <a:lnSpc>
                <a:spcPct val="80000"/>
              </a:lnSpc>
              <a:buClrTx/>
              <a:buFontTx/>
              <a:buNone/>
            </a:pPr>
            <a:r>
              <a:rPr lang="en-GB" altLang="en-US" sz="1100" b="0" i="0" spc="-20" dirty="0" smtClean="0">
                <a:solidFill>
                  <a:schemeClr val="accent5"/>
                </a:solidFill>
              </a:rPr>
              <a:t>TEST</a:t>
            </a:r>
            <a:endParaRPr lang="en-GB" altLang="en-US" sz="1100" i="0" spc="-20" dirty="0">
              <a:solidFill>
                <a:schemeClr val="accent5"/>
              </a:solidFill>
            </a:endParaRPr>
          </a:p>
        </p:txBody>
      </p:sp>
      <p:sp>
        <p:nvSpPr>
          <p:cNvPr id="33" name="Rectangle 44"/>
          <p:cNvSpPr>
            <a:spLocks noChangeArrowheads="1"/>
          </p:cNvSpPr>
          <p:nvPr userDrawn="1"/>
        </p:nvSpPr>
        <p:spPr bwMode="auto">
          <a:xfrm>
            <a:off x="2242851" y="3578314"/>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smtClean="0">
                <a:solidFill>
                  <a:schemeClr val="accent5"/>
                </a:solidFill>
              </a:rPr>
              <a:t>FUNC.</a:t>
            </a:r>
            <a:br>
              <a:rPr lang="en-GB" altLang="en-US" sz="1100" b="0" i="0" spc="-20" smtClean="0">
                <a:solidFill>
                  <a:schemeClr val="accent5"/>
                </a:solidFill>
              </a:rPr>
            </a:br>
            <a:r>
              <a:rPr lang="en-GB" altLang="en-US" sz="1100" b="0" i="0" spc="-20" smtClean="0">
                <a:solidFill>
                  <a:schemeClr val="accent5"/>
                </a:solidFill>
              </a:rPr>
              <a:t>DESIGN</a:t>
            </a:r>
            <a:endParaRPr lang="en-GB" altLang="en-US" sz="1100" i="0" spc="-20" dirty="0">
              <a:solidFill>
                <a:schemeClr val="accent5"/>
              </a:solidFill>
            </a:endParaRPr>
          </a:p>
        </p:txBody>
      </p:sp>
      <p:sp>
        <p:nvSpPr>
          <p:cNvPr id="34" name="Rectangle 48"/>
          <p:cNvSpPr>
            <a:spLocks noChangeArrowheads="1"/>
          </p:cNvSpPr>
          <p:nvPr userDrawn="1"/>
        </p:nvSpPr>
        <p:spPr bwMode="auto">
          <a:xfrm>
            <a:off x="3136470" y="4408363"/>
            <a:ext cx="1008000" cy="612000"/>
          </a:xfrm>
          <a:prstGeom prst="roundRect">
            <a:avLst/>
          </a:prstGeom>
          <a:solidFill>
            <a:schemeClr val="bg1"/>
          </a:solidFill>
          <a:ln w="19050">
            <a:solidFill>
              <a:schemeClr val="accent2"/>
            </a:solidFill>
            <a:miter lim="800000"/>
            <a:headEnd/>
            <a:tailEnd/>
          </a:ln>
          <a:extLst/>
        </p:spPr>
        <p:txBody>
          <a:bodyPr lIns="0" tIns="72000" rIns="0" bIns="0" anchor="ctr">
            <a:noAutofit/>
          </a:bodyPr>
          <a:lstStyle/>
          <a:p>
            <a:pPr algn="ctr" eaLnBrk="0" hangingPunct="0">
              <a:lnSpc>
                <a:spcPct val="80000"/>
              </a:lnSpc>
              <a:buClrTx/>
              <a:buFontTx/>
              <a:buNone/>
            </a:pPr>
            <a:r>
              <a:rPr lang="en-GB" altLang="en-US" sz="1100" b="0" i="0" spc="-20" dirty="0" smtClean="0">
                <a:solidFill>
                  <a:schemeClr val="accent5"/>
                </a:solidFill>
              </a:rPr>
              <a:t>TECH</a:t>
            </a:r>
            <a:br>
              <a:rPr lang="en-GB" altLang="en-US" sz="1100" b="0" i="0" spc="-20" dirty="0" smtClean="0">
                <a:solidFill>
                  <a:schemeClr val="accent5"/>
                </a:solidFill>
              </a:rPr>
            </a:br>
            <a:r>
              <a:rPr lang="en-GB" altLang="en-US" sz="1100" b="0" i="0" spc="-20" dirty="0" smtClean="0">
                <a:solidFill>
                  <a:schemeClr val="accent5"/>
                </a:solidFill>
              </a:rPr>
              <a:t>DESIGN</a:t>
            </a:r>
            <a:endParaRPr lang="en-GB" altLang="en-US" sz="1100" i="0" spc="-20" dirty="0">
              <a:solidFill>
                <a:schemeClr val="accent5"/>
              </a:solidFill>
            </a:endParaRPr>
          </a:p>
        </p:txBody>
      </p:sp>
      <p:sp>
        <p:nvSpPr>
          <p:cNvPr id="35" name="Rectangle 80"/>
          <p:cNvSpPr>
            <a:spLocks noChangeArrowheads="1"/>
          </p:cNvSpPr>
          <p:nvPr userDrawn="1"/>
        </p:nvSpPr>
        <p:spPr bwMode="auto">
          <a:xfrm>
            <a:off x="1349232" y="2748265"/>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smtClean="0">
                <a:solidFill>
                  <a:schemeClr val="accent5"/>
                </a:solidFill>
              </a:rPr>
              <a:t>HLD</a:t>
            </a:r>
            <a:endParaRPr lang="en-GB" altLang="en-US" sz="1100" i="0" spc="-20" dirty="0">
              <a:solidFill>
                <a:schemeClr val="accent5"/>
              </a:solidFill>
            </a:endParaRPr>
          </a:p>
        </p:txBody>
      </p:sp>
      <p:sp>
        <p:nvSpPr>
          <p:cNvPr id="36" name="Rectangle 84"/>
          <p:cNvSpPr>
            <a:spLocks noChangeArrowheads="1"/>
          </p:cNvSpPr>
          <p:nvPr userDrawn="1"/>
        </p:nvSpPr>
        <p:spPr bwMode="auto">
          <a:xfrm>
            <a:off x="7652185" y="1904314"/>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40" dirty="0" smtClean="0">
                <a:solidFill>
                  <a:schemeClr val="accent5"/>
                </a:solidFill>
              </a:rPr>
              <a:t>USER</a:t>
            </a:r>
            <a:br>
              <a:rPr lang="en-GB" altLang="en-US" sz="1100" b="0" i="0" spc="-40" dirty="0" smtClean="0">
                <a:solidFill>
                  <a:schemeClr val="accent5"/>
                </a:solidFill>
              </a:rPr>
            </a:br>
            <a:r>
              <a:rPr lang="en-GB" altLang="en-US" sz="1100" b="0" i="0" spc="-40" dirty="0" smtClean="0">
                <a:solidFill>
                  <a:schemeClr val="accent5"/>
                </a:solidFill>
              </a:rPr>
              <a:t>ACCEPTANCE</a:t>
            </a:r>
            <a:br>
              <a:rPr lang="en-GB" altLang="en-US" sz="1100" b="0" i="0" spc="-40" dirty="0" smtClean="0">
                <a:solidFill>
                  <a:schemeClr val="accent5"/>
                </a:solidFill>
              </a:rPr>
            </a:br>
            <a:r>
              <a:rPr lang="en-GB" altLang="en-US" sz="1100" b="0" i="0" spc="-40" dirty="0" smtClean="0">
                <a:solidFill>
                  <a:schemeClr val="accent5"/>
                </a:solidFill>
              </a:rPr>
              <a:t>TEST</a:t>
            </a:r>
            <a:endParaRPr lang="en-GB" altLang="en-US" sz="1100" i="0" spc="-40" dirty="0">
              <a:solidFill>
                <a:schemeClr val="accent5"/>
              </a:solidFill>
            </a:endParaRPr>
          </a:p>
        </p:txBody>
      </p:sp>
      <p:sp>
        <p:nvSpPr>
          <p:cNvPr id="37" name="Rectangle 71"/>
          <p:cNvSpPr>
            <a:spLocks noChangeArrowheads="1"/>
          </p:cNvSpPr>
          <p:nvPr userDrawn="1"/>
        </p:nvSpPr>
        <p:spPr bwMode="auto">
          <a:xfrm>
            <a:off x="455613" y="1918216"/>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smtClean="0">
                <a:solidFill>
                  <a:schemeClr val="accent5"/>
                </a:solidFill>
              </a:rPr>
              <a:t>SCOPE</a:t>
            </a:r>
            <a:endParaRPr lang="en-GB" altLang="en-US" sz="1100" i="0" spc="-20" dirty="0">
              <a:solidFill>
                <a:schemeClr val="accent5"/>
              </a:solidFill>
            </a:endParaRPr>
          </a:p>
        </p:txBody>
      </p:sp>
    </p:spTree>
    <p:extLst>
      <p:ext uri="{BB962C8B-B14F-4D97-AF65-F5344CB8AC3E}">
        <p14:creationId xmlns:p14="http://schemas.microsoft.com/office/powerpoint/2010/main" val="8314061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FE1AAC3-A965-44A3-AD06-EA035165D72C}" type="slidenum">
              <a:rPr lang="en-GB" smtClean="0"/>
              <a:t>‹#›</a:t>
            </a:fld>
            <a:endParaRPr lang="en-GB"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6" name="Text Placeholder 16"/>
          <p:cNvSpPr>
            <a:spLocks noGrp="1"/>
          </p:cNvSpPr>
          <p:nvPr>
            <p:ph type="body" sz="quarter" idx="10"/>
          </p:nvPr>
        </p:nvSpPr>
        <p:spPr>
          <a:xfrm>
            <a:off x="496800" y="1166781"/>
            <a:ext cx="8151900" cy="396000"/>
          </a:xfrm>
          <a:prstGeom prst="rect">
            <a:avLst/>
          </a:prstGeom>
        </p:spPr>
        <p:txBody>
          <a:bodyPr lIns="0"/>
          <a:lstStyle>
            <a:lvl1pPr marL="0" indent="0">
              <a:buNone/>
              <a:defRPr sz="2000">
                <a:solidFill>
                  <a:schemeClr val="accent2"/>
                </a:solidFill>
              </a:defRPr>
            </a:lvl1pPr>
            <a:lvl2pPr>
              <a:defRPr sz="2600"/>
            </a:lvl2pPr>
            <a:lvl3pPr>
              <a:defRPr sz="2400"/>
            </a:lvl3pPr>
            <a:lvl4pPr>
              <a:defRPr sz="2200"/>
            </a:lvl4pPr>
            <a:lvl5pPr>
              <a:defRPr sz="2000"/>
            </a:lvl5pPr>
          </a:lstStyle>
          <a:p>
            <a:pPr lvl="0"/>
            <a:r>
              <a:rPr lang="en-US" smtClean="0"/>
              <a:t>Click to edit Master text styles</a:t>
            </a:r>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4827350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55613" y="1180800"/>
            <a:ext cx="8232775"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8" name="Content Placeholder 7"/>
          <p:cNvSpPr>
            <a:spLocks noGrp="1"/>
          </p:cNvSpPr>
          <p:nvPr>
            <p:ph sz="quarter" idx="11"/>
          </p:nvPr>
        </p:nvSpPr>
        <p:spPr>
          <a:xfrm>
            <a:off x="455613" y="1576800"/>
            <a:ext cx="8232775" cy="475732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5" name="Footer Placeholder 4"/>
          <p:cNvSpPr>
            <a:spLocks noGrp="1"/>
          </p:cNvSpPr>
          <p:nvPr>
            <p:ph type="ftr" sz="quarter" idx="12"/>
          </p:nvPr>
        </p:nvSpPr>
        <p:spPr/>
        <p:txBody>
          <a:bodyPr/>
          <a:lstStyle/>
          <a:p>
            <a:r>
              <a:rPr lang="en-AU" dirty="0" smtClean="0"/>
              <a:t>Copyright © 2015 Accenture  All rights reserved.</a:t>
            </a:r>
            <a:endParaRPr lang="en-AU" dirty="0"/>
          </a:p>
        </p:txBody>
      </p:sp>
      <p:sp>
        <p:nvSpPr>
          <p:cNvPr id="6" name="Slide Number Placeholder 5"/>
          <p:cNvSpPr>
            <a:spLocks noGrp="1"/>
          </p:cNvSpPr>
          <p:nvPr>
            <p:ph type="sldNum" sz="quarter" idx="13"/>
          </p:nvPr>
        </p:nvSpPr>
        <p:spPr>
          <a:xfrm>
            <a:off x="4226140" y="6575425"/>
            <a:ext cx="691721" cy="128588"/>
          </a:xfrm>
        </p:spPr>
        <p:txBody>
          <a:bodyPr/>
          <a:lstStyle/>
          <a:p>
            <a:pPr>
              <a:defRPr/>
            </a:pPr>
            <a:r>
              <a:rPr lang="en-US" dirty="0" smtClean="0"/>
              <a:t>Page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8826889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dirty="0" smtClean="0"/>
              <a:t>Click to edit Master title style</a:t>
            </a:r>
            <a:endParaRPr lang="en-AU" dirty="0"/>
          </a:p>
        </p:txBody>
      </p:sp>
      <p:sp>
        <p:nvSpPr>
          <p:cNvPr id="10" name="Text Placeholder 16"/>
          <p:cNvSpPr>
            <a:spLocks noGrp="1"/>
          </p:cNvSpPr>
          <p:nvPr>
            <p:ph type="body" sz="quarter" idx="10"/>
          </p:nvPr>
        </p:nvSpPr>
        <p:spPr>
          <a:xfrm>
            <a:off x="455614" y="1182021"/>
            <a:ext cx="4010114"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55525" y="1578022"/>
            <a:ext cx="4010114" cy="475610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16"/>
          <p:cNvSpPr>
            <a:spLocks noGrp="1"/>
          </p:cNvSpPr>
          <p:nvPr>
            <p:ph type="body" sz="quarter" idx="16"/>
          </p:nvPr>
        </p:nvSpPr>
        <p:spPr>
          <a:xfrm>
            <a:off x="4679950" y="1182021"/>
            <a:ext cx="4008438"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3" name="Content Placeholder 7"/>
          <p:cNvSpPr>
            <a:spLocks noGrp="1"/>
          </p:cNvSpPr>
          <p:nvPr>
            <p:ph sz="quarter" idx="17"/>
          </p:nvPr>
        </p:nvSpPr>
        <p:spPr>
          <a:xfrm>
            <a:off x="4679950" y="1578022"/>
            <a:ext cx="4008438" cy="475610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Footer Placeholder 1"/>
          <p:cNvSpPr>
            <a:spLocks noGrp="1"/>
          </p:cNvSpPr>
          <p:nvPr>
            <p:ph type="ftr" sz="quarter" idx="18"/>
          </p:nvPr>
        </p:nvSpPr>
        <p:spPr/>
        <p:txBody>
          <a:bodyPr/>
          <a:lstStyle/>
          <a:p>
            <a:r>
              <a:rPr lang="en-AU" smtClean="0"/>
              <a:t>Copyright © 2015 Accenture  All rights reserved.</a:t>
            </a:r>
            <a:endParaRPr lang="en-AU" dirty="0"/>
          </a:p>
        </p:txBody>
      </p:sp>
    </p:spTree>
    <p:extLst>
      <p:ext uri="{BB962C8B-B14F-4D97-AF65-F5344CB8AC3E}">
        <p14:creationId xmlns:p14="http://schemas.microsoft.com/office/powerpoint/2010/main" val="3482168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a:p>
        </p:txBody>
      </p:sp>
      <p:sp>
        <p:nvSpPr>
          <p:cNvPr id="9" name="Text Placeholder 16"/>
          <p:cNvSpPr>
            <a:spLocks noGrp="1"/>
          </p:cNvSpPr>
          <p:nvPr>
            <p:ph type="body" sz="quarter" idx="10"/>
          </p:nvPr>
        </p:nvSpPr>
        <p:spPr>
          <a:xfrm>
            <a:off x="455613" y="1182021"/>
            <a:ext cx="8232775"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55613" y="1578022"/>
            <a:ext cx="4010025" cy="475610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Content Placeholder 7"/>
          <p:cNvSpPr>
            <a:spLocks noGrp="1"/>
          </p:cNvSpPr>
          <p:nvPr>
            <p:ph sz="quarter" idx="17"/>
          </p:nvPr>
        </p:nvSpPr>
        <p:spPr>
          <a:xfrm>
            <a:off x="4679950" y="1578022"/>
            <a:ext cx="4008438" cy="475610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Footer Placeholder 1"/>
          <p:cNvSpPr>
            <a:spLocks noGrp="1"/>
          </p:cNvSpPr>
          <p:nvPr>
            <p:ph type="ftr" sz="quarter" idx="18"/>
          </p:nvPr>
        </p:nvSpPr>
        <p:spPr/>
        <p:txBody>
          <a:bodyPr/>
          <a:lstStyle/>
          <a:p>
            <a:r>
              <a:rPr lang="en-AU" smtClean="0"/>
              <a:t>Copyright © 2015 Accenture  All rights reserved.</a:t>
            </a:r>
            <a:endParaRPr lang="en-AU" dirty="0"/>
          </a:p>
        </p:txBody>
      </p:sp>
    </p:spTree>
    <p:extLst>
      <p:ext uri="{BB962C8B-B14F-4D97-AF65-F5344CB8AC3E}">
        <p14:creationId xmlns:p14="http://schemas.microsoft.com/office/powerpoint/2010/main" val="35577985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p>
            <a:r>
              <a:rPr lang="en-US" smtClean="0"/>
              <a:t>Click to edit Master title style</a:t>
            </a:r>
            <a:endParaRPr lang="en-AU"/>
          </a:p>
        </p:txBody>
      </p:sp>
      <p:sp>
        <p:nvSpPr>
          <p:cNvPr id="10" name="Content Placeholder 9"/>
          <p:cNvSpPr>
            <a:spLocks noGrp="1"/>
          </p:cNvSpPr>
          <p:nvPr>
            <p:ph sz="quarter" idx="14"/>
          </p:nvPr>
        </p:nvSpPr>
        <p:spPr>
          <a:xfrm>
            <a:off x="455613" y="1195200"/>
            <a:ext cx="8232775" cy="513892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3" name="Footer Placeholder 2"/>
          <p:cNvSpPr>
            <a:spLocks noGrp="1"/>
          </p:cNvSpPr>
          <p:nvPr>
            <p:ph type="ftr" sz="quarter" idx="15"/>
          </p:nvPr>
        </p:nvSpPr>
        <p:spPr/>
        <p:txBody>
          <a:bodyPr/>
          <a:lstStyle/>
          <a:p>
            <a:r>
              <a:rPr lang="en-AU" smtClean="0"/>
              <a:t>Copyright © 2015 Accenture  All rights reserved.</a:t>
            </a:r>
            <a:endParaRPr lang="en-AU" dirty="0"/>
          </a:p>
        </p:txBody>
      </p:sp>
    </p:spTree>
    <p:extLst>
      <p:ext uri="{BB962C8B-B14F-4D97-AF65-F5344CB8AC3E}">
        <p14:creationId xmlns:p14="http://schemas.microsoft.com/office/powerpoint/2010/main" val="1888037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a:p>
        </p:txBody>
      </p:sp>
      <p:sp>
        <p:nvSpPr>
          <p:cNvPr id="4" name="Content Placeholder 3"/>
          <p:cNvSpPr>
            <a:spLocks noGrp="1"/>
          </p:cNvSpPr>
          <p:nvPr>
            <p:ph sz="quarter" idx="16"/>
          </p:nvPr>
        </p:nvSpPr>
        <p:spPr>
          <a:xfrm>
            <a:off x="455613" y="1195200"/>
            <a:ext cx="4010025" cy="513892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3" name="Content Placeholder 3"/>
          <p:cNvSpPr>
            <a:spLocks noGrp="1"/>
          </p:cNvSpPr>
          <p:nvPr>
            <p:ph sz="quarter" idx="17"/>
          </p:nvPr>
        </p:nvSpPr>
        <p:spPr>
          <a:xfrm>
            <a:off x="4679950" y="1195200"/>
            <a:ext cx="4008437" cy="513892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Footer Placeholder 1"/>
          <p:cNvSpPr>
            <a:spLocks noGrp="1"/>
          </p:cNvSpPr>
          <p:nvPr>
            <p:ph type="ftr" sz="quarter" idx="18"/>
          </p:nvPr>
        </p:nvSpPr>
        <p:spPr/>
        <p:txBody>
          <a:bodyPr/>
          <a:lstStyle/>
          <a:p>
            <a:r>
              <a:rPr lang="en-AU" smtClean="0"/>
              <a:t>Copyright © 2015 Accenture  All rights reserved.</a:t>
            </a:r>
            <a:endParaRPr lang="en-AU" dirty="0"/>
          </a:p>
        </p:txBody>
      </p:sp>
    </p:spTree>
    <p:extLst>
      <p:ext uri="{BB962C8B-B14F-4D97-AF65-F5344CB8AC3E}">
        <p14:creationId xmlns:p14="http://schemas.microsoft.com/office/powerpoint/2010/main" val="4095975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6" name="Text Placeholder 16"/>
          <p:cNvSpPr>
            <a:spLocks noGrp="1"/>
          </p:cNvSpPr>
          <p:nvPr>
            <p:ph type="body" sz="quarter" idx="10"/>
          </p:nvPr>
        </p:nvSpPr>
        <p:spPr>
          <a:xfrm>
            <a:off x="455613" y="1182021"/>
            <a:ext cx="8232775"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2" name="Footer Placeholder 1"/>
          <p:cNvSpPr>
            <a:spLocks noGrp="1"/>
          </p:cNvSpPr>
          <p:nvPr>
            <p:ph type="ftr" sz="quarter" idx="13"/>
          </p:nvPr>
        </p:nvSpPr>
        <p:spPr/>
        <p:txBody>
          <a:bodyPr/>
          <a:lstStyle/>
          <a:p>
            <a:r>
              <a:rPr lang="en-AU" smtClean="0"/>
              <a:t>Copyright © 2015 Accenture  All rights reserved.</a:t>
            </a:r>
            <a:endParaRPr lang="en-AU" dirty="0"/>
          </a:p>
        </p:txBody>
      </p:sp>
    </p:spTree>
    <p:extLst>
      <p:ext uri="{BB962C8B-B14F-4D97-AF65-F5344CB8AC3E}">
        <p14:creationId xmlns:p14="http://schemas.microsoft.com/office/powerpoint/2010/main" val="19103829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r>
              <a:rPr lang="en-US" dirty="0" smtClean="0"/>
              <a:t>Page </a:t>
            </a: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2" name="Footer Placeholder 1"/>
          <p:cNvSpPr>
            <a:spLocks noGrp="1"/>
          </p:cNvSpPr>
          <p:nvPr>
            <p:ph type="ftr" sz="quarter" idx="12"/>
          </p:nvPr>
        </p:nvSpPr>
        <p:spPr/>
        <p:txBody>
          <a:bodyPr/>
          <a:lstStyle/>
          <a:p>
            <a:r>
              <a:rPr lang="en-AU" smtClean="0"/>
              <a:t>Copyright © 2015 Accenture  All rights reserved.</a:t>
            </a:r>
            <a:endParaRPr lang="en-AU" dirty="0"/>
          </a:p>
        </p:txBody>
      </p:sp>
    </p:spTree>
    <p:extLst>
      <p:ext uri="{BB962C8B-B14F-4D97-AF65-F5344CB8AC3E}">
        <p14:creationId xmlns:p14="http://schemas.microsoft.com/office/powerpoint/2010/main" val="39570406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7" name="Group 26"/>
          <p:cNvGrpSpPr/>
          <p:nvPr userDrawn="1"/>
        </p:nvGrpSpPr>
        <p:grpSpPr>
          <a:xfrm>
            <a:off x="0" y="6472009"/>
            <a:ext cx="9144000" cy="385992"/>
            <a:chOff x="0" y="6442029"/>
            <a:chExt cx="9144000" cy="385992"/>
          </a:xfrm>
        </p:grpSpPr>
        <p:pic>
          <p:nvPicPr>
            <p:cNvPr id="28" name="Picture 27"/>
            <p:cNvPicPr>
              <a:picLocks noChangeAspect="1"/>
            </p:cNvPicPr>
            <p:nvPr userDrawn="1"/>
          </p:nvPicPr>
          <p:blipFill rotWithShape="1">
            <a:blip r:embed="rId2">
              <a:extLst>
                <a:ext uri="{28A0092B-C50C-407E-A947-70E740481C1C}">
                  <a14:useLocalDpi xmlns:a14="http://schemas.microsoft.com/office/drawing/2010/main" val="0"/>
                </a:ext>
              </a:extLst>
            </a:blip>
            <a:srcRect r="16662" b="7208"/>
            <a:stretch/>
          </p:blipFill>
          <p:spPr>
            <a:xfrm>
              <a:off x="4595017" y="6442029"/>
              <a:ext cx="4548983" cy="385992"/>
            </a:xfrm>
            <a:prstGeom prst="rect">
              <a:avLst/>
            </a:prstGeom>
          </p:spPr>
        </p:pic>
        <p:pic>
          <p:nvPicPr>
            <p:cNvPr id="29" name="Picture 28"/>
            <p:cNvPicPr>
              <a:picLocks noChangeAspect="1"/>
            </p:cNvPicPr>
            <p:nvPr userDrawn="1"/>
          </p:nvPicPr>
          <p:blipFill rotWithShape="1">
            <a:blip r:embed="rId2">
              <a:extLst>
                <a:ext uri="{28A0092B-C50C-407E-A947-70E740481C1C}">
                  <a14:useLocalDpi xmlns:a14="http://schemas.microsoft.com/office/drawing/2010/main" val="0"/>
                </a:ext>
              </a:extLst>
            </a:blip>
            <a:srcRect r="49882" b="7208"/>
            <a:stretch/>
          </p:blipFill>
          <p:spPr>
            <a:xfrm>
              <a:off x="0" y="6442029"/>
              <a:ext cx="4595017" cy="385992"/>
            </a:xfrm>
            <a:prstGeom prst="rect">
              <a:avLst/>
            </a:prstGeom>
          </p:spPr>
        </p:pic>
      </p:grpSp>
      <p:grpSp>
        <p:nvGrpSpPr>
          <p:cNvPr id="6" name="Group 5" hidden="1"/>
          <p:cNvGrpSpPr/>
          <p:nvPr userDrawn="1"/>
        </p:nvGrpSpPr>
        <p:grpSpPr>
          <a:xfrm>
            <a:off x="0" y="0"/>
            <a:ext cx="9144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
        <p:nvSpPr>
          <p:cNvPr id="34" name="Slide Number Placeholder 4"/>
          <p:cNvSpPr>
            <a:spLocks noGrp="1"/>
          </p:cNvSpPr>
          <p:nvPr>
            <p:ph type="sldNum" sz="quarter" idx="4"/>
          </p:nvPr>
        </p:nvSpPr>
        <p:spPr>
          <a:xfrm>
            <a:off x="4297984" y="6575425"/>
            <a:ext cx="548033" cy="128588"/>
          </a:xfrm>
          <a:prstGeom prst="rect">
            <a:avLst/>
          </a:prstGeom>
        </p:spPr>
        <p:txBody>
          <a:bodyPr vert="horz" wrap="square" lIns="0" tIns="45720" rIns="0" bIns="45720" numCol="1" anchor="ctr" anchorCtr="0" compatLnSpc="1">
            <a:prstTxWarp prst="textNoShape">
              <a:avLst/>
            </a:prstTxWarp>
            <a:noAutofit/>
          </a:bodyPr>
          <a:lstStyle>
            <a:lvl1pPr algn="ctr">
              <a:defRPr sz="900">
                <a:solidFill>
                  <a:schemeClr val="bg1"/>
                </a:solidFill>
                <a:latin typeface="+mn-lt"/>
              </a:defRPr>
            </a:lvl1pPr>
          </a:lstStyle>
          <a:p>
            <a:pPr>
              <a:defRPr/>
            </a:pPr>
            <a:r>
              <a:rPr lang="en-US" dirty="0" smtClean="0"/>
              <a:t>Page </a:t>
            </a:r>
            <a:fld id="{90CBDC3A-D49F-4631-A8C7-55D59B33E5FA}" type="slidenum">
              <a:rPr lang="en-US" smtClean="0"/>
              <a:pPr>
                <a:defRPr/>
              </a:pPr>
              <a:t>‹#›</a:t>
            </a:fld>
            <a:endParaRPr lang="en-US" dirty="0"/>
          </a:p>
        </p:txBody>
      </p:sp>
      <p:sp>
        <p:nvSpPr>
          <p:cNvPr id="35" name="Footer Placeholder 3"/>
          <p:cNvSpPr>
            <a:spLocks noGrp="1"/>
          </p:cNvSpPr>
          <p:nvPr>
            <p:ph type="ftr" sz="quarter" idx="3"/>
          </p:nvPr>
        </p:nvSpPr>
        <p:spPr>
          <a:xfrm>
            <a:off x="455613" y="6575425"/>
            <a:ext cx="3600000" cy="128588"/>
          </a:xfrm>
          <a:prstGeom prst="rect">
            <a:avLst/>
          </a:prstGeom>
          <a:noFill/>
        </p:spPr>
        <p:txBody>
          <a:bodyPr wrap="square" lIns="0" anchor="ctr" anchorCtr="0">
            <a:noAutofit/>
          </a:bodyPr>
          <a:lstStyle>
            <a:lvl1pPr>
              <a:defRPr lang="en-AU" sz="900">
                <a:solidFill>
                  <a:schemeClr val="bg1"/>
                </a:solidFill>
                <a:latin typeface="+mn-lt"/>
              </a:defRPr>
            </a:lvl1pPr>
          </a:lstStyle>
          <a:p>
            <a:r>
              <a:rPr lang="en-US" smtClean="0"/>
              <a:t>Copyright © 2015 Accenture  All rights reserved.</a:t>
            </a:r>
            <a:endParaRPr lang="en-US" dirty="0"/>
          </a:p>
        </p:txBody>
      </p:sp>
    </p:spTree>
    <p:extLst>
      <p:ext uri="{BB962C8B-B14F-4D97-AF65-F5344CB8AC3E}">
        <p14:creationId xmlns:p14="http://schemas.microsoft.com/office/powerpoint/2010/main" val="4380852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 name="Group 5"/>
          <p:cNvGrpSpPr/>
          <p:nvPr userDrawn="1"/>
        </p:nvGrpSpPr>
        <p:grpSpPr>
          <a:xfrm>
            <a:off x="0" y="6472009"/>
            <a:ext cx="9144000" cy="385992"/>
            <a:chOff x="0" y="6442029"/>
            <a:chExt cx="9144000" cy="385992"/>
          </a:xfrm>
        </p:grpSpPr>
        <p:pic>
          <p:nvPicPr>
            <p:cNvPr id="12" name="Picture 11"/>
            <p:cNvPicPr>
              <a:picLocks noChangeAspect="1"/>
            </p:cNvPicPr>
            <p:nvPr userDrawn="1"/>
          </p:nvPicPr>
          <p:blipFill rotWithShape="1">
            <a:blip r:embed="rId16">
              <a:extLst>
                <a:ext uri="{28A0092B-C50C-407E-A947-70E740481C1C}">
                  <a14:useLocalDpi xmlns:a14="http://schemas.microsoft.com/office/drawing/2010/main" val="0"/>
                </a:ext>
              </a:extLst>
            </a:blip>
            <a:srcRect r="16662" b="7208"/>
            <a:stretch/>
          </p:blipFill>
          <p:spPr>
            <a:xfrm>
              <a:off x="4595017" y="6442029"/>
              <a:ext cx="4548983" cy="385992"/>
            </a:xfrm>
            <a:prstGeom prst="rect">
              <a:avLst/>
            </a:prstGeom>
          </p:spPr>
        </p:pic>
        <p:pic>
          <p:nvPicPr>
            <p:cNvPr id="13" name="Picture 12"/>
            <p:cNvPicPr>
              <a:picLocks noChangeAspect="1"/>
            </p:cNvPicPr>
            <p:nvPr userDrawn="1"/>
          </p:nvPicPr>
          <p:blipFill rotWithShape="1">
            <a:blip r:embed="rId16">
              <a:extLst>
                <a:ext uri="{28A0092B-C50C-407E-A947-70E740481C1C}">
                  <a14:useLocalDpi xmlns:a14="http://schemas.microsoft.com/office/drawing/2010/main" val="0"/>
                </a:ext>
              </a:extLst>
            </a:blip>
            <a:srcRect r="49882" b="7208"/>
            <a:stretch/>
          </p:blipFill>
          <p:spPr>
            <a:xfrm>
              <a:off x="0" y="6442029"/>
              <a:ext cx="4595017" cy="385992"/>
            </a:xfrm>
            <a:prstGeom prst="rect">
              <a:avLst/>
            </a:prstGeom>
          </p:spPr>
        </p:pic>
      </p:grpSp>
      <p:sp>
        <p:nvSpPr>
          <p:cNvPr id="3" name="Text Placeholder 2"/>
          <p:cNvSpPr>
            <a:spLocks noGrp="1"/>
          </p:cNvSpPr>
          <p:nvPr userDrawn="1">
            <p:ph type="body" idx="1"/>
          </p:nvPr>
        </p:nvSpPr>
        <p:spPr>
          <a:xfrm>
            <a:off x="455613" y="1194794"/>
            <a:ext cx="8232775" cy="5139332"/>
          </a:xfrm>
          <a:prstGeom prst="rect">
            <a:avLst/>
          </a:prstGeom>
        </p:spPr>
        <p:txBody>
          <a:bodyPr vert="horz" lIns="0" tIns="4572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Placeholder 1"/>
          <p:cNvSpPr>
            <a:spLocks noGrp="1"/>
          </p:cNvSpPr>
          <p:nvPr userDrawn="1">
            <p:ph type="title"/>
          </p:nvPr>
        </p:nvSpPr>
        <p:spPr>
          <a:xfrm>
            <a:off x="455613" y="116205"/>
            <a:ext cx="8232775" cy="1002979"/>
          </a:xfrm>
          <a:prstGeom prst="rect">
            <a:avLst/>
          </a:prstGeom>
        </p:spPr>
        <p:txBody>
          <a:bodyPr vert="horz" lIns="0" tIns="45720" rIns="0" bIns="0" rtlCol="0" anchor="b" anchorCtr="0">
            <a:noAutofit/>
          </a:bodyPr>
          <a:lstStyle/>
          <a:p>
            <a:pPr lvl="0"/>
            <a:r>
              <a:rPr lang="en-US" dirty="0" smtClean="0"/>
              <a:t>Click to edit Master title style</a:t>
            </a:r>
            <a:endParaRPr lang="en-AU" dirty="0"/>
          </a:p>
        </p:txBody>
      </p:sp>
      <p:sp>
        <p:nvSpPr>
          <p:cNvPr id="5" name="Slide Number Placeholder 4"/>
          <p:cNvSpPr>
            <a:spLocks noGrp="1"/>
          </p:cNvSpPr>
          <p:nvPr userDrawn="1">
            <p:ph type="sldNum" sz="quarter" idx="4"/>
          </p:nvPr>
        </p:nvSpPr>
        <p:spPr>
          <a:xfrm>
            <a:off x="4297984" y="6575425"/>
            <a:ext cx="548033" cy="128588"/>
          </a:xfrm>
          <a:prstGeom prst="rect">
            <a:avLst/>
          </a:prstGeom>
        </p:spPr>
        <p:txBody>
          <a:bodyPr vert="horz" wrap="square" lIns="0" tIns="45720" rIns="0" bIns="45720" numCol="1" anchor="ctr" anchorCtr="0" compatLnSpc="1">
            <a:prstTxWarp prst="textNoShape">
              <a:avLst/>
            </a:prstTxWarp>
            <a:noAutofit/>
          </a:bodyPr>
          <a:lstStyle>
            <a:lvl1pPr algn="ctr">
              <a:defRPr sz="900">
                <a:solidFill>
                  <a:schemeClr val="bg1"/>
                </a:solidFill>
                <a:latin typeface="+mn-lt"/>
              </a:defRPr>
            </a:lvl1pPr>
          </a:lstStyle>
          <a:p>
            <a:pPr>
              <a:defRPr/>
            </a:pPr>
            <a:r>
              <a:rPr lang="en-US" dirty="0" smtClean="0"/>
              <a:t>Page </a:t>
            </a:r>
            <a:fld id="{90CBDC3A-D49F-4631-A8C7-55D59B33E5FA}" type="slidenum">
              <a:rPr lang="en-US" smtClean="0"/>
              <a:pPr>
                <a:defRPr/>
              </a:pPr>
              <a:t>‹#›</a:t>
            </a:fld>
            <a:endParaRPr lang="en-US" dirty="0"/>
          </a:p>
        </p:txBody>
      </p:sp>
      <p:sp>
        <p:nvSpPr>
          <p:cNvPr id="4" name="Footer Placeholder 3"/>
          <p:cNvSpPr>
            <a:spLocks noGrp="1"/>
          </p:cNvSpPr>
          <p:nvPr userDrawn="1">
            <p:ph type="ftr" sz="quarter" idx="3"/>
          </p:nvPr>
        </p:nvSpPr>
        <p:spPr>
          <a:xfrm>
            <a:off x="455613" y="6575425"/>
            <a:ext cx="3600000" cy="128588"/>
          </a:xfrm>
          <a:prstGeom prst="rect">
            <a:avLst/>
          </a:prstGeom>
          <a:noFill/>
        </p:spPr>
        <p:txBody>
          <a:bodyPr wrap="square" lIns="0" anchor="ctr" anchorCtr="0">
            <a:noAutofit/>
          </a:bodyPr>
          <a:lstStyle>
            <a:lvl1pPr>
              <a:defRPr lang="en-AU" sz="900">
                <a:solidFill>
                  <a:schemeClr val="bg1"/>
                </a:solidFill>
                <a:latin typeface="+mn-lt"/>
              </a:defRPr>
            </a:lvl1pPr>
          </a:lstStyle>
          <a:p>
            <a:r>
              <a:rPr lang="en-US" smtClean="0"/>
              <a:t>Copyright © 2015 Accenture  All rights reserved.</a:t>
            </a:r>
            <a:endParaRPr lang="en-US" dirty="0"/>
          </a:p>
        </p:txBody>
      </p:sp>
    </p:spTree>
  </p:cSld>
  <p:clrMap bg1="lt1" tx1="dk1" bg2="lt2" tx2="dk2" accent1="accent1" accent2="accent2" accent3="accent3" accent4="accent4" accent5="accent5" accent6="accent6" hlink="hlink" folHlink="folHlink"/>
  <p:sldLayoutIdLst>
    <p:sldLayoutId id="2147483732" r:id="rId1"/>
    <p:sldLayoutId id="2147483720" r:id="rId2"/>
    <p:sldLayoutId id="2147483728" r:id="rId3"/>
    <p:sldLayoutId id="2147483731" r:id="rId4"/>
    <p:sldLayoutId id="2147483721" r:id="rId5"/>
    <p:sldLayoutId id="2147483725" r:id="rId6"/>
    <p:sldLayoutId id="2147483744" r:id="rId7"/>
    <p:sldLayoutId id="2147483727" r:id="rId8"/>
    <p:sldLayoutId id="2147483729" r:id="rId9"/>
    <p:sldLayoutId id="2147483724" r:id="rId10"/>
    <p:sldLayoutId id="2147483736" r:id="rId11"/>
    <p:sldLayoutId id="2147483730" r:id="rId12"/>
    <p:sldLayoutId id="2147483746" r:id="rId13"/>
    <p:sldLayoutId id="2147483747" r:id="rId14"/>
  </p:sldLayoutIdLst>
  <p:timing>
    <p:tnLst>
      <p:par>
        <p:cTn id="1" dur="indefinite" restart="never" nodeType="tmRoot"/>
      </p:par>
    </p:tnLst>
  </p:timing>
  <p:hf hdr="0" dt="0"/>
  <p:txStyles>
    <p:title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hyperlink" Target="http://en.wikipedia.org/wiki/ITIL"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hyperlink" Target="http://en.wikipedia.org/wiki/ITSM"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jpeg"/><Relationship Id="rId7"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hyperlink" Target="http://www.osnews.com/comics"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hyperlink" Target="http://en.wikipedia.org/wiki/Software_testing" TargetMode="External"/><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32.png"/><Relationship Id="rId7"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jpeg"/><Relationship Id="rId4" Type="http://schemas.openxmlformats.org/officeDocument/2006/relationships/image" Target="../media/image43.jpeg"/><Relationship Id="rId9" Type="http://schemas.openxmlformats.org/officeDocument/2006/relationships/image" Target="../media/image48.gif"/></Relationships>
</file>

<file path=ppt/slides/_rels/slide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51.jpeg"/></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9.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2.png"/><Relationship Id="rId7" Type="http://schemas.openxmlformats.org/officeDocument/2006/relationships/image" Target="../media/image60.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png"/></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hyperlink" Target="http://www.martinfowler.com/articles/continuousIntegration.html"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hyperlink" Target="http://agilemanifesto.org/principles.html" TargetMode="External"/><Relationship Id="rId2" Type="http://schemas.openxmlformats.org/officeDocument/2006/relationships/notesSlide" Target="../notesSlides/notesSlide42.xml"/><Relationship Id="rId1" Type="http://schemas.openxmlformats.org/officeDocument/2006/relationships/slideLayout" Target="../slideLayouts/slideLayout8.xml"/><Relationship Id="rId4" Type="http://schemas.openxmlformats.org/officeDocument/2006/relationships/hyperlink" Target="http://www.amazon.co.uk/Continuous-Delivery-Deployment-Automation-Addison-Wesley/dp/0321601912"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hyperlink" Target="http://en.wikipedia.org/wiki/File:Cloud_computing.svg" TargetMode="Externa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9170" y="1626156"/>
            <a:ext cx="4816297" cy="996950"/>
          </a:xfrm>
        </p:spPr>
        <p:txBody>
          <a:bodyPr/>
          <a:lstStyle/>
          <a:p>
            <a:r>
              <a:rPr lang="en-GB" sz="4000" dirty="0" smtClean="0"/>
              <a:t>DevOps </a:t>
            </a:r>
            <a:r>
              <a:rPr lang="en-GB" sz="4000" dirty="0"/>
              <a:t>Introduction</a:t>
            </a:r>
          </a:p>
        </p:txBody>
      </p:sp>
    </p:spTree>
    <p:extLst>
      <p:ext uri="{BB962C8B-B14F-4D97-AF65-F5344CB8AC3E}">
        <p14:creationId xmlns:p14="http://schemas.microsoft.com/office/powerpoint/2010/main" val="3285977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err="1" smtClean="0">
                <a:latin typeface="SimSun" panose="02010600030101010101" pitchFamily="2" charset="-122"/>
                <a:ea typeface="SimSun" panose="02010600030101010101" pitchFamily="2" charset="-122"/>
              </a:rPr>
              <a:t>PaaS</a:t>
            </a:r>
            <a:r>
              <a:rPr lang="zh-CN" altLang="en-US" dirty="0" smtClean="0">
                <a:latin typeface="SimSun" panose="02010600030101010101" pitchFamily="2" charset="-122"/>
                <a:ea typeface="SimSun" panose="02010600030101010101" pitchFamily="2" charset="-122"/>
              </a:rPr>
              <a:t>的优势</a:t>
            </a:r>
            <a:endParaRPr lang="en-GB" dirty="0">
              <a:latin typeface="SimSun" panose="02010600030101010101" pitchFamily="2" charset="-122"/>
              <a:ea typeface="SimSun" panose="02010600030101010101" pitchFamily="2" charset="-122"/>
            </a:endParaRPr>
          </a:p>
        </p:txBody>
      </p:sp>
      <p:graphicFrame>
        <p:nvGraphicFramePr>
          <p:cNvPr id="5" name="Content Placeholder 4"/>
          <p:cNvGraphicFramePr>
            <a:graphicFrameLocks/>
          </p:cNvGraphicFramePr>
          <p:nvPr>
            <p:extLst>
              <p:ext uri="{D42A27DB-BD31-4B8C-83A1-F6EECF244321}">
                <p14:modId xmlns:p14="http://schemas.microsoft.com/office/powerpoint/2010/main" val="826232280"/>
              </p:ext>
            </p:extLst>
          </p:nvPr>
        </p:nvGraphicFramePr>
        <p:xfrm>
          <a:off x="467544" y="1196752"/>
          <a:ext cx="8151811" cy="5186880"/>
        </p:xfrm>
        <a:graphic>
          <a:graphicData uri="http://schemas.openxmlformats.org/drawingml/2006/table">
            <a:tbl>
              <a:tblPr>
                <a:tableStyleId>{2D5ABB26-0587-4C30-8999-92F81FD0307C}</a:tableStyleId>
              </a:tblPr>
              <a:tblGrid>
                <a:gridCol w="1143000"/>
                <a:gridCol w="2253931"/>
                <a:gridCol w="2377440"/>
                <a:gridCol w="2377440"/>
              </a:tblGrid>
              <a:tr h="0">
                <a:tc>
                  <a:txBody>
                    <a:bodyPr/>
                    <a:lstStyle/>
                    <a:p>
                      <a:pPr algn="l">
                        <a:spcBef>
                          <a:spcPts val="600"/>
                        </a:spcBef>
                      </a:pPr>
                      <a:r>
                        <a:rPr lang="zh-CN" altLang="en-US" sz="1200" b="1" dirty="0" smtClean="0">
                          <a:solidFill>
                            <a:schemeClr val="bg1"/>
                          </a:solidFill>
                          <a:latin typeface="SimSun" panose="02010600030101010101" pitchFamily="2" charset="-122"/>
                          <a:ea typeface="SimSun" panose="02010600030101010101" pitchFamily="2" charset="-122"/>
                        </a:rPr>
                        <a:t>优势</a:t>
                      </a:r>
                      <a:endParaRPr lang="en-US" sz="1200" b="1" dirty="0">
                        <a:solidFill>
                          <a:schemeClr val="bg1"/>
                        </a:solidFill>
                        <a:latin typeface="SimSun" panose="02010600030101010101" pitchFamily="2" charset="-122"/>
                        <a:ea typeface="SimSun" panose="02010600030101010101" pitchFamily="2" charset="-122"/>
                      </a:endParaRPr>
                    </a:p>
                  </a:txBody>
                  <a:tcPr marL="72000" marR="72000" marT="36000" marB="36000" anchor="ctr">
                    <a:solidFill>
                      <a:schemeClr val="accent3"/>
                    </a:solidFill>
                  </a:tcPr>
                </a:tc>
                <a:tc>
                  <a:txBody>
                    <a:bodyPr/>
                    <a:lstStyle/>
                    <a:p>
                      <a:pPr algn="l">
                        <a:spcBef>
                          <a:spcPts val="600"/>
                        </a:spcBef>
                      </a:pPr>
                      <a:r>
                        <a:rPr lang="zh-CN" altLang="en-US" sz="1200" b="1" dirty="0" smtClean="0">
                          <a:solidFill>
                            <a:schemeClr val="bg1"/>
                          </a:solidFill>
                          <a:latin typeface="SimSun" panose="02010600030101010101" pitchFamily="2" charset="-122"/>
                          <a:ea typeface="SimSun" panose="02010600030101010101" pitchFamily="2" charset="-122"/>
                        </a:rPr>
                        <a:t>开发</a:t>
                      </a:r>
                      <a:endParaRPr lang="en-US" sz="1200" b="1" dirty="0">
                        <a:solidFill>
                          <a:schemeClr val="bg1"/>
                        </a:solidFill>
                        <a:latin typeface="SimSun" panose="02010600030101010101" pitchFamily="2" charset="-122"/>
                        <a:ea typeface="SimSun" panose="02010600030101010101" pitchFamily="2" charset="-122"/>
                      </a:endParaRPr>
                    </a:p>
                  </a:txBody>
                  <a:tcPr marL="72000" marR="72000" marT="36000" marB="36000" anchor="ctr">
                    <a:solidFill>
                      <a:schemeClr val="accent3"/>
                    </a:solidFill>
                  </a:tcPr>
                </a:tc>
                <a:tc>
                  <a:txBody>
                    <a:bodyPr/>
                    <a:lstStyle/>
                    <a:p>
                      <a:pPr algn="l">
                        <a:spcBef>
                          <a:spcPts val="600"/>
                        </a:spcBef>
                      </a:pPr>
                      <a:r>
                        <a:rPr lang="zh-CN" altLang="en-US" sz="1200" b="1" dirty="0" smtClean="0">
                          <a:solidFill>
                            <a:schemeClr val="bg1"/>
                          </a:solidFill>
                          <a:latin typeface="SimSun" panose="02010600030101010101" pitchFamily="2" charset="-122"/>
                          <a:ea typeface="SimSun" panose="02010600030101010101" pitchFamily="2" charset="-122"/>
                        </a:rPr>
                        <a:t>测试</a:t>
                      </a:r>
                      <a:endParaRPr lang="en-US" sz="1200" b="1" dirty="0">
                        <a:solidFill>
                          <a:schemeClr val="bg1"/>
                        </a:solidFill>
                        <a:latin typeface="SimSun" panose="02010600030101010101" pitchFamily="2" charset="-122"/>
                        <a:ea typeface="SimSun" panose="02010600030101010101" pitchFamily="2" charset="-122"/>
                      </a:endParaRPr>
                    </a:p>
                  </a:txBody>
                  <a:tcPr marL="72000" marR="72000" marT="36000" marB="36000" anchor="ctr">
                    <a:solidFill>
                      <a:schemeClr val="accent3"/>
                    </a:solidFill>
                  </a:tcPr>
                </a:tc>
                <a:tc>
                  <a:txBody>
                    <a:bodyPr/>
                    <a:lstStyle/>
                    <a:p>
                      <a:pPr algn="l">
                        <a:spcBef>
                          <a:spcPts val="600"/>
                        </a:spcBef>
                      </a:pPr>
                      <a:r>
                        <a:rPr lang="zh-CN" altLang="en-US" sz="1200" b="1" dirty="0" smtClean="0">
                          <a:solidFill>
                            <a:schemeClr val="bg1"/>
                          </a:solidFill>
                          <a:latin typeface="SimSun" panose="02010600030101010101" pitchFamily="2" charset="-122"/>
                          <a:ea typeface="SimSun" panose="02010600030101010101" pitchFamily="2" charset="-122"/>
                        </a:rPr>
                        <a:t>产品</a:t>
                      </a:r>
                      <a:endParaRPr lang="en-US" sz="1200" b="1" dirty="0">
                        <a:solidFill>
                          <a:schemeClr val="bg1"/>
                        </a:solidFill>
                        <a:latin typeface="SimSun" panose="02010600030101010101" pitchFamily="2" charset="-122"/>
                        <a:ea typeface="SimSun" panose="02010600030101010101" pitchFamily="2" charset="-122"/>
                      </a:endParaRPr>
                    </a:p>
                  </a:txBody>
                  <a:tcPr marL="72000" marR="72000" marT="36000" marB="36000" anchor="ctr">
                    <a:solidFill>
                      <a:schemeClr val="accent3"/>
                    </a:solidFill>
                  </a:tcPr>
                </a:tc>
              </a:tr>
              <a:tr h="986400">
                <a:tc>
                  <a:txBody>
                    <a:bodyPr/>
                    <a:lstStyle/>
                    <a:p>
                      <a:pPr>
                        <a:spcBef>
                          <a:spcPts val="600"/>
                        </a:spcBef>
                      </a:pPr>
                      <a:r>
                        <a:rPr lang="zh-CN" altLang="en-US" sz="1200" b="1" dirty="0" smtClean="0">
                          <a:solidFill>
                            <a:schemeClr val="bg2"/>
                          </a:solidFill>
                          <a:latin typeface="SimSun" panose="02010600030101010101" pitchFamily="2" charset="-122"/>
                          <a:ea typeface="SimSun" panose="02010600030101010101" pitchFamily="2" charset="-122"/>
                        </a:rPr>
                        <a:t>费用</a:t>
                      </a:r>
                      <a:endParaRPr lang="en-US" sz="1200" b="1" dirty="0" smtClean="0">
                        <a:solidFill>
                          <a:schemeClr val="bg2"/>
                        </a:solidFill>
                        <a:latin typeface="SimSun" panose="02010600030101010101" pitchFamily="2" charset="-122"/>
                        <a:ea typeface="SimSun" panose="02010600030101010101" pitchFamily="2" charset="-122"/>
                      </a:endParaRPr>
                    </a:p>
                  </a:txBody>
                  <a:tcPr marL="72000" marR="72000" marT="36000" marB="36000">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优势平台服务</a:t>
                      </a:r>
                      <a:endParaRPr kumimoji="0" lang="en-US" altLang="zh-CN"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削减</a:t>
                      </a:r>
                      <a:r>
                        <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 IT</a:t>
                      </a: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支持</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标准化</a:t>
                      </a:r>
                      <a:endPar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采购更少的硬件和软件</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基于使用情况的费用</a:t>
                      </a:r>
                      <a:endPar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基于使用情况的费用</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ja-JP"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运营成本</a:t>
                      </a:r>
                      <a:r>
                        <a:rPr kumimoji="0" lang="en-US" altLang="ja-JP"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a:t>
                      </a:r>
                      <a:r>
                        <a:rPr kumimoji="0" lang="en-US" altLang="ja-JP"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OPEX</a:t>
                      </a:r>
                      <a:r>
                        <a:rPr kumimoji="0" lang="en-US" altLang="ja-JP"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a:t>
                      </a:r>
                      <a:r>
                        <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vs </a:t>
                      </a:r>
                      <a:br>
                        <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br>
                      <a:r>
                        <a:rPr kumimoji="0" lang="ja-JP"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资本性支出</a:t>
                      </a:r>
                      <a:r>
                        <a:rPr kumimoji="0" lang="en-US" altLang="ja-JP"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a:t>
                      </a:r>
                      <a:r>
                        <a:rPr kumimoji="0" lang="en-US" altLang="ja-JP"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CAPEX</a:t>
                      </a:r>
                      <a:r>
                        <a:rPr kumimoji="0" lang="en-US" altLang="ja-JP"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B w="9525" cap="flat" cmpd="sng" algn="ctr">
                      <a:solidFill>
                        <a:schemeClr val="bg2"/>
                      </a:solidFill>
                      <a:prstDash val="solid"/>
                      <a:round/>
                      <a:headEnd type="none" w="med" len="med"/>
                      <a:tailEnd type="none" w="med" len="med"/>
                    </a:lnB>
                  </a:tcPr>
                </a:tc>
              </a:tr>
              <a:tr h="986400">
                <a:tc>
                  <a:txBody>
                    <a:bodyPr/>
                    <a:lstStyle/>
                    <a:p>
                      <a:pPr>
                        <a:spcBef>
                          <a:spcPts val="600"/>
                        </a:spcBef>
                      </a:pPr>
                      <a:r>
                        <a:rPr lang="zh-CN" altLang="en-US" sz="1200" b="1" kern="1200" dirty="0" smtClean="0">
                          <a:solidFill>
                            <a:schemeClr val="bg2"/>
                          </a:solidFill>
                          <a:latin typeface="SimSun" panose="02010600030101010101" pitchFamily="2" charset="-122"/>
                          <a:ea typeface="SimSun" panose="02010600030101010101" pitchFamily="2" charset="-122"/>
                          <a:cs typeface="+mn-cs"/>
                        </a:rPr>
                        <a:t>速度</a:t>
                      </a:r>
                      <a:endParaRPr lang="en-US" sz="1200" b="1" kern="1200" dirty="0" smtClean="0">
                        <a:solidFill>
                          <a:schemeClr val="bg2"/>
                        </a:solidFill>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更快的业务效率</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更短的工具安装时间；更多精力用来开发</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短时循环反馈</a:t>
                      </a:r>
                      <a:endPar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可以及时调配测试环境</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减少或接近于零的生产停滞时间</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对于应用程序更容易恢复到以前的版本</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86400">
                <a:tc>
                  <a:txBody>
                    <a:bodyPr/>
                    <a:lstStyle/>
                    <a:p>
                      <a:pPr>
                        <a:spcBef>
                          <a:spcPts val="600"/>
                        </a:spcBef>
                      </a:pPr>
                      <a:r>
                        <a:rPr lang="zh-CN" altLang="en-US" sz="1200" b="1" kern="1200" dirty="0" smtClean="0">
                          <a:solidFill>
                            <a:schemeClr val="bg2"/>
                          </a:solidFill>
                          <a:latin typeface="SimSun" panose="02010600030101010101" pitchFamily="2" charset="-122"/>
                          <a:ea typeface="SimSun" panose="02010600030101010101" pitchFamily="2" charset="-122"/>
                          <a:cs typeface="+mn-cs"/>
                        </a:rPr>
                        <a:t>弹性</a:t>
                      </a:r>
                      <a:endParaRPr lang="en-US" sz="1200" b="1" kern="1200" dirty="0" smtClean="0">
                        <a:solidFill>
                          <a:schemeClr val="bg2"/>
                        </a:solidFill>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更容易支持较大的开发环境</a:t>
                      </a:r>
                      <a:endParaRPr kumimoji="0" lang="en-US" altLang="zh-CN"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扩展开发工作站</a:t>
                      </a:r>
                      <a:endParaRPr kumimoji="0" lang="fr-FR"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提升可扩展性</a:t>
                      </a:r>
                      <a:endPar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如果需要，可以扩展到生产环境的规模</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测试基础设施环境可以反映出生产环境</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根据使用情况可以扩展</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预先配置的可扩展性和高可用性的平台服务</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86400">
                <a:tc>
                  <a:txBody>
                    <a:bodyPr/>
                    <a:lstStyle/>
                    <a:p>
                      <a:pPr>
                        <a:spcBef>
                          <a:spcPts val="600"/>
                        </a:spcBef>
                      </a:pPr>
                      <a:r>
                        <a:rPr lang="zh-CN" altLang="en-US" sz="1200" b="1" kern="1200" dirty="0" smtClean="0">
                          <a:solidFill>
                            <a:schemeClr val="bg2"/>
                          </a:solidFill>
                          <a:latin typeface="SimSun" panose="02010600030101010101" pitchFamily="2" charset="-122"/>
                          <a:ea typeface="SimSun" panose="02010600030101010101" pitchFamily="2" charset="-122"/>
                          <a:cs typeface="+mn-cs"/>
                        </a:rPr>
                        <a:t>敏捷</a:t>
                      </a:r>
                      <a:r>
                        <a:rPr lang="en-US" altLang="zh-CN" sz="1200" b="1" kern="1200" dirty="0" smtClean="0">
                          <a:solidFill>
                            <a:schemeClr val="bg2"/>
                          </a:solidFill>
                          <a:latin typeface="SimSun" panose="02010600030101010101" pitchFamily="2" charset="-122"/>
                          <a:ea typeface="SimSun" panose="02010600030101010101" pitchFamily="2" charset="-122"/>
                          <a:cs typeface="+mn-cs"/>
                        </a:rPr>
                        <a:t>/</a:t>
                      </a:r>
                      <a:r>
                        <a:rPr lang="zh-CN" altLang="en-US" sz="1200" b="1" kern="1200" dirty="0" smtClean="0">
                          <a:solidFill>
                            <a:schemeClr val="bg2"/>
                          </a:solidFill>
                          <a:latin typeface="SimSun" panose="02010600030101010101" pitchFamily="2" charset="-122"/>
                          <a:ea typeface="SimSun" panose="02010600030101010101" pitchFamily="2" charset="-122"/>
                          <a:cs typeface="+mn-cs"/>
                        </a:rPr>
                        <a:t>灵活性</a:t>
                      </a:r>
                      <a:endParaRPr lang="en-US" sz="1200" b="1" kern="1200" dirty="0" smtClean="0">
                        <a:solidFill>
                          <a:schemeClr val="bg2"/>
                        </a:solidFill>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更快的业务效率</a:t>
                      </a:r>
                      <a:endPar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更短的工具安装时间；更多精力用来开发</a:t>
                      </a: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短时循环反馈</a:t>
                      </a: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可以及时调配测试环境</a:t>
                      </a: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减少或接近于零的生产停滞时间</a:t>
                      </a:r>
                      <a:endParaRPr kumimoji="0" lang="en-US" altLang="ja-JP"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对于应用程序更容易恢复到以前的版本</a:t>
                      </a:r>
                    </a:p>
                  </a:txBody>
                  <a:tcPr marL="72000" marR="72000" marT="36000" marB="3600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86400">
                <a:tc>
                  <a:txBody>
                    <a:bodyPr/>
                    <a:lstStyle/>
                    <a:p>
                      <a:pPr>
                        <a:spcBef>
                          <a:spcPts val="600"/>
                        </a:spcBef>
                      </a:pPr>
                      <a:r>
                        <a:rPr lang="zh-CN" altLang="en-US" sz="1200" b="1" kern="1200" dirty="0" smtClean="0">
                          <a:solidFill>
                            <a:schemeClr val="bg2"/>
                          </a:solidFill>
                          <a:latin typeface="SimSun" panose="02010600030101010101" pitchFamily="2" charset="-122"/>
                          <a:ea typeface="SimSun" panose="02010600030101010101" pitchFamily="2" charset="-122"/>
                          <a:cs typeface="+mn-cs"/>
                        </a:rPr>
                        <a:t>高性能</a:t>
                      </a:r>
                      <a:endParaRPr lang="en-US" altLang="zh-CN" sz="1200" b="1" kern="1200" dirty="0" smtClean="0">
                        <a:solidFill>
                          <a:schemeClr val="bg2"/>
                        </a:solidFill>
                        <a:latin typeface="SimSun" panose="02010600030101010101" pitchFamily="2" charset="-122"/>
                        <a:ea typeface="SimSun" panose="02010600030101010101" pitchFamily="2" charset="-122"/>
                        <a:cs typeface="+mn-cs"/>
                      </a:endParaRPr>
                    </a:p>
                    <a:p>
                      <a:pPr>
                        <a:spcBef>
                          <a:spcPts val="600"/>
                        </a:spcBef>
                      </a:pPr>
                      <a:endParaRPr lang="en-US" sz="1200" b="1" kern="1200" dirty="0" smtClean="0">
                        <a:solidFill>
                          <a:schemeClr val="bg2"/>
                        </a:solidFill>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可以交付更多的项目</a:t>
                      </a:r>
                      <a:endParaRPr kumimoji="0" 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不用环境重构</a:t>
                      </a:r>
                      <a:endParaRPr kumimoji="0" lang="en-US" altLang="zh-CN"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endParaRPr>
                    </a:p>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zh-CN" altLang="en-US" sz="1200" b="0" i="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cs typeface="+mn-cs"/>
                        </a:rPr>
                        <a:t>并行测试</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tcPr>
                </a:tc>
                <a:tc>
                  <a:txBody>
                    <a:bodyPr/>
                    <a:lstStyle/>
                    <a:p>
                      <a:pPr marL="223838" marR="0" lvl="0" indent="-223838" algn="l" defTabSz="914400" rtl="0" eaLnBrk="1" fontAlgn="auto" latinLnBrk="0" hangingPunct="1">
                        <a:lnSpc>
                          <a:spcPct val="100000"/>
                        </a:lnSpc>
                        <a:spcBef>
                          <a:spcPts val="600"/>
                        </a:spcBef>
                        <a:spcAft>
                          <a:spcPts val="0"/>
                        </a:spcAft>
                        <a:buClrTx/>
                        <a:buSzTx/>
                        <a:buFont typeface="Arial" pitchFamily="34" charset="0"/>
                        <a:buChar char="•"/>
                        <a:tabLst/>
                        <a:defRPr/>
                      </a:pPr>
                      <a:r>
                        <a:rPr kumimoji="0" 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 </a:t>
                      </a:r>
                      <a:r>
                        <a:rPr kumimoji="0" lang="zh-CN" altLang="en-US" sz="1200" u="none" strike="noStrike" kern="1200" cap="none" normalizeH="0" baseline="0" dirty="0" smtClean="0">
                          <a:ln>
                            <a:noFill/>
                          </a:ln>
                          <a:solidFill>
                            <a:schemeClr val="tx2"/>
                          </a:solidFill>
                          <a:effectLst/>
                          <a:latin typeface="SimSun" panose="02010600030101010101" pitchFamily="2" charset="-122"/>
                          <a:ea typeface="SimSun" panose="02010600030101010101" pitchFamily="2" charset="-122"/>
                        </a:rPr>
                        <a:t>无限容量</a:t>
                      </a:r>
                      <a:endParaRPr kumimoji="0" lang="en-US" sz="1200" b="0" i="0" u="none" strike="noStrike" kern="1200" cap="none" normalizeH="0" baseline="0" dirty="0">
                        <a:ln>
                          <a:noFill/>
                        </a:ln>
                        <a:solidFill>
                          <a:schemeClr val="tx2"/>
                        </a:solidFill>
                        <a:effectLst/>
                        <a:latin typeface="SimSun" panose="02010600030101010101" pitchFamily="2" charset="-122"/>
                        <a:ea typeface="SimSun" panose="02010600030101010101" pitchFamily="2" charset="-122"/>
                        <a:cs typeface="+mn-cs"/>
                      </a:endParaRPr>
                    </a:p>
                  </a:txBody>
                  <a:tcPr marL="72000" marR="72000" marT="36000" marB="36000">
                    <a:lnT w="9525" cap="flat" cmpd="sng" algn="ctr">
                      <a:solidFill>
                        <a:schemeClr val="bg2"/>
                      </a:solidFill>
                      <a:prstDash val="solid"/>
                      <a:round/>
                      <a:headEnd type="none" w="med" len="med"/>
                      <a:tailEnd type="none" w="med" len="med"/>
                    </a:lnT>
                  </a:tcPr>
                </a:tc>
              </a:tr>
            </a:tbl>
          </a:graphicData>
        </a:graphic>
      </p:graphicFrame>
      <p:sp>
        <p:nvSpPr>
          <p:cNvPr id="6"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9499907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基</a:t>
            </a:r>
            <a:r>
              <a:rPr lang="zh-CN" altLang="en-US" dirty="0">
                <a:latin typeface="SimSun" panose="02010600030101010101" pitchFamily="2" charset="-122"/>
                <a:ea typeface="SimSun" panose="02010600030101010101" pitchFamily="2" charset="-122"/>
              </a:rPr>
              <a:t>础</a:t>
            </a:r>
            <a:endParaRPr lang="en-GB" dirty="0">
              <a:latin typeface="SimSun" panose="02010600030101010101" pitchFamily="2" charset="-122"/>
              <a:ea typeface="SimSun" panose="02010600030101010101" pitchFamily="2" charset="-122"/>
            </a:endParaRPr>
          </a:p>
        </p:txBody>
      </p:sp>
      <p:sp>
        <p:nvSpPr>
          <p:cNvPr id="11" name="Content Placeholder 10"/>
          <p:cNvSpPr>
            <a:spLocks noGrp="1"/>
          </p:cNvSpPr>
          <p:nvPr>
            <p:ph sz="quarter" idx="11"/>
          </p:nvPr>
        </p:nvSpPr>
        <p:spPr>
          <a:xfrm>
            <a:off x="455613" y="1689690"/>
            <a:ext cx="8232775" cy="4757325"/>
          </a:xfrm>
        </p:spPr>
        <p:txBody>
          <a:bodyPr/>
          <a:lstStyle/>
          <a:p>
            <a:r>
              <a:rPr lang="zh-CN" altLang="en-US" sz="1400" dirty="0" smtClean="0">
                <a:latin typeface="SimSun" panose="02010600030101010101" pitchFamily="2" charset="-122"/>
                <a:ea typeface="SimSun" panose="02010600030101010101" pitchFamily="2" charset="-122"/>
              </a:rPr>
              <a:t>为了修复新发现的漏洞或者</a:t>
            </a:r>
            <a:r>
              <a:rPr lang="zh-CN" altLang="en-US" sz="1400" dirty="0">
                <a:latin typeface="SimSun" panose="02010600030101010101" pitchFamily="2" charset="-122"/>
                <a:ea typeface="SimSun" panose="02010600030101010101" pitchFamily="2" charset="-122"/>
              </a:rPr>
              <a:t>追加新的机能操作系统，</a:t>
            </a:r>
            <a:r>
              <a:rPr lang="zh-CN" altLang="en-US" sz="1400" dirty="0" smtClean="0">
                <a:latin typeface="SimSun" panose="02010600030101010101" pitchFamily="2" charset="-122"/>
                <a:ea typeface="SimSun" panose="02010600030101010101" pitchFamily="2" charset="-122"/>
              </a:rPr>
              <a:t>中间软件和应用程序需要定期打补丁</a:t>
            </a:r>
            <a:r>
              <a:rPr lang="en-GB" sz="1400" dirty="0" smtClean="0">
                <a:latin typeface="SimSun" panose="02010600030101010101" pitchFamily="2" charset="-122"/>
                <a:ea typeface="SimSun" panose="02010600030101010101" pitchFamily="2" charset="-122"/>
              </a:rPr>
              <a:t>. </a:t>
            </a:r>
          </a:p>
          <a:p>
            <a:r>
              <a:rPr lang="zh-CN" altLang="en-US" sz="1400" dirty="0" smtClean="0">
                <a:latin typeface="SimSun" panose="02010600030101010101" pitchFamily="2" charset="-122"/>
                <a:ea typeface="SimSun" panose="02010600030101010101" pitchFamily="2" charset="-122"/>
              </a:rPr>
              <a:t>在非企业领域，通常是通过打开操作系统</a:t>
            </a:r>
            <a:r>
              <a:rPr lang="zh-CN" altLang="en-US" sz="1400" dirty="0">
                <a:latin typeface="SimSun" panose="02010600030101010101" pitchFamily="2" charset="-122"/>
                <a:ea typeface="SimSun" panose="02010600030101010101" pitchFamily="2" charset="-122"/>
              </a:rPr>
              <a:t>或中间件的自动更新功能来处</a:t>
            </a:r>
            <a:r>
              <a:rPr lang="zh-CN" altLang="en-US" sz="1400" dirty="0" smtClean="0">
                <a:latin typeface="SimSun" panose="02010600030101010101" pitchFamily="2" charset="-122"/>
                <a:ea typeface="SimSun" panose="02010600030101010101" pitchFamily="2" charset="-122"/>
              </a:rPr>
              <a:t>理更新的</a:t>
            </a:r>
            <a:r>
              <a:rPr lang="en-GB" sz="1400" dirty="0" smtClean="0">
                <a:latin typeface="SimSun" panose="02010600030101010101" pitchFamily="2" charset="-122"/>
                <a:ea typeface="SimSun" panose="02010600030101010101" pitchFamily="2" charset="-122"/>
              </a:rPr>
              <a:t>. </a:t>
            </a:r>
          </a:p>
          <a:p>
            <a:r>
              <a:rPr lang="ja-JP" altLang="en-US" sz="1400" dirty="0" smtClean="0">
                <a:latin typeface="SimSun" panose="02010600030101010101" pitchFamily="2" charset="-122"/>
                <a:ea typeface="SimSun" panose="02010600030101010101" pitchFamily="2" charset="-122"/>
              </a:rPr>
              <a:t>软件补丁</a:t>
            </a:r>
            <a:endParaRPr lang="en-US" altLang="ja-JP" sz="1400" dirty="0" smtClean="0">
              <a:latin typeface="SimSun" panose="02010600030101010101" pitchFamily="2" charset="-122"/>
              <a:ea typeface="SimSun" panose="02010600030101010101" pitchFamily="2" charset="-122"/>
            </a:endParaRPr>
          </a:p>
          <a:p>
            <a:pPr lvl="1"/>
            <a:r>
              <a:rPr lang="ja-JP" altLang="en-US" sz="1400" dirty="0">
                <a:latin typeface="SimSun" panose="02010600030101010101" pitchFamily="2" charset="-122"/>
                <a:ea typeface="SimSun" panose="02010600030101010101" pitchFamily="2" charset="-122"/>
              </a:rPr>
              <a:t>安全性：修复漏洞</a:t>
            </a:r>
            <a:endParaRPr lang="en-GB" altLang="ja-JP" sz="1400" dirty="0">
              <a:latin typeface="SimSun" panose="02010600030101010101" pitchFamily="2" charset="-122"/>
              <a:ea typeface="SimSun" panose="02010600030101010101" pitchFamily="2" charset="-122"/>
            </a:endParaRPr>
          </a:p>
          <a:p>
            <a:pPr lvl="1"/>
            <a:r>
              <a:rPr lang="zh-CN" altLang="en-US" sz="1400" dirty="0">
                <a:latin typeface="SimSun" panose="02010600030101010101" pitchFamily="2" charset="-122"/>
                <a:ea typeface="SimSun" panose="02010600030101010101" pitchFamily="2" charset="-122"/>
              </a:rPr>
              <a:t>功能：添加新功能，改进既存性能，改变软件的行为</a:t>
            </a:r>
            <a:endParaRPr lang="en-GB" altLang="ja-JP" sz="1400" dirty="0">
              <a:latin typeface="SimSun" panose="02010600030101010101" pitchFamily="2" charset="-122"/>
              <a:ea typeface="SimSun" panose="02010600030101010101" pitchFamily="2" charset="-122"/>
            </a:endParaRPr>
          </a:p>
          <a:p>
            <a:pPr lvl="1"/>
            <a:r>
              <a:rPr lang="zh-CN" altLang="en-US" sz="1400" dirty="0">
                <a:latin typeface="SimSun" panose="02010600030101010101" pitchFamily="2" charset="-122"/>
                <a:ea typeface="SimSun" panose="02010600030101010101" pitchFamily="2" charset="-122"/>
              </a:rPr>
              <a:t>受影响系统：虚拟机管理程序，操作系统，中间软件，应用软</a:t>
            </a:r>
            <a:r>
              <a:rPr lang="zh-CN" altLang="en-US" sz="1400" dirty="0" smtClean="0">
                <a:latin typeface="SimSun" panose="02010600030101010101" pitchFamily="2" charset="-122"/>
                <a:ea typeface="SimSun" panose="02010600030101010101" pitchFamily="2" charset="-122"/>
              </a:rPr>
              <a:t>件</a:t>
            </a:r>
            <a:endParaRPr lang="en-US" altLang="ja-JP" sz="1400" dirty="0" smtClean="0">
              <a:latin typeface="SimSun" panose="02010600030101010101" pitchFamily="2" charset="-122"/>
              <a:ea typeface="SimSun" panose="02010600030101010101" pitchFamily="2" charset="-122"/>
            </a:endParaRPr>
          </a:p>
          <a:p>
            <a:r>
              <a:rPr lang="zh-CN" altLang="en-US" sz="1400" dirty="0">
                <a:latin typeface="SimSun" panose="02010600030101010101" pitchFamily="2" charset="-122"/>
                <a:ea typeface="SimSun" panose="02010600030101010101" pitchFamily="2" charset="-122"/>
              </a:rPr>
              <a:t>供应商工具</a:t>
            </a:r>
            <a:r>
              <a:rPr lang="zh-CN" altLang="en-US" sz="1400" dirty="0" smtClean="0">
                <a:latin typeface="SimSun" panose="02010600030101010101" pitchFamily="2" charset="-122"/>
                <a:ea typeface="SimSun" panose="02010600030101010101" pitchFamily="2" charset="-122"/>
              </a:rPr>
              <a:t>：</a:t>
            </a:r>
            <a:r>
              <a:rPr lang="en-US" altLang="zh-CN" sz="1400" dirty="0" smtClean="0">
                <a:latin typeface="SimSun" panose="02010600030101010101" pitchFamily="2" charset="-122"/>
                <a:ea typeface="SimSun" panose="02010600030101010101" pitchFamily="2" charset="-122"/>
              </a:rPr>
              <a:t>Windows Server </a:t>
            </a:r>
            <a:r>
              <a:rPr lang="en-US" altLang="zh-CN" sz="1400" dirty="0">
                <a:latin typeface="SimSun" panose="02010600030101010101" pitchFamily="2" charset="-122"/>
                <a:ea typeface="SimSun" panose="02010600030101010101" pitchFamily="2" charset="-122"/>
              </a:rPr>
              <a:t>Update</a:t>
            </a:r>
            <a:r>
              <a:rPr lang="zh-CN" altLang="en-US" sz="1400" dirty="0" smtClean="0">
                <a:latin typeface="SimSun" panose="02010600030101010101" pitchFamily="2" charset="-122"/>
                <a:ea typeface="SimSun" panose="02010600030101010101" pitchFamily="2" charset="-122"/>
              </a:rPr>
              <a:t>，</a:t>
            </a:r>
            <a:r>
              <a:rPr lang="en-GB" sz="1400" dirty="0" err="1" smtClean="0">
                <a:latin typeface="SimSun" panose="02010600030101010101" pitchFamily="2" charset="-122"/>
                <a:ea typeface="SimSun" panose="02010600030101010101" pitchFamily="2" charset="-122"/>
              </a:rPr>
              <a:t>Redhat</a:t>
            </a:r>
            <a:r>
              <a:rPr lang="en-GB" sz="1400" dirty="0" smtClean="0">
                <a:latin typeface="SimSun" panose="02010600030101010101" pitchFamily="2" charset="-122"/>
                <a:ea typeface="SimSun" panose="02010600030101010101" pitchFamily="2" charset="-122"/>
              </a:rPr>
              <a:t> Network</a:t>
            </a:r>
            <a:r>
              <a:rPr lang="zh-CN" altLang="en-US" sz="1400" dirty="0" smtClean="0">
                <a:latin typeface="SimSun" panose="02010600030101010101" pitchFamily="2" charset="-122"/>
                <a:ea typeface="SimSun" panose="02010600030101010101" pitchFamily="2" charset="-122"/>
              </a:rPr>
              <a:t>等</a:t>
            </a:r>
            <a:r>
              <a:rPr lang="en-GB" sz="1400" dirty="0" smtClean="0">
                <a:latin typeface="SimSun" panose="02010600030101010101" pitchFamily="2" charset="-122"/>
                <a:ea typeface="SimSun" panose="02010600030101010101" pitchFamily="2" charset="-122"/>
              </a:rPr>
              <a:t>.</a:t>
            </a:r>
          </a:p>
          <a:p>
            <a:pPr lvl="1"/>
            <a:r>
              <a:rPr lang="ja-JP" altLang="en-US" sz="1400" dirty="0" smtClean="0">
                <a:latin typeface="SimSun" panose="02010600030101010101" pitchFamily="2" charset="-122"/>
                <a:ea typeface="SimSun" panose="02010600030101010101" pitchFamily="2" charset="-122"/>
              </a:rPr>
              <a:t>只处</a:t>
            </a:r>
            <a:r>
              <a:rPr lang="ja-JP" altLang="en-US" sz="1400" dirty="0">
                <a:latin typeface="SimSun" panose="02010600030101010101" pitchFamily="2" charset="-122"/>
                <a:ea typeface="SimSun" panose="02010600030101010101" pitchFamily="2" charset="-122"/>
              </a:rPr>
              <a:t>理</a:t>
            </a:r>
            <a:r>
              <a:rPr lang="en-GB" sz="1400" dirty="0">
                <a:latin typeface="SimSun" panose="02010600030101010101" pitchFamily="2" charset="-122"/>
                <a:ea typeface="SimSun" panose="02010600030101010101" pitchFamily="2" charset="-122"/>
              </a:rPr>
              <a:t>Windows/ Red Hat</a:t>
            </a:r>
            <a:r>
              <a:rPr lang="ja-JP" altLang="en-US" sz="1400" dirty="0">
                <a:latin typeface="SimSun" panose="02010600030101010101" pitchFamily="2" charset="-122"/>
                <a:ea typeface="SimSun" panose="02010600030101010101" pitchFamily="2" charset="-122"/>
              </a:rPr>
              <a:t>系统</a:t>
            </a:r>
            <a:endParaRPr lang="en-GB" sz="1400" dirty="0">
              <a:latin typeface="SimSun" panose="02010600030101010101" pitchFamily="2" charset="-122"/>
              <a:ea typeface="SimSun" panose="02010600030101010101" pitchFamily="2" charset="-122"/>
            </a:endParaRPr>
          </a:p>
          <a:p>
            <a:pPr lvl="1"/>
            <a:r>
              <a:rPr lang="zh-CN" altLang="en-US" sz="1400" dirty="0" smtClean="0">
                <a:latin typeface="SimSun" panose="02010600030101010101" pitchFamily="2" charset="-122"/>
                <a:ea typeface="SimSun" panose="02010600030101010101" pitchFamily="2" charset="-122"/>
              </a:rPr>
              <a:t>没有集成</a:t>
            </a:r>
            <a:r>
              <a:rPr lang="ja-JP" altLang="en-US" sz="1400" dirty="0">
                <a:latin typeface="SimSun" panose="02010600030101010101" pitchFamily="2" charset="-122"/>
                <a:ea typeface="SimSun" panose="02010600030101010101" pitchFamily="2" charset="-122"/>
              </a:rPr>
              <a:t>其他管理</a:t>
            </a:r>
            <a:r>
              <a:rPr lang="ja-JP" altLang="en-US" sz="1400" dirty="0" smtClean="0">
                <a:latin typeface="SimSun" panose="02010600030101010101" pitchFamily="2" charset="-122"/>
                <a:ea typeface="SimSun" panose="02010600030101010101" pitchFamily="2" charset="-122"/>
              </a:rPr>
              <a:t>工具</a:t>
            </a:r>
            <a:r>
              <a:rPr lang="zh-CN" altLang="en-US" sz="1400" dirty="0" smtClean="0">
                <a:latin typeface="SimSun" panose="02010600030101010101" pitchFamily="2" charset="-122"/>
                <a:ea typeface="SimSun" panose="02010600030101010101" pitchFamily="2" charset="-122"/>
              </a:rPr>
              <a:t>的独立工具（</a:t>
            </a:r>
            <a:r>
              <a:rPr lang="en-US" altLang="zh-CN" sz="1400" dirty="0">
                <a:latin typeface="SimSun" panose="02010600030101010101" pitchFamily="2" charset="-122"/>
                <a:ea typeface="SimSun" panose="02010600030101010101" pitchFamily="2" charset="-122"/>
              </a:rPr>
              <a:t>Standalone tool</a:t>
            </a:r>
            <a:r>
              <a:rPr lang="zh-CN" altLang="en-US" sz="1400" dirty="0" smtClean="0">
                <a:latin typeface="SimSun" panose="02010600030101010101" pitchFamily="2" charset="-122"/>
                <a:ea typeface="SimSun" panose="02010600030101010101" pitchFamily="2" charset="-122"/>
              </a:rPr>
              <a:t>）：如，</a:t>
            </a:r>
            <a:r>
              <a:rPr lang="en-GB" sz="1400" dirty="0" smtClean="0">
                <a:latin typeface="SimSun" panose="02010600030101010101" pitchFamily="2" charset="-122"/>
                <a:ea typeface="SimSun" panose="02010600030101010101" pitchFamily="2" charset="-122"/>
              </a:rPr>
              <a:t>change </a:t>
            </a:r>
            <a:r>
              <a:rPr lang="en-GB" sz="1400" dirty="0">
                <a:latin typeface="SimSun" panose="02010600030101010101" pitchFamily="2" charset="-122"/>
                <a:ea typeface="SimSun" panose="02010600030101010101" pitchFamily="2" charset="-122"/>
              </a:rPr>
              <a:t>management</a:t>
            </a:r>
          </a:p>
          <a:p>
            <a:r>
              <a:rPr lang="ja-JP" altLang="en-US" sz="1400" dirty="0">
                <a:latin typeface="SimSun" panose="02010600030101010101" pitchFamily="2" charset="-122"/>
                <a:ea typeface="SimSun" panose="02010600030101010101" pitchFamily="2" charset="-122"/>
              </a:rPr>
              <a:t>第三方工具</a:t>
            </a:r>
            <a:r>
              <a:rPr lang="en-GB" sz="1400" dirty="0" smtClean="0">
                <a:latin typeface="SimSun" panose="02010600030101010101" pitchFamily="2" charset="-122"/>
                <a:ea typeface="SimSun" panose="02010600030101010101" pitchFamily="2" charset="-122"/>
              </a:rPr>
              <a:t>: </a:t>
            </a:r>
            <a:r>
              <a:rPr lang="en-GB" sz="1400" dirty="0">
                <a:latin typeface="SimSun" panose="02010600030101010101" pitchFamily="2" charset="-122"/>
                <a:ea typeface="SimSun" panose="02010600030101010101" pitchFamily="2" charset="-122"/>
              </a:rPr>
              <a:t>IBM TEM, VMware vSphere update manager</a:t>
            </a:r>
          </a:p>
          <a:p>
            <a:pPr lvl="1"/>
            <a:r>
              <a:rPr lang="en-GB" sz="1400" dirty="0" smtClean="0">
                <a:latin typeface="SimSun" panose="02010600030101010101" pitchFamily="2" charset="-122"/>
                <a:ea typeface="SimSun" panose="02010600030101010101" pitchFamily="2" charset="-122"/>
              </a:rPr>
              <a:t>TEM</a:t>
            </a:r>
            <a:r>
              <a:rPr lang="en-GB" sz="1400" dirty="0">
                <a:latin typeface="SimSun" panose="02010600030101010101" pitchFamily="2" charset="-122"/>
                <a:ea typeface="SimSun" panose="02010600030101010101" pitchFamily="2" charset="-122"/>
              </a:rPr>
              <a:t>: Hypervisor, guests, middlewares, apps. </a:t>
            </a:r>
            <a:r>
              <a:rPr lang="en-GB" sz="1400" dirty="0" smtClean="0">
                <a:latin typeface="SimSun" panose="02010600030101010101" pitchFamily="2" charset="-122"/>
                <a:ea typeface="SimSun" panose="02010600030101010101" pitchFamily="2" charset="-122"/>
              </a:rPr>
              <a:t>vSphere</a:t>
            </a:r>
            <a:r>
              <a:rPr lang="en-GB" sz="1400" dirty="0">
                <a:latin typeface="SimSun" panose="02010600030101010101" pitchFamily="2" charset="-122"/>
                <a:ea typeface="SimSun" panose="02010600030101010101" pitchFamily="2" charset="-122"/>
              </a:rPr>
              <a:t>: hypervisor &amp; guests</a:t>
            </a:r>
          </a:p>
          <a:p>
            <a:pPr lvl="1"/>
            <a:r>
              <a:rPr lang="zh-CN" altLang="en-US" sz="1400" dirty="0" smtClean="0">
                <a:latin typeface="SimSun" panose="02010600030101010101" pitchFamily="2" charset="-122"/>
                <a:ea typeface="SimSun" panose="02010600030101010101" pitchFamily="2" charset="-122"/>
              </a:rPr>
              <a:t>计划和部署变得更容易，但是很大程度上依赖于人的参与而不是工具的集成</a:t>
            </a:r>
            <a:endParaRPr lang="en-GB" sz="1400" dirty="0">
              <a:latin typeface="SimSun" panose="02010600030101010101" pitchFamily="2" charset="-122"/>
              <a:ea typeface="SimSun" panose="02010600030101010101" pitchFamily="2" charset="-122"/>
            </a:endParaRPr>
          </a:p>
          <a:p>
            <a:r>
              <a:rPr lang="en-GB" sz="1400" dirty="0" smtClean="0">
                <a:latin typeface="SimSun" panose="02010600030101010101" pitchFamily="2" charset="-122"/>
                <a:ea typeface="SimSun" panose="02010600030101010101" pitchFamily="2" charset="-122"/>
              </a:rPr>
              <a:t>Amazon </a:t>
            </a:r>
            <a:r>
              <a:rPr lang="en-GB" sz="1400" dirty="0">
                <a:latin typeface="SimSun" panose="02010600030101010101" pitchFamily="2" charset="-122"/>
                <a:ea typeface="SimSun" panose="02010600030101010101" pitchFamily="2" charset="-122"/>
              </a:rPr>
              <a:t>EC2, Microsoft Azure, </a:t>
            </a:r>
            <a:r>
              <a:rPr lang="zh-CN" altLang="en-US" sz="1400" dirty="0" smtClean="0">
                <a:latin typeface="SimSun" panose="02010600030101010101" pitchFamily="2" charset="-122"/>
                <a:ea typeface="SimSun" panose="02010600030101010101" pitchFamily="2" charset="-122"/>
              </a:rPr>
              <a:t>各种私有云</a:t>
            </a:r>
            <a:endParaRPr lang="en-GB" sz="1400" dirty="0">
              <a:latin typeface="SimSun" panose="02010600030101010101" pitchFamily="2" charset="-122"/>
              <a:ea typeface="SimSun" panose="02010600030101010101" pitchFamily="2" charset="-122"/>
            </a:endParaRPr>
          </a:p>
          <a:p>
            <a:pPr lvl="1"/>
            <a:r>
              <a:rPr lang="zh-CN" altLang="en-US" sz="1400" dirty="0" smtClean="0">
                <a:latin typeface="SimSun" panose="02010600030101010101" pitchFamily="2" charset="-122"/>
                <a:ea typeface="SimSun" panose="02010600030101010101" pitchFamily="2" charset="-122"/>
              </a:rPr>
              <a:t>用户进行补丁管理</a:t>
            </a:r>
            <a:r>
              <a:rPr lang="en-GB" sz="1400" dirty="0" smtClean="0">
                <a:latin typeface="SimSun" panose="02010600030101010101" pitchFamily="2" charset="-122"/>
                <a:ea typeface="SimSun" panose="02010600030101010101" pitchFamily="2" charset="-122"/>
              </a:rPr>
              <a:t>.</a:t>
            </a:r>
            <a:r>
              <a:rPr lang="zh-CN" altLang="en-US" sz="1400" dirty="0">
                <a:latin typeface="SimSun" panose="02010600030101010101" pitchFamily="2" charset="-122"/>
                <a:ea typeface="SimSun" panose="02010600030101010101" pitchFamily="2" charset="-122"/>
              </a:rPr>
              <a:t> </a:t>
            </a:r>
            <a:r>
              <a:rPr lang="zh-CN" altLang="en-US" sz="1400" dirty="0" smtClean="0">
                <a:latin typeface="SimSun" panose="02010600030101010101" pitchFamily="2" charset="-122"/>
                <a:ea typeface="SimSun" panose="02010600030101010101" pitchFamily="2" charset="-122"/>
              </a:rPr>
              <a:t>虚拟机</a:t>
            </a:r>
            <a:r>
              <a:rPr lang="zh-CN" altLang="en-US" sz="1400" dirty="0">
                <a:latin typeface="SimSun" panose="02010600030101010101" pitchFamily="2" charset="-122"/>
                <a:ea typeface="SimSun" panose="02010600030101010101" pitchFamily="2" charset="-122"/>
              </a:rPr>
              <a:t>在第一次</a:t>
            </a:r>
            <a:r>
              <a:rPr lang="zh-CN" altLang="en-US" sz="1400" dirty="0" smtClean="0">
                <a:latin typeface="SimSun" panose="02010600030101010101" pitchFamily="2" charset="-122"/>
                <a:ea typeface="SimSun" panose="02010600030101010101" pitchFamily="2" charset="-122"/>
              </a:rPr>
              <a:t>配置的时候有一些潜在的脆弱性</a:t>
            </a:r>
            <a:endParaRPr lang="en-GB" sz="1400" dirty="0">
              <a:latin typeface="SimSun" panose="02010600030101010101" pitchFamily="2" charset="-122"/>
              <a:ea typeface="SimSun" panose="02010600030101010101" pitchFamily="2" charset="-122"/>
            </a:endParaRPr>
          </a:p>
        </p:txBody>
      </p:sp>
      <p:sp>
        <p:nvSpPr>
          <p:cNvPr id="9" name="Title 8"/>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补丁修复</a:t>
            </a:r>
            <a:endParaRPr lang="en-GB" dirty="0">
              <a:latin typeface="SimSun" panose="02010600030101010101" pitchFamily="2" charset="-122"/>
              <a:ea typeface="SimSun" panose="02010600030101010101" pitchFamily="2" charset="-122"/>
            </a:endParaRPr>
          </a:p>
        </p:txBody>
      </p:sp>
      <p:sp>
        <p:nvSpPr>
          <p:cNvPr id="5"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2409652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1">
                                            <p:txEl>
                                              <p:pRg st="12" end="12"/>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企业中的补丁管理</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zh-CN" altLang="en-US" dirty="0" smtClean="0">
                <a:latin typeface="SimSun" panose="02010600030101010101" pitchFamily="2" charset="-122"/>
                <a:ea typeface="SimSun" panose="02010600030101010101" pitchFamily="2" charset="-122"/>
              </a:rPr>
              <a:t>传统企业补丁管理中面临的</a:t>
            </a:r>
            <a:r>
              <a:rPr lang="zh-CN" altLang="en-US" dirty="0">
                <a:latin typeface="SimSun" panose="02010600030101010101" pitchFamily="2" charset="-122"/>
                <a:ea typeface="SimSun" panose="02010600030101010101" pitchFamily="2" charset="-122"/>
              </a:rPr>
              <a:t>挑战</a:t>
            </a:r>
            <a:endParaRPr lang="en-GB" dirty="0" smtClean="0">
              <a:latin typeface="SimSun" panose="02010600030101010101" pitchFamily="2" charset="-122"/>
              <a:ea typeface="SimSun" panose="02010600030101010101" pitchFamily="2" charset="-122"/>
            </a:endParaRPr>
          </a:p>
          <a:p>
            <a:pPr lvl="1"/>
            <a:r>
              <a:rPr lang="zh-CN" altLang="ja-JP" dirty="0">
                <a:latin typeface="SimSun" panose="02010600030101010101" pitchFamily="2" charset="-122"/>
                <a:ea typeface="SimSun" panose="02010600030101010101" pitchFamily="2" charset="-122"/>
              </a:rPr>
              <a:t>缺乏标准化的软件/硬件/服务</a:t>
            </a:r>
            <a:endParaRPr lang="en-GB" dirty="0" smtClean="0">
              <a:latin typeface="SimSun" panose="02010600030101010101" pitchFamily="2" charset="-122"/>
              <a:ea typeface="SimSun" panose="02010600030101010101" pitchFamily="2" charset="-122"/>
            </a:endParaRPr>
          </a:p>
          <a:p>
            <a:pPr lvl="2"/>
            <a:r>
              <a:rPr lang="zh-CN" altLang="en-US" dirty="0" smtClean="0">
                <a:latin typeface="SimSun" panose="02010600030101010101" pitchFamily="2" charset="-122"/>
                <a:ea typeface="SimSun" panose="02010600030101010101" pitchFamily="2" charset="-122"/>
              </a:rPr>
              <a:t>每一步都有人为干预</a:t>
            </a:r>
            <a:r>
              <a:rPr lang="zh-CN" altLang="en-US" dirty="0">
                <a:latin typeface="SimSun" panose="02010600030101010101" pitchFamily="2" charset="-122"/>
                <a:ea typeface="SimSun" panose="02010600030101010101" pitchFamily="2" charset="-122"/>
              </a:rPr>
              <a:t>（通知，批准</a:t>
            </a:r>
            <a:r>
              <a:rPr lang="zh-CN" altLang="en-US" dirty="0" smtClean="0">
                <a:latin typeface="SimSun" panose="02010600030101010101" pitchFamily="2" charset="-122"/>
                <a:ea typeface="SimSun" panose="02010600030101010101" pitchFamily="2" charset="-122"/>
              </a:rPr>
              <a:t>，计划，部署，</a:t>
            </a:r>
            <a:r>
              <a:rPr lang="zh-CN" altLang="en-US" dirty="0">
                <a:latin typeface="SimSun" panose="02010600030101010101" pitchFamily="2" charset="-122"/>
                <a:ea typeface="SimSun" panose="02010600030101010101" pitchFamily="2" charset="-122"/>
              </a:rPr>
              <a:t>部署</a:t>
            </a:r>
            <a:r>
              <a:rPr lang="zh-CN" altLang="en-US" dirty="0" smtClean="0">
                <a:latin typeface="SimSun" panose="02010600030101010101" pitchFamily="2" charset="-122"/>
                <a:ea typeface="SimSun" panose="02010600030101010101" pitchFamily="2" charset="-122"/>
              </a:rPr>
              <a:t>后的后续操作）</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每个客户都想要不同的补丁管理方案，</a:t>
            </a:r>
            <a:r>
              <a:rPr lang="zh-CN" altLang="en-US" dirty="0">
                <a:latin typeface="SimSun" panose="02010600030101010101" pitchFamily="2" charset="-122"/>
                <a:ea typeface="SimSun" panose="02010600030101010101" pitchFamily="2" charset="-122"/>
              </a:rPr>
              <a:t>以满足他们的需求</a:t>
            </a:r>
            <a:endParaRPr lang="en-GB" dirty="0" smtClean="0">
              <a:latin typeface="SimSun" panose="02010600030101010101" pitchFamily="2" charset="-122"/>
              <a:ea typeface="SimSun" panose="02010600030101010101" pitchFamily="2" charset="-122"/>
            </a:endParaRPr>
          </a:p>
          <a:p>
            <a:pPr lvl="2"/>
            <a:r>
              <a:rPr lang="zh-CN" altLang="en-US" dirty="0" smtClean="0">
                <a:latin typeface="SimSun" panose="02010600030101010101" pitchFamily="2" charset="-122"/>
                <a:ea typeface="SimSun" panose="02010600030101010101" pitchFamily="2" charset="-122"/>
              </a:rPr>
              <a:t>提供给一方客户的补丁管理方案可能与另一方客户完全不同</a:t>
            </a:r>
            <a:endParaRPr lang="en-GB" dirty="0">
              <a:latin typeface="SimSun" panose="02010600030101010101" pitchFamily="2" charset="-122"/>
              <a:ea typeface="SimSun" panose="02010600030101010101" pitchFamily="2" charset="-122"/>
            </a:endParaRPr>
          </a:p>
          <a:p>
            <a:pPr lvl="2"/>
            <a:r>
              <a:rPr lang="zh-CN" altLang="en-US" dirty="0" smtClean="0">
                <a:latin typeface="SimSun" panose="02010600030101010101" pitchFamily="2" charset="-122"/>
                <a:ea typeface="SimSun" panose="02010600030101010101" pitchFamily="2" charset="-122"/>
              </a:rPr>
              <a:t>解决方案很少复用或不能被复用</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劳动力密集和成本无效</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ja-JP" altLang="en-US" dirty="0">
                <a:latin typeface="SimSun" panose="02010600030101010101" pitchFamily="2" charset="-122"/>
                <a:ea typeface="SimSun" panose="02010600030101010101" pitchFamily="2" charset="-122"/>
              </a:rPr>
              <a:t>补丁修复</a:t>
            </a:r>
            <a:endParaRPr lang="en-GB" dirty="0">
              <a:latin typeface="SimSun" panose="02010600030101010101" pitchFamily="2" charset="-122"/>
              <a:ea typeface="SimSun" panose="02010600030101010101" pitchFamily="2" charset="-122"/>
            </a:endParaRPr>
          </a:p>
        </p:txBody>
      </p:sp>
      <p:pic>
        <p:nvPicPr>
          <p:cNvPr id="205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1112" y="4245893"/>
            <a:ext cx="2117276"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2470329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openclipart.org/image/800px/svg_to_png/193560/140062504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6028928" y="4927044"/>
            <a:ext cx="3026353" cy="1532091"/>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云的补丁管理</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zh-CN" altLang="en-US" dirty="0" smtClean="0">
                <a:latin typeface="SimSun" panose="02010600030101010101" pitchFamily="2" charset="-122"/>
                <a:ea typeface="SimSun" panose="02010600030101010101" pitchFamily="2" charset="-122"/>
              </a:rPr>
              <a:t>云面临的机遇</a:t>
            </a:r>
            <a:endParaRPr lang="en-GB" dirty="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高标准化的软件</a:t>
            </a:r>
            <a:r>
              <a:rPr lang="en-US" altLang="zh-CN"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硬件</a:t>
            </a:r>
            <a:r>
              <a:rPr lang="zh-CN" altLang="en-US" dirty="0">
                <a:latin typeface="SimSun" panose="02010600030101010101" pitchFamily="2" charset="-122"/>
                <a:ea typeface="SimSun" panose="02010600030101010101" pitchFamily="2" charset="-122"/>
              </a:rPr>
              <a:t>群</a:t>
            </a:r>
            <a:endParaRPr lang="en-GB" dirty="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针</a:t>
            </a:r>
            <a:r>
              <a:rPr lang="zh-CN" altLang="en-US" dirty="0">
                <a:latin typeface="SimSun" panose="02010600030101010101" pitchFamily="2" charset="-122"/>
                <a:ea typeface="SimSun" panose="02010600030101010101" pitchFamily="2" charset="-122"/>
              </a:rPr>
              <a:t>对</a:t>
            </a:r>
            <a:r>
              <a:rPr lang="zh-CN" altLang="en-US" dirty="0" smtClean="0">
                <a:latin typeface="SimSun" panose="02010600030101010101" pitchFamily="2" charset="-122"/>
                <a:ea typeface="SimSun" panose="02010600030101010101" pitchFamily="2" charset="-122"/>
              </a:rPr>
              <a:t>众多</a:t>
            </a:r>
            <a:r>
              <a:rPr lang="en-US" altLang="zh-CN" dirty="0" smtClean="0">
                <a:latin typeface="SimSun" panose="02010600030101010101" pitchFamily="2" charset="-122"/>
                <a:ea typeface="SimSun" panose="02010600030101010101" pitchFamily="2" charset="-122"/>
              </a:rPr>
              <a:t>IT</a:t>
            </a:r>
            <a:r>
              <a:rPr lang="zh-CN" altLang="en-US" dirty="0" smtClean="0">
                <a:latin typeface="SimSun" panose="02010600030101010101" pitchFamily="2" charset="-122"/>
                <a:ea typeface="SimSun" panose="02010600030101010101" pitchFamily="2" charset="-122"/>
              </a:rPr>
              <a:t>交付流程，积极提高自动化服务水平</a:t>
            </a:r>
            <a:endParaRPr lang="en-GB" dirty="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增加补丁管理</a:t>
            </a:r>
            <a:endParaRPr lang="en-GB" dirty="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以更低的成本为客户提供更多标准化的解决方案</a:t>
            </a:r>
            <a:endParaRPr lang="en-GB" dirty="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通</a:t>
            </a:r>
            <a:r>
              <a:rPr lang="zh-CN" altLang="en-US" dirty="0">
                <a:latin typeface="SimSun" panose="02010600030101010101" pitchFamily="2" charset="-122"/>
                <a:ea typeface="SimSun" panose="02010600030101010101" pitchFamily="2" charset="-122"/>
              </a:rPr>
              <a:t>过</a:t>
            </a:r>
            <a:r>
              <a:rPr lang="zh-CN" altLang="en-US" dirty="0" smtClean="0">
                <a:latin typeface="SimSun" panose="02010600030101010101" pitchFamily="2" charset="-122"/>
                <a:ea typeface="SimSun" panose="02010600030101010101" pitchFamily="2" charset="-122"/>
              </a:rPr>
              <a:t>供应商的低运营成本从而使客户愿意接受一些标准化的服务例如补丁管理</a:t>
            </a:r>
            <a:endParaRPr lang="en-GB" dirty="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云面临</a:t>
            </a:r>
            <a:r>
              <a:rPr lang="zh-CN" altLang="en-US" dirty="0" smtClean="0">
                <a:latin typeface="SimSun" panose="02010600030101010101" pitchFamily="2" charset="-122"/>
                <a:ea typeface="SimSun" panose="02010600030101010101" pitchFamily="2" charset="-122"/>
              </a:rPr>
              <a:t>的挑战</a:t>
            </a:r>
            <a:r>
              <a:rPr lang="en-GB" dirty="0" smtClean="0">
                <a:latin typeface="SimSun" panose="02010600030101010101" pitchFamily="2" charset="-122"/>
                <a:ea typeface="SimSun" panose="02010600030101010101" pitchFamily="2" charset="-122"/>
              </a:rPr>
              <a:t> </a:t>
            </a:r>
          </a:p>
          <a:p>
            <a:pPr lvl="1"/>
            <a:r>
              <a:rPr lang="zh-CN" altLang="en-US" dirty="0" smtClean="0">
                <a:latin typeface="SimSun" panose="02010600030101010101" pitchFamily="2" charset="-122"/>
                <a:ea typeface="SimSun" panose="02010600030101010101" pitchFamily="2" charset="-122"/>
              </a:rPr>
              <a:t>由于虚拟化导致的大量的多租户架构的更深层的垂直叠加</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ja-JP" altLang="en-US" dirty="0">
                <a:latin typeface="SimSun" panose="02010600030101010101" pitchFamily="2" charset="-122"/>
                <a:ea typeface="SimSun" panose="02010600030101010101" pitchFamily="2" charset="-122"/>
              </a:rPr>
              <a:t>补丁修复</a:t>
            </a:r>
            <a:endParaRPr lang="en-GB" dirty="0">
              <a:latin typeface="SimSun" panose="02010600030101010101" pitchFamily="2" charset="-122"/>
              <a:ea typeface="SimSun" panose="02010600030101010101" pitchFamily="2" charset="-122"/>
            </a:endParaRPr>
          </a:p>
        </p:txBody>
      </p:sp>
      <p:pic>
        <p:nvPicPr>
          <p:cNvPr id="3076" name="Picture 4" descr="https://openclipart.org/image/800px/svg_to_png/22712/pitr_Patch_icon_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8928" y="5175839"/>
            <a:ext cx="1283296" cy="1283296"/>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3862551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a:latin typeface="SimSun" panose="02010600030101010101" pitchFamily="2" charset="-122"/>
                <a:ea typeface="SimSun" panose="02010600030101010101" pitchFamily="2" charset="-122"/>
              </a:rPr>
              <a:t>监控剖析</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pPr marL="0" indent="0">
              <a:buNone/>
            </a:pPr>
            <a:r>
              <a:rPr lang="zh-CN" altLang="en-US" dirty="0">
                <a:latin typeface="SimSun" panose="02010600030101010101" pitchFamily="2" charset="-122"/>
                <a:ea typeface="SimSun" panose="02010600030101010101" pitchFamily="2" charset="-122"/>
              </a:rPr>
              <a:t>我们需要什么</a:t>
            </a:r>
            <a:endParaRPr lang="en-GB" dirty="0" smtClean="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核心</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掌控</a:t>
            </a:r>
            <a:r>
              <a:rPr lang="zh-CN" altLang="ja-JP" dirty="0">
                <a:latin typeface="SimSun" panose="02010600030101010101" pitchFamily="2" charset="-122"/>
                <a:ea typeface="SimSun" panose="02010600030101010101" pitchFamily="2" charset="-122"/>
              </a:rPr>
              <a:t>主机/</a:t>
            </a:r>
            <a:r>
              <a:rPr lang="zh-CN" altLang="ja-JP" dirty="0" smtClean="0">
                <a:latin typeface="SimSun" panose="02010600030101010101" pitchFamily="2" charset="-122"/>
                <a:ea typeface="SimSun" panose="02010600030101010101" pitchFamily="2" charset="-122"/>
              </a:rPr>
              <a:t>服务</a:t>
            </a:r>
            <a:r>
              <a:rPr lang="zh-CN" altLang="en-US" dirty="0" smtClean="0">
                <a:latin typeface="SimSun" panose="02010600030101010101" pitchFamily="2" charset="-122"/>
                <a:ea typeface="SimSun" panose="02010600030101010101" pitchFamily="2" charset="-122"/>
              </a:rPr>
              <a:t>的</a:t>
            </a:r>
            <a:r>
              <a:rPr lang="zh-CN" altLang="ja-JP" dirty="0" smtClean="0">
                <a:latin typeface="SimSun" panose="02010600030101010101" pitchFamily="2" charset="-122"/>
                <a:ea typeface="SimSun" panose="02010600030101010101" pitchFamily="2" charset="-122"/>
              </a:rPr>
              <a:t>配置</a:t>
            </a:r>
            <a:r>
              <a:rPr lang="en-GB" dirty="0" smtClean="0">
                <a:latin typeface="SimSun" panose="02010600030101010101" pitchFamily="2" charset="-122"/>
                <a:ea typeface="SimSun" panose="02010600030101010101" pitchFamily="2" charset="-122"/>
              </a:rPr>
              <a:t> </a:t>
            </a:r>
          </a:p>
          <a:p>
            <a:pPr lvl="1"/>
            <a:r>
              <a:rPr lang="en-US" altLang="ja-JP" dirty="0" smtClean="0">
                <a:latin typeface="SimSun" panose="02010600030101010101" pitchFamily="2" charset="-122"/>
                <a:ea typeface="SimSun" panose="02010600030101010101" pitchFamily="2" charset="-122"/>
              </a:rPr>
              <a:t>master</a:t>
            </a:r>
            <a:r>
              <a:rPr lang="zh-CN" altLang="en-US" dirty="0" smtClean="0">
                <a:latin typeface="SimSun" panose="02010600030101010101" pitchFamily="2" charset="-122"/>
                <a:ea typeface="SimSun" panose="02010600030101010101" pitchFamily="2" charset="-122"/>
              </a:rPr>
              <a:t>数量的分布</a:t>
            </a:r>
            <a:endParaRPr lang="en-GB" dirty="0" smtClean="0">
              <a:latin typeface="SimSun" panose="02010600030101010101" pitchFamily="2" charset="-122"/>
              <a:ea typeface="SimSun" panose="02010600030101010101" pitchFamily="2" charset="-122"/>
            </a:endParaRPr>
          </a:p>
          <a:p>
            <a:pPr lvl="1"/>
            <a:r>
              <a:rPr lang="ja-JP" altLang="en-US" dirty="0" smtClean="0">
                <a:latin typeface="SimSun" panose="02010600030101010101" pitchFamily="2" charset="-122"/>
                <a:ea typeface="SimSun" panose="02010600030101010101" pitchFamily="2" charset="-122"/>
              </a:rPr>
              <a:t>检查执</a:t>
            </a:r>
            <a:r>
              <a:rPr lang="zh-CN" altLang="en-US" dirty="0" smtClean="0">
                <a:latin typeface="SimSun" panose="02010600030101010101" pitchFamily="2" charset="-122"/>
                <a:ea typeface="SimSun" panose="02010600030101010101" pitchFamily="2" charset="-122"/>
              </a:rPr>
              <a:t>行情况  </a:t>
            </a:r>
            <a:r>
              <a:rPr lang="en-GB" dirty="0" smtClean="0">
                <a:latin typeface="SimSun" panose="02010600030101010101" pitchFamily="2" charset="-122"/>
                <a:ea typeface="SimSun" panose="02010600030101010101" pitchFamily="2" charset="-122"/>
              </a:rPr>
              <a:t>(poke)</a:t>
            </a:r>
          </a:p>
          <a:p>
            <a:pPr lvl="1"/>
            <a:r>
              <a:rPr lang="zh-CN" altLang="en-US" dirty="0" smtClean="0">
                <a:latin typeface="SimSun" panose="02010600030101010101" pitchFamily="2" charset="-122"/>
                <a:ea typeface="SimSun" panose="02010600030101010101" pitchFamily="2" charset="-122"/>
              </a:rPr>
              <a:t>对结果排序</a:t>
            </a:r>
            <a:r>
              <a:rPr lang="en-GB" dirty="0" smtClean="0">
                <a:latin typeface="SimSun" panose="02010600030101010101" pitchFamily="2" charset="-122"/>
                <a:ea typeface="SimSun" panose="02010600030101010101" pitchFamily="2" charset="-122"/>
              </a:rPr>
              <a:t> (poke response)</a:t>
            </a:r>
          </a:p>
          <a:p>
            <a:r>
              <a:rPr lang="zh-CN" altLang="en-US" dirty="0" smtClean="0">
                <a:latin typeface="SimSun" panose="02010600030101010101" pitchFamily="2" charset="-122"/>
                <a:ea typeface="SimSun" panose="02010600030101010101" pitchFamily="2" charset="-122"/>
              </a:rPr>
              <a:t>代理</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安装在主机上用来监控</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把信息传递到核心区域</a:t>
            </a:r>
            <a:r>
              <a:rPr lang="en-US" altLang="zh-CN" dirty="0">
                <a:latin typeface="SimSun" panose="02010600030101010101" pitchFamily="2" charset="-122"/>
                <a:ea typeface="SimSun" panose="02010600030101010101" pitchFamily="2" charset="-122"/>
              </a:rPr>
              <a:t>(</a:t>
            </a:r>
            <a:r>
              <a:rPr lang="en-GB" dirty="0" smtClean="0">
                <a:latin typeface="SimSun" panose="02010600030101010101" pitchFamily="2" charset="-122"/>
                <a:ea typeface="SimSun" panose="02010600030101010101" pitchFamily="2" charset="-122"/>
              </a:rPr>
              <a:t>Core)</a:t>
            </a:r>
          </a:p>
          <a:p>
            <a:r>
              <a:rPr lang="zh-CN" altLang="en-US" dirty="0">
                <a:latin typeface="SimSun" panose="02010600030101010101" pitchFamily="2" charset="-122"/>
                <a:ea typeface="SimSun" panose="02010600030101010101" pitchFamily="2" charset="-122"/>
              </a:rPr>
              <a:t>图形化界面</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异常检测</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对收集到的指标进行检测</a:t>
            </a:r>
            <a:r>
              <a:rPr lang="en-US" altLang="zh-CN"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标记</a:t>
            </a:r>
            <a:endParaRPr lang="en-GB" dirty="0" smtClean="0">
              <a:latin typeface="SimSun" panose="02010600030101010101" pitchFamily="2" charset="-122"/>
              <a:ea typeface="SimSun" panose="02010600030101010101" pitchFamily="2" charset="-122"/>
            </a:endParaRPr>
          </a:p>
          <a:p>
            <a:r>
              <a:rPr lang="ja-JP" altLang="en-US" dirty="0">
                <a:latin typeface="SimSun" panose="02010600030101010101" pitchFamily="2" charset="-122"/>
                <a:ea typeface="SimSun" panose="02010600030101010101" pitchFamily="2" charset="-122"/>
              </a:rPr>
              <a:t>警报</a:t>
            </a:r>
            <a:endParaRPr lang="en-GB" dirty="0" smtClean="0">
              <a:latin typeface="SimSun" panose="02010600030101010101" pitchFamily="2" charset="-122"/>
              <a:ea typeface="SimSun" panose="02010600030101010101" pitchFamily="2" charset="-122"/>
            </a:endParaRPr>
          </a:p>
          <a:p>
            <a:r>
              <a:rPr lang="en-GB" dirty="0" smtClean="0">
                <a:latin typeface="SimSun" panose="02010600030101010101" pitchFamily="2" charset="-122"/>
                <a:ea typeface="SimSun" panose="02010600030101010101" pitchFamily="2" charset="-122"/>
              </a:rPr>
              <a:t>UI</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b="1" dirty="0">
                <a:latin typeface="SimSun" panose="02010600030101010101" pitchFamily="2" charset="-122"/>
                <a:ea typeface="SimSun" panose="02010600030101010101" pitchFamily="2" charset="-122"/>
              </a:rPr>
              <a:t>监控</a:t>
            </a:r>
            <a:endParaRPr lang="en-GB" b="1" dirty="0">
              <a:latin typeface="SimSun" panose="02010600030101010101" pitchFamily="2" charset="-122"/>
              <a:ea typeface="SimSun" panose="02010600030101010101" pitchFamily="2" charset="-122"/>
            </a:endParaRPr>
          </a:p>
        </p:txBody>
      </p:sp>
      <p:pic>
        <p:nvPicPr>
          <p:cNvPr id="11266" name="Picture 2" descr="Redes de colores by ainara14 - community or network sig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0452" y="1885244"/>
            <a:ext cx="4136044" cy="4136044"/>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3635985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监视工具</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zh-CN" altLang="en-US" dirty="0" smtClean="0">
                <a:latin typeface="SimSun" panose="02010600030101010101" pitchFamily="2" charset="-122"/>
                <a:ea typeface="SimSun" panose="02010600030101010101" pitchFamily="2" charset="-122"/>
              </a:rPr>
              <a:t>监视</a:t>
            </a:r>
            <a:endParaRPr lang="en-GB" dirty="0" smtClean="0">
              <a:latin typeface="SimSun" panose="02010600030101010101" pitchFamily="2" charset="-122"/>
              <a:ea typeface="SimSun" panose="02010600030101010101" pitchFamily="2" charset="-122"/>
            </a:endParaRPr>
          </a:p>
          <a:p>
            <a:pPr lvl="1"/>
            <a:r>
              <a:rPr lang="en-GB" dirty="0" smtClean="0">
                <a:latin typeface="SimSun" panose="02010600030101010101" pitchFamily="2" charset="-122"/>
                <a:ea typeface="SimSun" panose="02010600030101010101" pitchFamily="2" charset="-122"/>
              </a:rPr>
              <a:t>Sensu</a:t>
            </a:r>
          </a:p>
          <a:p>
            <a:pPr lvl="1"/>
            <a:r>
              <a:rPr lang="en-GB" dirty="0" smtClean="0">
                <a:latin typeface="SimSun" panose="02010600030101010101" pitchFamily="2" charset="-122"/>
                <a:ea typeface="SimSun" panose="02010600030101010101" pitchFamily="2" charset="-122"/>
              </a:rPr>
              <a:t>Nagios</a:t>
            </a:r>
          </a:p>
          <a:p>
            <a:pPr marL="176212" lvl="1" indent="0">
              <a:buNone/>
            </a:pP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图形化界面</a:t>
            </a:r>
            <a:endParaRPr lang="en-GB" dirty="0" smtClean="0">
              <a:latin typeface="SimSun" panose="02010600030101010101" pitchFamily="2" charset="-122"/>
              <a:ea typeface="SimSun" panose="02010600030101010101" pitchFamily="2" charset="-122"/>
            </a:endParaRPr>
          </a:p>
          <a:p>
            <a:pPr lvl="1"/>
            <a:r>
              <a:rPr lang="en-GB" dirty="0" smtClean="0">
                <a:latin typeface="SimSun" panose="02010600030101010101" pitchFamily="2" charset="-122"/>
                <a:ea typeface="SimSun" panose="02010600030101010101" pitchFamily="2" charset="-122"/>
              </a:rPr>
              <a:t>Graphite</a:t>
            </a:r>
          </a:p>
          <a:p>
            <a:pPr lvl="1"/>
            <a:r>
              <a:rPr lang="en-GB" dirty="0" smtClean="0">
                <a:latin typeface="SimSun" panose="02010600030101010101" pitchFamily="2" charset="-122"/>
                <a:ea typeface="SimSun" panose="02010600030101010101" pitchFamily="2" charset="-122"/>
              </a:rPr>
              <a:t>Collectd</a:t>
            </a:r>
          </a:p>
          <a:p>
            <a:pPr lvl="1"/>
            <a:r>
              <a:rPr lang="en-GB" dirty="0" smtClean="0">
                <a:latin typeface="SimSun" panose="02010600030101010101" pitchFamily="2" charset="-122"/>
                <a:ea typeface="SimSun" panose="02010600030101010101" pitchFamily="2" charset="-122"/>
              </a:rPr>
              <a:t>Graphana</a:t>
            </a:r>
          </a:p>
          <a:p>
            <a:pPr marL="176212" lvl="1" indent="0">
              <a:buNone/>
            </a:pP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日志</a:t>
            </a:r>
            <a:endParaRPr lang="en-GB" dirty="0" smtClean="0">
              <a:latin typeface="SimSun" panose="02010600030101010101" pitchFamily="2" charset="-122"/>
              <a:ea typeface="SimSun" panose="02010600030101010101" pitchFamily="2" charset="-122"/>
            </a:endParaRPr>
          </a:p>
          <a:p>
            <a:pPr lvl="1"/>
            <a:r>
              <a:rPr lang="en-GB" dirty="0" smtClean="0">
                <a:latin typeface="SimSun" panose="02010600030101010101" pitchFamily="2" charset="-122"/>
                <a:ea typeface="SimSun" panose="02010600030101010101" pitchFamily="2" charset="-122"/>
              </a:rPr>
              <a:t>ELK</a:t>
            </a:r>
          </a:p>
          <a:p>
            <a:pPr lvl="1"/>
            <a:r>
              <a:rPr lang="en-GB" dirty="0" smtClean="0">
                <a:latin typeface="SimSun" panose="02010600030101010101" pitchFamily="2" charset="-122"/>
                <a:ea typeface="SimSun" panose="02010600030101010101" pitchFamily="2" charset="-122"/>
              </a:rPr>
              <a:t>Rsyslogd</a:t>
            </a:r>
          </a:p>
          <a:p>
            <a:pPr marL="176212" lvl="1" indent="0">
              <a:buNone/>
            </a:pPr>
            <a:endParaRPr lang="en-GB" dirty="0" smtClean="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警报</a:t>
            </a:r>
            <a:endParaRPr lang="en-GB" dirty="0" smtClean="0">
              <a:latin typeface="SimSun" panose="02010600030101010101" pitchFamily="2" charset="-122"/>
              <a:ea typeface="SimSun" panose="02010600030101010101" pitchFamily="2" charset="-122"/>
            </a:endParaRPr>
          </a:p>
          <a:p>
            <a:pPr lvl="1"/>
            <a:r>
              <a:rPr lang="en-GB" dirty="0" err="1" smtClean="0">
                <a:latin typeface="SimSun" panose="02010600030101010101" pitchFamily="2" charset="-122"/>
                <a:ea typeface="SimSun" panose="02010600030101010101" pitchFamily="2" charset="-122"/>
              </a:rPr>
              <a:t>Sensu</a:t>
            </a:r>
            <a:endParaRPr lang="en-GB" dirty="0" smtClean="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监控</a:t>
            </a:r>
            <a:endParaRPr lang="en-GB" dirty="0">
              <a:latin typeface="SimSun" panose="02010600030101010101" pitchFamily="2" charset="-122"/>
              <a:ea typeface="SimSun" panose="02010600030101010101" pitchFamily="2" charset="-122"/>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8224" y="1340768"/>
            <a:ext cx="2295525" cy="199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2" y="2145630"/>
            <a:ext cx="1609725"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2458" y="3582237"/>
            <a:ext cx="1524000" cy="40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6256" y="4077072"/>
            <a:ext cx="1905000"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63888" y="4991266"/>
            <a:ext cx="4840932" cy="711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38122509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5613" y="1023487"/>
            <a:ext cx="8232775" cy="396000"/>
          </a:xfrm>
        </p:spPr>
        <p:txBody>
          <a:bodyPr/>
          <a:lstStyle/>
          <a:p>
            <a:r>
              <a:rPr lang="en-GB" dirty="0" err="1" smtClean="0">
                <a:latin typeface="SimSun" panose="02010600030101010101" pitchFamily="2" charset="-122"/>
                <a:ea typeface="SimSun" panose="02010600030101010101" pitchFamily="2" charset="-122"/>
              </a:rPr>
              <a:t>Kibana</a:t>
            </a:r>
            <a:r>
              <a:rPr lang="en-US" altLang="ja-JP" sz="1200"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可视化</a:t>
            </a:r>
            <a:r>
              <a:rPr lang="en-GB" dirty="0" smtClean="0">
                <a:latin typeface="SimSun" panose="02010600030101010101" pitchFamily="2" charset="-122"/>
                <a:ea typeface="SimSun" panose="02010600030101010101" pitchFamily="2" charset="-122"/>
              </a:rPr>
              <a:t> –NGINX</a:t>
            </a:r>
            <a:r>
              <a:rPr lang="zh-CN" altLang="en-US" dirty="0" smtClean="0">
                <a:latin typeface="SimSun" panose="02010600030101010101" pitchFamily="2" charset="-122"/>
                <a:ea typeface="SimSun" panose="02010600030101010101" pitchFamily="2" charset="-122"/>
              </a:rPr>
              <a:t>日志访问示例</a:t>
            </a:r>
            <a:endParaRPr lang="en-GB" dirty="0" smtClean="0">
              <a:latin typeface="SimSun" panose="02010600030101010101" pitchFamily="2" charset="-122"/>
              <a:ea typeface="SimSun" panose="02010600030101010101" pitchFamily="2" charset="-122"/>
            </a:endParaRPr>
          </a:p>
          <a:p>
            <a:r>
              <a:rPr lang="en-US" altLang="ja-JP" sz="1200" dirty="0" smtClean="0">
                <a:latin typeface="SimSun" panose="02010600030101010101" pitchFamily="2" charset="-122"/>
                <a:ea typeface="SimSun" panose="02010600030101010101" pitchFamily="2" charset="-122"/>
              </a:rPr>
              <a:t>※</a:t>
            </a:r>
            <a:r>
              <a:rPr lang="zh-CN" altLang="en-US" sz="1200" dirty="0" smtClean="0">
                <a:latin typeface="SimSun" panose="02010600030101010101" pitchFamily="2" charset="-122"/>
                <a:ea typeface="SimSun" panose="02010600030101010101" pitchFamily="2" charset="-122"/>
              </a:rPr>
              <a:t>提供日志分析的 </a:t>
            </a:r>
            <a:r>
              <a:rPr lang="en-US" altLang="zh-CN" sz="1200" dirty="0" smtClean="0">
                <a:latin typeface="SimSun" panose="02010600030101010101" pitchFamily="2" charset="-122"/>
                <a:ea typeface="SimSun" panose="02010600030101010101" pitchFamily="2" charset="-122"/>
              </a:rPr>
              <a:t>Web </a:t>
            </a:r>
            <a:r>
              <a:rPr lang="zh-CN" altLang="en-US" sz="1200" dirty="0" smtClean="0">
                <a:latin typeface="SimSun" panose="02010600030101010101" pitchFamily="2" charset="-122"/>
                <a:ea typeface="SimSun" panose="02010600030101010101" pitchFamily="2" charset="-122"/>
              </a:rPr>
              <a:t>接口。可使用它对日志进行高效的搜索、可视化、分析等各种操作。</a:t>
            </a:r>
            <a:endParaRPr lang="en-GB" sz="1200"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ja-JP" altLang="en-US" dirty="0">
                <a:latin typeface="SimSun" panose="02010600030101010101" pitchFamily="2" charset="-122"/>
                <a:ea typeface="SimSun" panose="02010600030101010101" pitchFamily="2" charset="-122"/>
              </a:rPr>
              <a:t>监控</a:t>
            </a:r>
            <a:endParaRPr lang="en-GB" dirty="0">
              <a:latin typeface="SimSun" panose="02010600030101010101" pitchFamily="2" charset="-122"/>
              <a:ea typeface="SimSun" panose="02010600030101010101" pitchFamily="2" charset="-122"/>
            </a:endParaRPr>
          </a:p>
        </p:txBody>
      </p:sp>
      <p:sp>
        <p:nvSpPr>
          <p:cNvPr id="6" name="Rectangle 5"/>
          <p:cNvSpPr/>
          <p:nvPr/>
        </p:nvSpPr>
        <p:spPr>
          <a:xfrm>
            <a:off x="362856" y="6122612"/>
            <a:ext cx="8424936" cy="246221"/>
          </a:xfrm>
          <a:prstGeom prst="rect">
            <a:avLst/>
          </a:prstGeom>
        </p:spPr>
        <p:txBody>
          <a:bodyPr wrap="square">
            <a:spAutoFit/>
          </a:bodyPr>
          <a:lstStyle/>
          <a:p>
            <a:r>
              <a:rPr lang="zh-CN" altLang="en-US" sz="1000" dirty="0" smtClean="0">
                <a:latin typeface="SimSun" panose="02010600030101010101" pitchFamily="2" charset="-122"/>
                <a:ea typeface="SimSun" panose="02010600030101010101" pitchFamily="2" charset="-122"/>
              </a:rPr>
              <a:t>来源</a:t>
            </a:r>
            <a:r>
              <a:rPr lang="en-GB" sz="1000" dirty="0" smtClean="0"/>
              <a:t>: DevOps</a:t>
            </a:r>
            <a:r>
              <a:rPr lang="en-GB" sz="1000" dirty="0"/>
              <a:t> </a:t>
            </a:r>
            <a:r>
              <a:rPr lang="en-GB" sz="1000" dirty="0" smtClean="0"/>
              <a:t>Office Model</a:t>
            </a:r>
            <a:endParaRPr lang="en-GB" sz="10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856" y="1730124"/>
            <a:ext cx="8265904" cy="43924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5367714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latin typeface="SimSun" panose="02010600030101010101" pitchFamily="2" charset="-122"/>
                <a:ea typeface="SimSun" panose="02010600030101010101" pitchFamily="2" charset="-122"/>
              </a:rPr>
              <a:t>Shipyard –</a:t>
            </a:r>
            <a:r>
              <a:rPr lang="ja-JP" altLang="en-US" dirty="0">
                <a:latin typeface="SimSun" panose="02010600030101010101" pitchFamily="2" charset="-122"/>
                <a:ea typeface="SimSun" panose="02010600030101010101" pitchFamily="2" charset="-122"/>
              </a:rPr>
              <a:t>管理</a:t>
            </a:r>
            <a:r>
              <a:rPr lang="en-US" altLang="ja-JP" dirty="0">
                <a:latin typeface="SimSun" panose="02010600030101010101" pitchFamily="2" charset="-122"/>
                <a:ea typeface="SimSun" panose="02010600030101010101" pitchFamily="2" charset="-122"/>
              </a:rPr>
              <a:t>/</a:t>
            </a:r>
            <a:r>
              <a:rPr lang="ja-JP" altLang="en-US" dirty="0">
                <a:latin typeface="SimSun" panose="02010600030101010101" pitchFamily="2" charset="-122"/>
                <a:ea typeface="SimSun" panose="02010600030101010101" pitchFamily="2" charset="-122"/>
              </a:rPr>
              <a:t>监控</a:t>
            </a:r>
            <a:r>
              <a:rPr lang="en-US" altLang="ja-JP" dirty="0">
                <a:latin typeface="SimSun" panose="02010600030101010101" pitchFamily="2" charset="-122"/>
                <a:ea typeface="SimSun" panose="02010600030101010101" pitchFamily="2" charset="-122"/>
              </a:rPr>
              <a:t>Docker</a:t>
            </a:r>
            <a:r>
              <a:rPr lang="ja-JP" altLang="en-US" dirty="0">
                <a:latin typeface="SimSun" panose="02010600030101010101" pitchFamily="2" charset="-122"/>
                <a:ea typeface="SimSun" panose="02010600030101010101" pitchFamily="2" charset="-122"/>
              </a:rPr>
              <a:t>容器 </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监控</a:t>
            </a:r>
            <a:endParaRPr lang="en-GB" dirty="0">
              <a:latin typeface="SimSun" panose="02010600030101010101" pitchFamily="2" charset="-122"/>
              <a:ea typeface="SimSun" panose="02010600030101010101" pitchFamily="2" charset="-122"/>
            </a:endParaRPr>
          </a:p>
        </p:txBody>
      </p:sp>
      <p:pic>
        <p:nvPicPr>
          <p:cNvPr id="5" name="Picture 4"/>
          <p:cNvPicPr>
            <a:picLocks noChangeAspect="1"/>
          </p:cNvPicPr>
          <p:nvPr/>
        </p:nvPicPr>
        <p:blipFill>
          <a:blip r:embed="rId3"/>
          <a:stretch>
            <a:fillRect/>
          </a:stretch>
        </p:blipFill>
        <p:spPr>
          <a:xfrm>
            <a:off x="496800" y="1988840"/>
            <a:ext cx="8480072" cy="4209629"/>
          </a:xfrm>
          <a:prstGeom prst="rect">
            <a:avLst/>
          </a:prstGeom>
        </p:spPr>
      </p:pic>
      <p:sp>
        <p:nvSpPr>
          <p:cNvPr id="7"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
        <p:nvSpPr>
          <p:cNvPr id="8" name="Rectangle 7"/>
          <p:cNvSpPr/>
          <p:nvPr/>
        </p:nvSpPr>
        <p:spPr>
          <a:xfrm>
            <a:off x="551936" y="5993932"/>
            <a:ext cx="8424936" cy="246221"/>
          </a:xfrm>
          <a:prstGeom prst="rect">
            <a:avLst/>
          </a:prstGeom>
        </p:spPr>
        <p:txBody>
          <a:bodyPr wrap="square">
            <a:spAutoFit/>
          </a:bodyPr>
          <a:lstStyle/>
          <a:p>
            <a:r>
              <a:rPr lang="zh-CN" altLang="en-US" sz="1000" dirty="0" smtClean="0">
                <a:latin typeface="SimSun" panose="02010600030101010101" pitchFamily="2" charset="-122"/>
                <a:ea typeface="SimSun" panose="02010600030101010101" pitchFamily="2" charset="-122"/>
              </a:rPr>
              <a:t>来源</a:t>
            </a:r>
            <a:r>
              <a:rPr lang="en-GB" sz="1000" dirty="0" smtClean="0"/>
              <a:t>: DevOps</a:t>
            </a:r>
            <a:r>
              <a:rPr lang="en-GB" sz="1000" dirty="0"/>
              <a:t> </a:t>
            </a:r>
            <a:r>
              <a:rPr lang="en-GB" sz="1000" dirty="0" smtClean="0"/>
              <a:t>Office Model</a:t>
            </a:r>
            <a:endParaRPr lang="en-GB" sz="1000" dirty="0"/>
          </a:p>
        </p:txBody>
      </p:sp>
    </p:spTree>
    <p:extLst>
      <p:ext uri="{BB962C8B-B14F-4D97-AF65-F5344CB8AC3E}">
        <p14:creationId xmlns:p14="http://schemas.microsoft.com/office/powerpoint/2010/main" val="20288388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备份策略</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en-GB" dirty="0" smtClean="0">
                <a:latin typeface="SimSun" panose="02010600030101010101" pitchFamily="2" charset="-122"/>
                <a:ea typeface="SimSun" panose="02010600030101010101" pitchFamily="2" charset="-122"/>
              </a:rPr>
              <a:t>Images:</a:t>
            </a:r>
          </a:p>
          <a:p>
            <a:pPr lvl="1"/>
            <a:r>
              <a:rPr lang="zh-CN" altLang="en-US" dirty="0" smtClean="0">
                <a:latin typeface="SimSun" panose="02010600030101010101" pitchFamily="2" charset="-122"/>
                <a:ea typeface="SimSun" panose="02010600030101010101" pitchFamily="2" charset="-122"/>
              </a:rPr>
              <a:t>备份机器的状态作为</a:t>
            </a:r>
            <a:r>
              <a:rPr lang="en-GB" dirty="0" smtClean="0">
                <a:latin typeface="SimSun" panose="02010600030101010101" pitchFamily="2" charset="-122"/>
                <a:ea typeface="SimSun" panose="02010600030101010101" pitchFamily="2" charset="-122"/>
              </a:rPr>
              <a:t>images</a:t>
            </a:r>
          </a:p>
          <a:p>
            <a:pPr lvl="1"/>
            <a:r>
              <a:rPr lang="zh-CN" altLang="en-US" dirty="0" smtClean="0">
                <a:latin typeface="SimSun" panose="02010600030101010101" pitchFamily="2" charset="-122"/>
                <a:ea typeface="SimSun" panose="02010600030101010101" pitchFamily="2" charset="-122"/>
              </a:rPr>
              <a:t>基于</a:t>
            </a:r>
            <a:r>
              <a:rPr lang="en-US" altLang="zh-CN" dirty="0" smtClean="0">
                <a:latin typeface="SimSun" panose="02010600030101010101" pitchFamily="2" charset="-122"/>
                <a:ea typeface="SimSun" panose="02010600030101010101" pitchFamily="2" charset="-122"/>
              </a:rPr>
              <a:t>images</a:t>
            </a:r>
            <a:r>
              <a:rPr lang="zh-CN" altLang="en-US" dirty="0" smtClean="0">
                <a:latin typeface="SimSun" panose="02010600030101010101" pitchFamily="2" charset="-122"/>
                <a:ea typeface="SimSun" panose="02010600030101010101" pitchFamily="2" charset="-122"/>
              </a:rPr>
              <a:t>运转，以保证机器能一直被重复利用</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缺点</a:t>
            </a:r>
            <a:r>
              <a:rPr lang="en-GB" dirty="0" smtClean="0">
                <a:latin typeface="SimSun" panose="02010600030101010101" pitchFamily="2" charset="-122"/>
                <a:ea typeface="SimSun" panose="02010600030101010101" pitchFamily="2" charset="-122"/>
              </a:rPr>
              <a:t>:</a:t>
            </a:r>
          </a:p>
          <a:p>
            <a:pPr lvl="2"/>
            <a:r>
              <a:rPr lang="zh-CN" altLang="en-US" dirty="0" smtClean="0">
                <a:latin typeface="SimSun" panose="02010600030101010101" pitchFamily="2" charset="-122"/>
                <a:ea typeface="SimSun" panose="02010600030101010101" pitchFamily="2" charset="-122"/>
              </a:rPr>
              <a:t>过多的基础</a:t>
            </a:r>
            <a:r>
              <a:rPr lang="en-US" altLang="zh-CN" dirty="0" smtClean="0">
                <a:latin typeface="SimSun" panose="02010600030101010101" pitchFamily="2" charset="-122"/>
                <a:ea typeface="SimSun" panose="02010600030101010101" pitchFamily="2" charset="-122"/>
              </a:rPr>
              <a:t>image</a:t>
            </a:r>
            <a:r>
              <a:rPr lang="zh-CN" altLang="en-US" dirty="0" smtClean="0">
                <a:latin typeface="SimSun" panose="02010600030101010101" pitchFamily="2" charset="-122"/>
                <a:ea typeface="SimSun" panose="02010600030101010101" pitchFamily="2" charset="-122"/>
              </a:rPr>
              <a:t>发生改变时，不利于备份</a:t>
            </a:r>
            <a:endParaRPr lang="en-US" altLang="zh-CN" dirty="0" smtClean="0">
              <a:latin typeface="SimSun" panose="02010600030101010101" pitchFamily="2" charset="-122"/>
              <a:ea typeface="SimSun" panose="02010600030101010101" pitchFamily="2" charset="-122"/>
            </a:endParaRPr>
          </a:p>
          <a:p>
            <a:pPr lvl="2"/>
            <a:r>
              <a:rPr lang="zh-CN" altLang="en-US" dirty="0" smtClean="0">
                <a:latin typeface="SimSun" panose="02010600030101010101" pitchFamily="2" charset="-122"/>
                <a:ea typeface="SimSun" panose="02010600030101010101" pitchFamily="2" charset="-122"/>
              </a:rPr>
              <a:t>用</a:t>
            </a:r>
            <a:r>
              <a:rPr lang="en-US" altLang="zh-CN" dirty="0" smtClean="0">
                <a:latin typeface="SimSun" panose="02010600030101010101" pitchFamily="2" charset="-122"/>
                <a:ea typeface="SimSun" panose="02010600030101010101" pitchFamily="2" charset="-122"/>
              </a:rPr>
              <a:t>Snapshot</a:t>
            </a:r>
            <a:r>
              <a:rPr lang="zh-CN" altLang="en-US" dirty="0">
                <a:latin typeface="SimSun" panose="02010600030101010101" pitchFamily="2" charset="-122"/>
                <a:ea typeface="SimSun" panose="02010600030101010101" pitchFamily="2" charset="-122"/>
              </a:rPr>
              <a:t>对全盘实行备份</a:t>
            </a:r>
            <a:r>
              <a:rPr lang="zh-CN" altLang="en-US" dirty="0" smtClean="0">
                <a:latin typeface="SimSun" panose="02010600030101010101" pitchFamily="2" charset="-122"/>
                <a:ea typeface="SimSun" panose="02010600030101010101" pitchFamily="2" charset="-122"/>
              </a:rPr>
              <a:t>的时候，保存的数据往往会比实际多</a:t>
            </a:r>
            <a:endParaRPr lang="en-GB" dirty="0" smtClean="0">
              <a:latin typeface="SimSun" panose="02010600030101010101" pitchFamily="2" charset="-122"/>
              <a:ea typeface="SimSun" panose="02010600030101010101" pitchFamily="2" charset="-122"/>
            </a:endParaRPr>
          </a:p>
          <a:p>
            <a:pPr lvl="2"/>
            <a:r>
              <a:rPr lang="en-GB" dirty="0" smtClean="0">
                <a:latin typeface="SimSun" panose="02010600030101010101" pitchFamily="2" charset="-122"/>
                <a:ea typeface="SimSun" panose="02010600030101010101" pitchFamily="2" charset="-122"/>
              </a:rPr>
              <a:t>Snapshots</a:t>
            </a:r>
            <a:r>
              <a:rPr lang="zh-CN" altLang="en-US" dirty="0" smtClean="0">
                <a:latin typeface="SimSun" panose="02010600030101010101" pitchFamily="2" charset="-122"/>
                <a:ea typeface="SimSun" panose="02010600030101010101" pitchFamily="2" charset="-122"/>
              </a:rPr>
              <a:t>不会停止进程，导致数据可能会被写入</a:t>
            </a:r>
            <a:r>
              <a:rPr lang="en-GB" dirty="0" smtClean="0">
                <a:latin typeface="SimSun" panose="02010600030101010101" pitchFamily="2" charset="-122"/>
                <a:ea typeface="SimSun" panose="02010600030101010101" pitchFamily="2" charset="-122"/>
              </a:rPr>
              <a:t>file system (</a:t>
            </a:r>
            <a:r>
              <a:rPr lang="zh-CN" altLang="en-US" dirty="0" smtClean="0">
                <a:latin typeface="SimSun" panose="02010600030101010101" pitchFamily="2" charset="-122"/>
                <a:ea typeface="SimSun" panose="02010600030101010101" pitchFamily="2" charset="-122"/>
              </a:rPr>
              <a:t>例如</a:t>
            </a:r>
            <a:r>
              <a:rPr lang="en-GB" dirty="0" smtClean="0">
                <a:latin typeface="SimSun" panose="02010600030101010101" pitchFamily="2" charset="-122"/>
                <a:ea typeface="SimSun" panose="02010600030101010101" pitchFamily="2" charset="-122"/>
              </a:rPr>
              <a:t>. </a:t>
            </a:r>
            <a:r>
              <a:rPr lang="en-GB" dirty="0">
                <a:latin typeface="SimSun" panose="02010600030101010101" pitchFamily="2" charset="-122"/>
                <a:ea typeface="SimSun" panose="02010600030101010101" pitchFamily="2" charset="-122"/>
              </a:rPr>
              <a:t>your </a:t>
            </a:r>
            <a:r>
              <a:rPr lang="en-GB" dirty="0" smtClean="0">
                <a:latin typeface="SimSun" panose="02010600030101010101" pitchFamily="2" charset="-122"/>
                <a:ea typeface="SimSun" panose="02010600030101010101" pitchFamily="2" charset="-122"/>
              </a:rPr>
              <a:t>database)</a:t>
            </a:r>
          </a:p>
          <a:p>
            <a:pPr lvl="2"/>
            <a:r>
              <a:rPr lang="zh-CN" altLang="en-US" dirty="0" smtClean="0">
                <a:latin typeface="SimSun" panose="02010600030101010101" pitchFamily="2" charset="-122"/>
                <a:ea typeface="SimSun" panose="02010600030101010101" pitchFamily="2" charset="-122"/>
              </a:rPr>
              <a:t>如果不能用</a:t>
            </a:r>
            <a:r>
              <a:rPr lang="en-US" altLang="zh-CN" dirty="0" smtClean="0">
                <a:latin typeface="SimSun" panose="02010600030101010101" pitchFamily="2" charset="-122"/>
                <a:ea typeface="SimSun" panose="02010600030101010101" pitchFamily="2" charset="-122"/>
              </a:rPr>
              <a:t>snapshot</a:t>
            </a:r>
            <a:r>
              <a:rPr lang="zh-CN" altLang="en-US" dirty="0" smtClean="0">
                <a:latin typeface="SimSun" panose="02010600030101010101" pitchFamily="2" charset="-122"/>
                <a:ea typeface="SimSun" panose="02010600030101010101" pitchFamily="2" charset="-122"/>
              </a:rPr>
              <a:t>的话，文件级别的恢复是非常困难的</a:t>
            </a:r>
            <a:endParaRPr lang="en-GB" dirty="0" smtClean="0">
              <a:latin typeface="SimSun" panose="02010600030101010101" pitchFamily="2" charset="-122"/>
              <a:ea typeface="SimSun" panose="02010600030101010101" pitchFamily="2" charset="-122"/>
            </a:endParaRPr>
          </a:p>
          <a:p>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使用</a:t>
            </a:r>
            <a:r>
              <a:rPr lang="en-GB" dirty="0" smtClean="0">
                <a:latin typeface="SimSun" panose="02010600030101010101" pitchFamily="2" charset="-122"/>
                <a:ea typeface="SimSun" panose="02010600030101010101" pitchFamily="2" charset="-122"/>
              </a:rPr>
              <a:t>Configuration Management</a:t>
            </a:r>
            <a:r>
              <a:rPr lang="zh-CN" altLang="en-US" dirty="0" smtClean="0">
                <a:latin typeface="SimSun" panose="02010600030101010101" pitchFamily="2" charset="-122"/>
                <a:ea typeface="SimSun" panose="02010600030101010101" pitchFamily="2" charset="-122"/>
              </a:rPr>
              <a:t>数据恢复</a:t>
            </a:r>
            <a:r>
              <a:rPr lang="en-GB" dirty="0" smtClean="0">
                <a:latin typeface="SimSun" panose="02010600030101010101" pitchFamily="2" charset="-122"/>
                <a:ea typeface="SimSun" panose="02010600030101010101" pitchFamily="2" charset="-122"/>
              </a:rPr>
              <a:t>:</a:t>
            </a:r>
          </a:p>
          <a:p>
            <a:pPr lvl="1"/>
            <a:r>
              <a:rPr lang="zh-CN" altLang="en-US" dirty="0" smtClean="0">
                <a:latin typeface="SimSun" panose="02010600030101010101" pitchFamily="2" charset="-122"/>
                <a:ea typeface="SimSun" panose="02010600030101010101" pitchFamily="2" charset="-122"/>
              </a:rPr>
              <a:t>自动化快速部署</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连续性</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灵活性</a:t>
            </a:r>
            <a:endParaRPr lang="en-GB" dirty="0" smtClean="0">
              <a:latin typeface="SimSun" panose="02010600030101010101" pitchFamily="2" charset="-122"/>
              <a:ea typeface="SimSun" panose="02010600030101010101" pitchFamily="2" charset="-122"/>
            </a:endParaRPr>
          </a:p>
          <a:p>
            <a:pPr marL="176212" lvl="1" indent="0">
              <a:buNone/>
            </a:pP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备份</a:t>
            </a:r>
            <a:endParaRPr lang="en-GB" dirty="0">
              <a:latin typeface="SimSun" panose="02010600030101010101" pitchFamily="2" charset="-122"/>
              <a:ea typeface="SimSun" panose="02010600030101010101" pitchFamily="2" charset="-122"/>
            </a:endParaRPr>
          </a:p>
        </p:txBody>
      </p:sp>
      <p:pic>
        <p:nvPicPr>
          <p:cNvPr id="13314" name="Picture 2" descr="Backup-restoration by m1981 - A file being recovered from a previous backu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5750" y="4653136"/>
            <a:ext cx="3571324" cy="1879410"/>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107643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云的备份策略</a:t>
            </a:r>
            <a:endParaRPr lang="en-GB" dirty="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a:xfrm>
            <a:off x="455613" y="1746135"/>
            <a:ext cx="8232775" cy="4078933"/>
          </a:xfrm>
        </p:spPr>
        <p:txBody>
          <a:bodyPr/>
          <a:lstStyle/>
          <a:p>
            <a:pPr marL="0" indent="0">
              <a:buNone/>
            </a:pPr>
            <a:r>
              <a:rPr lang="zh-CN" altLang="en-US" dirty="0">
                <a:latin typeface="SimSun" panose="02010600030101010101" pitchFamily="2" charset="-122"/>
                <a:ea typeface="SimSun" panose="02010600030101010101" pitchFamily="2" charset="-122"/>
              </a:rPr>
              <a:t>配置文件的备份和恢复</a:t>
            </a:r>
            <a:endParaRPr lang="en-GB" dirty="0" smtClean="0">
              <a:latin typeface="SimSun" panose="02010600030101010101" pitchFamily="2" charset="-122"/>
              <a:ea typeface="SimSun" panose="02010600030101010101" pitchFamily="2" charset="-122"/>
            </a:endParaRPr>
          </a:p>
          <a:p>
            <a:r>
              <a:rPr lang="ja-JP" altLang="en-US" dirty="0">
                <a:latin typeface="SimSun" panose="02010600030101010101" pitchFamily="2" charset="-122"/>
                <a:ea typeface="SimSun" panose="02010600030101010101" pitchFamily="2" charset="-122"/>
              </a:rPr>
              <a:t>代码库</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客户使用多种版本管理方法对配置文件进行管理</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在指定的据点存储</a:t>
            </a:r>
            <a:r>
              <a:rPr lang="zh-CN" altLang="en-US" dirty="0">
                <a:latin typeface="SimSun" panose="02010600030101010101" pitchFamily="2" charset="-122"/>
                <a:ea typeface="SimSun" panose="02010600030101010101" pitchFamily="2" charset="-122"/>
              </a:rPr>
              <a:t>不同版本的配置文</a:t>
            </a:r>
            <a:r>
              <a:rPr lang="zh-CN" altLang="en-US" dirty="0" smtClean="0">
                <a:latin typeface="SimSun" panose="02010600030101010101" pitchFamily="2" charset="-122"/>
                <a:ea typeface="SimSun" panose="02010600030101010101" pitchFamily="2" charset="-122"/>
              </a:rPr>
              <a:t>件，并且能像其他代码一样安全地控制</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使用适当的备份周期</a:t>
            </a:r>
            <a:r>
              <a:rPr lang="zh-CN" altLang="en-US" dirty="0">
                <a:latin typeface="SimSun" panose="02010600030101010101" pitchFamily="2" charset="-122"/>
                <a:ea typeface="SimSun" panose="02010600030101010101" pitchFamily="2" charset="-122"/>
              </a:rPr>
              <a:t>（例如，每天，每周，每月）</a:t>
            </a:r>
            <a:r>
              <a:rPr lang="zh-CN" altLang="en-US" dirty="0" smtClean="0">
                <a:latin typeface="SimSun" panose="02010600030101010101" pitchFamily="2" charset="-122"/>
                <a:ea typeface="SimSun" panose="02010600030101010101" pitchFamily="2" charset="-122"/>
              </a:rPr>
              <a:t>和</a:t>
            </a:r>
            <a:r>
              <a:rPr lang="en-US" altLang="zh-CN" dirty="0" smtClean="0">
                <a:latin typeface="SimSun" panose="02010600030101010101" pitchFamily="2" charset="-122"/>
                <a:ea typeface="SimSun" panose="02010600030101010101" pitchFamily="2" charset="-122"/>
              </a:rPr>
              <a:t>snapshots </a:t>
            </a:r>
            <a:r>
              <a:rPr lang="zh-CN" altLang="en-US" dirty="0" smtClean="0">
                <a:latin typeface="SimSun" panose="02010600030101010101" pitchFamily="2" charset="-122"/>
                <a:ea typeface="SimSun" panose="02010600030101010101" pitchFamily="2" charset="-122"/>
              </a:rPr>
              <a:t>将代码库备份到受保护的据点。</a:t>
            </a:r>
            <a:endParaRPr lang="en-GB" dirty="0" smtClean="0">
              <a:latin typeface="SimSun" panose="02010600030101010101" pitchFamily="2" charset="-122"/>
              <a:ea typeface="SimSun" panose="02010600030101010101" pitchFamily="2" charset="-122"/>
            </a:endParaRPr>
          </a:p>
          <a:p>
            <a:pPr lvl="1"/>
            <a:endParaRPr lang="en-GB" dirty="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存储共享</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使用</a:t>
            </a:r>
            <a:r>
              <a:rPr lang="en-GB" dirty="0" smtClean="0">
                <a:latin typeface="SimSun" panose="02010600030101010101" pitchFamily="2" charset="-122"/>
                <a:ea typeface="SimSun" panose="02010600030101010101" pitchFamily="2" charset="-122"/>
              </a:rPr>
              <a:t> </a:t>
            </a:r>
            <a:r>
              <a:rPr lang="en-GB" dirty="0">
                <a:latin typeface="SimSun" panose="02010600030101010101" pitchFamily="2" charset="-122"/>
                <a:ea typeface="SimSun" panose="02010600030101010101" pitchFamily="2" charset="-122"/>
              </a:rPr>
              <a:t>Amazon </a:t>
            </a:r>
            <a:r>
              <a:rPr lang="en-GB" dirty="0" smtClean="0">
                <a:latin typeface="SimSun" panose="02010600030101010101" pitchFamily="2" charset="-122"/>
                <a:ea typeface="SimSun" panose="02010600030101010101" pitchFamily="2" charset="-122"/>
              </a:rPr>
              <a:t>S3</a:t>
            </a:r>
            <a:r>
              <a:rPr lang="zh-CN" altLang="en-US" dirty="0" smtClean="0">
                <a:latin typeface="SimSun" panose="02010600030101010101" pitchFamily="2" charset="-122"/>
                <a:ea typeface="SimSun" panose="02010600030101010101" pitchFamily="2" charset="-122"/>
              </a:rPr>
              <a:t>来存储配置文件</a:t>
            </a:r>
            <a:r>
              <a:rPr lang="en-GB"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利用</a:t>
            </a:r>
            <a:r>
              <a:rPr lang="en-GB" altLang="ja-JP" dirty="0" smtClean="0">
                <a:latin typeface="SimSun" panose="02010600030101010101" pitchFamily="2" charset="-122"/>
                <a:ea typeface="SimSun" panose="02010600030101010101" pitchFamily="2" charset="-122"/>
              </a:rPr>
              <a:t>Amazon </a:t>
            </a:r>
            <a:r>
              <a:rPr lang="en-GB" altLang="ja-JP" dirty="0">
                <a:latin typeface="SimSun" panose="02010600030101010101" pitchFamily="2" charset="-122"/>
                <a:ea typeface="SimSun" panose="02010600030101010101" pitchFamily="2" charset="-122"/>
              </a:rPr>
              <a:t>S3</a:t>
            </a:r>
            <a:r>
              <a:rPr lang="zh-CN" altLang="en-US" dirty="0" smtClean="0">
                <a:latin typeface="SimSun" panose="02010600030101010101" pitchFamily="2" charset="-122"/>
                <a:ea typeface="SimSun" panose="02010600030101010101" pitchFamily="2" charset="-122"/>
              </a:rPr>
              <a:t>服务的耐久性优势</a:t>
            </a:r>
            <a:endParaRPr lang="en-GB" dirty="0">
              <a:latin typeface="SimSun" panose="02010600030101010101" pitchFamily="2" charset="-122"/>
              <a:ea typeface="SimSun" panose="02010600030101010101" pitchFamily="2" charset="-122"/>
            </a:endParaRPr>
          </a:p>
          <a:p>
            <a:pPr lvl="1"/>
            <a:r>
              <a:rPr lang="zh-CN" altLang="en-US" dirty="0">
                <a:latin typeface="SimSun" panose="02010600030101010101" pitchFamily="2" charset="-122"/>
                <a:ea typeface="SimSun" panose="02010600030101010101" pitchFamily="2" charset="-122"/>
              </a:rPr>
              <a:t>此外</a:t>
            </a:r>
            <a:r>
              <a:rPr lang="zh-CN" altLang="en-US" dirty="0" smtClean="0">
                <a:latin typeface="SimSun" panose="02010600030101010101" pitchFamily="2" charset="-122"/>
                <a:ea typeface="SimSun" panose="02010600030101010101" pitchFamily="2" charset="-122"/>
              </a:rPr>
              <a:t>，定期备份文件到备用的位置</a:t>
            </a:r>
            <a:r>
              <a:rPr lang="en-GB" dirty="0" smtClean="0">
                <a:latin typeface="SimSun" panose="02010600030101010101" pitchFamily="2" charset="-122"/>
                <a:ea typeface="SimSun" panose="02010600030101010101" pitchFamily="2" charset="-122"/>
              </a:rPr>
              <a:t>. </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备份</a:t>
            </a:r>
            <a:endParaRPr lang="en-GB" dirty="0">
              <a:latin typeface="SimSun" panose="02010600030101010101" pitchFamily="2" charset="-122"/>
              <a:ea typeface="SimSun" panose="02010600030101010101" pitchFamily="2" charset="-122"/>
            </a:endParaRPr>
          </a:p>
        </p:txBody>
      </p:sp>
      <p:sp>
        <p:nvSpPr>
          <p:cNvPr id="5"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969198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7604" r="3142"/>
          <a:stretch/>
        </p:blipFill>
        <p:spPr>
          <a:xfrm>
            <a:off x="0" y="0"/>
            <a:ext cx="9144000" cy="6858000"/>
          </a:xfrm>
          <a:prstGeom prst="rect">
            <a:avLst/>
          </a:prstGeom>
        </p:spPr>
      </p:pic>
      <p:sp>
        <p:nvSpPr>
          <p:cNvPr id="6" name="Title 5"/>
          <p:cNvSpPr>
            <a:spLocks noGrp="1"/>
          </p:cNvSpPr>
          <p:nvPr>
            <p:ph type="ctrTitle"/>
          </p:nvPr>
        </p:nvSpPr>
        <p:spPr>
          <a:xfrm>
            <a:off x="455613" y="1917200"/>
            <a:ext cx="8232775" cy="1161492"/>
          </a:xfrm>
        </p:spPr>
        <p:txBody>
          <a:bodyPr/>
          <a:lstStyle/>
          <a:p>
            <a:r>
              <a:rPr lang="en-GB" sz="2800" b="1" dirty="0" smtClean="0">
                <a:latin typeface="SimSun" panose="02010600030101010101" pitchFamily="2" charset="-122"/>
                <a:ea typeface="SimSun" panose="02010600030101010101" pitchFamily="2" charset="-122"/>
              </a:rPr>
              <a:t>DevOps</a:t>
            </a:r>
            <a:r>
              <a:rPr lang="en-GB" dirty="0" smtClean="0">
                <a:latin typeface="SimSun" panose="02010600030101010101" pitchFamily="2" charset="-122"/>
                <a:ea typeface="SimSun" panose="02010600030101010101" pitchFamily="2" charset="-122"/>
              </a:rPr>
              <a:t/>
            </a:r>
            <a:br>
              <a:rPr lang="en-GB" dirty="0" smtClean="0">
                <a:latin typeface="SimSun" panose="02010600030101010101" pitchFamily="2" charset="-122"/>
                <a:ea typeface="SimSun" panose="02010600030101010101" pitchFamily="2" charset="-122"/>
              </a:rPr>
            </a:br>
            <a:r>
              <a:rPr lang="en-GB" sz="2800" dirty="0" smtClean="0">
                <a:solidFill>
                  <a:schemeClr val="accent4"/>
                </a:solidFill>
                <a:latin typeface="SimSun" panose="02010600030101010101" pitchFamily="2" charset="-122"/>
                <a:ea typeface="SimSun" panose="02010600030101010101" pitchFamily="2" charset="-122"/>
              </a:rPr>
              <a:t/>
            </a:r>
            <a:br>
              <a:rPr lang="en-GB" sz="2800" dirty="0" smtClean="0">
                <a:solidFill>
                  <a:schemeClr val="accent4"/>
                </a:solidFill>
                <a:latin typeface="SimSun" panose="02010600030101010101" pitchFamily="2" charset="-122"/>
                <a:ea typeface="SimSun" panose="02010600030101010101" pitchFamily="2" charset="-122"/>
              </a:rPr>
            </a:br>
            <a:r>
              <a:rPr lang="en-GB" sz="2800" dirty="0" smtClean="0">
                <a:solidFill>
                  <a:schemeClr val="accent4"/>
                </a:solidFill>
                <a:latin typeface="SimSun" panose="02010600030101010101" pitchFamily="2" charset="-122"/>
                <a:ea typeface="SimSun" panose="02010600030101010101" pitchFamily="2" charset="-122"/>
              </a:rPr>
              <a:t>DCSC </a:t>
            </a:r>
            <a:r>
              <a:rPr lang="zh-CN" altLang="en-US" sz="2800" dirty="0" smtClean="0">
                <a:solidFill>
                  <a:schemeClr val="accent4"/>
                </a:solidFill>
                <a:latin typeface="SimSun" panose="02010600030101010101" pitchFamily="2" charset="-122"/>
                <a:ea typeface="SimSun" panose="02010600030101010101" pitchFamily="2" charset="-122"/>
              </a:rPr>
              <a:t>的定义</a:t>
            </a:r>
            <a:r>
              <a:rPr lang="en-GB" sz="2800" dirty="0" smtClean="0">
                <a:solidFill>
                  <a:schemeClr val="accent4"/>
                </a:solidFill>
                <a:latin typeface="SimSun" panose="02010600030101010101" pitchFamily="2" charset="-122"/>
                <a:ea typeface="SimSun" panose="02010600030101010101" pitchFamily="2" charset="-122"/>
              </a:rPr>
              <a:t>– </a:t>
            </a:r>
            <a:r>
              <a:rPr lang="en-GB" sz="1600" dirty="0" smtClean="0">
                <a:solidFill>
                  <a:schemeClr val="accent4"/>
                </a:solidFill>
                <a:latin typeface="SimSun" panose="02010600030101010101" pitchFamily="2" charset="-122"/>
                <a:ea typeface="SimSun" panose="02010600030101010101" pitchFamily="2" charset="-122"/>
              </a:rPr>
              <a:t>Martin Croker and Markos Rendell</a:t>
            </a:r>
            <a:endParaRPr lang="en-US" sz="2800" dirty="0">
              <a:solidFill>
                <a:schemeClr val="accent4"/>
              </a:solidFill>
              <a:latin typeface="SimSun" panose="02010600030101010101" pitchFamily="2" charset="-122"/>
              <a:ea typeface="SimSun" panose="02010600030101010101" pitchFamily="2" charset="-122"/>
            </a:endParaRPr>
          </a:p>
        </p:txBody>
      </p:sp>
      <p:sp>
        <p:nvSpPr>
          <p:cNvPr id="7" name="Title 1"/>
          <p:cNvSpPr txBox="1">
            <a:spLocks/>
          </p:cNvSpPr>
          <p:nvPr/>
        </p:nvSpPr>
        <p:spPr>
          <a:xfrm>
            <a:off x="455613" y="4089400"/>
            <a:ext cx="8231188" cy="2276475"/>
          </a:xfrm>
          <a:prstGeom prst="rect">
            <a:avLst/>
          </a:prstGeom>
        </p:spPr>
        <p:txBody>
          <a:bodyPr vert="horz" lIns="0" tIns="0" rIns="0" bIns="0" rtlCol="0" anchor="ctr"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bg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nSpc>
                <a:spcPct val="120000"/>
              </a:lnSpc>
            </a:pPr>
            <a:r>
              <a:rPr lang="zh-CN" altLang="en-US" sz="2400" dirty="0" smtClean="0">
                <a:latin typeface="SimSun" panose="02010600030101010101" pitchFamily="2" charset="-122"/>
                <a:ea typeface="SimSun" panose="02010600030101010101" pitchFamily="2" charset="-122"/>
              </a:rPr>
              <a:t>用</a:t>
            </a:r>
            <a:r>
              <a:rPr lang="zh-CN" altLang="en-US" sz="2400" dirty="0">
                <a:latin typeface="SimSun" panose="02010600030101010101" pitchFamily="2" charset="-122"/>
                <a:ea typeface="SimSun" panose="02010600030101010101" pitchFamily="2" charset="-122"/>
              </a:rPr>
              <a:t>以</a:t>
            </a:r>
            <a:r>
              <a:rPr lang="zh-CN" altLang="en-US" sz="2400" dirty="0" smtClean="0">
                <a:latin typeface="SimSun" panose="02010600030101010101" pitchFamily="2" charset="-122"/>
                <a:ea typeface="SimSun" panose="02010600030101010101" pitchFamily="2" charset="-122"/>
              </a:rPr>
              <a:t>优化开发和操作的</a:t>
            </a:r>
            <a:r>
              <a:rPr lang="zh-CN" altLang="en-US" sz="2400" dirty="0" smtClean="0">
                <a:solidFill>
                  <a:srgbClr val="FFC000"/>
                </a:solidFill>
                <a:latin typeface="SimSun" panose="02010600030101010101" pitchFamily="2" charset="-122"/>
                <a:ea typeface="SimSun" panose="02010600030101010101" pitchFamily="2" charset="-122"/>
              </a:rPr>
              <a:t>工程学</a:t>
            </a:r>
            <a:r>
              <a:rPr lang="zh-CN" altLang="en-US" sz="2400" dirty="0" smtClean="0">
                <a:latin typeface="SimSun" panose="02010600030101010101" pitchFamily="2" charset="-122"/>
                <a:ea typeface="SimSun" panose="02010600030101010101" pitchFamily="2" charset="-122"/>
              </a:rPr>
              <a:t>。通过快速反馈，稳</a:t>
            </a:r>
            <a:r>
              <a:rPr lang="zh-CN" altLang="en-US" sz="2400" dirty="0">
                <a:latin typeface="SimSun" panose="02010600030101010101" pitchFamily="2" charset="-122"/>
                <a:ea typeface="SimSun" panose="02010600030101010101" pitchFamily="2" charset="-122"/>
              </a:rPr>
              <a:t>定</a:t>
            </a:r>
            <a:r>
              <a:rPr lang="zh-CN" altLang="en-US" sz="2400" dirty="0" smtClean="0">
                <a:latin typeface="SimSun" panose="02010600030101010101" pitchFamily="2" charset="-122"/>
                <a:ea typeface="SimSun" panose="02010600030101010101" pitchFamily="2" charset="-122"/>
              </a:rPr>
              <a:t>，响应，灵活的</a:t>
            </a:r>
            <a:r>
              <a:rPr lang="en-US" altLang="zh-CN" sz="2400" dirty="0" smtClean="0">
                <a:latin typeface="SimSun" panose="02010600030101010101" pitchFamily="2" charset="-122"/>
                <a:ea typeface="SimSun" panose="02010600030101010101" pitchFamily="2" charset="-122"/>
              </a:rPr>
              <a:t>IT</a:t>
            </a:r>
            <a:r>
              <a:rPr lang="zh-CN" altLang="en-US" sz="2400" dirty="0" smtClean="0">
                <a:latin typeface="SimSun" panose="02010600030101010101" pitchFamily="2" charset="-122"/>
                <a:ea typeface="SimSun" panose="02010600030101010101" pitchFamily="2" charset="-122"/>
              </a:rPr>
              <a:t>技术帮助企业实现其</a:t>
            </a:r>
            <a:r>
              <a:rPr lang="zh-CN" altLang="en-US" sz="2400" dirty="0" smtClean="0">
                <a:solidFill>
                  <a:srgbClr val="FFC000"/>
                </a:solidFill>
                <a:latin typeface="SimSun" panose="02010600030101010101" pitchFamily="2" charset="-122"/>
                <a:ea typeface="SimSun" panose="02010600030101010101" pitchFamily="2" charset="-122"/>
              </a:rPr>
              <a:t>商业目标</a:t>
            </a:r>
            <a:r>
              <a:rPr lang="zh-CN" altLang="en-US" sz="2400" dirty="0" smtClean="0">
                <a:latin typeface="SimSun" panose="02010600030101010101" pitchFamily="2" charset="-122"/>
                <a:ea typeface="SimSun" panose="02010600030101010101" pitchFamily="2" charset="-122"/>
              </a:rPr>
              <a:t>。</a:t>
            </a:r>
            <a:endParaRPr lang="en-US" sz="2400" dirty="0">
              <a:latin typeface="SimSun" panose="02010600030101010101" pitchFamily="2" charset="-122"/>
              <a:ea typeface="SimSun" panose="02010600030101010101" pitchFamily="2" charset="-122"/>
            </a:endParaRPr>
          </a:p>
        </p:txBody>
      </p:sp>
      <p:sp>
        <p:nvSpPr>
          <p:cNvPr id="12" name="Oval 11"/>
          <p:cNvSpPr/>
          <p:nvPr/>
        </p:nvSpPr>
        <p:spPr>
          <a:xfrm>
            <a:off x="482802" y="34439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8" name="Group 5"/>
          <p:cNvGrpSpPr>
            <a:grpSpLocks noChangeAspect="1"/>
          </p:cNvGrpSpPr>
          <p:nvPr/>
        </p:nvGrpSpPr>
        <p:grpSpPr bwMode="auto">
          <a:xfrm flipH="1">
            <a:off x="648459" y="3571729"/>
            <a:ext cx="557668" cy="608012"/>
            <a:chOff x="2623" y="1819"/>
            <a:chExt cx="576" cy="628"/>
          </a:xfrm>
          <a:solidFill>
            <a:schemeClr val="bg1"/>
          </a:solidFill>
        </p:grpSpPr>
        <p:sp>
          <p:nvSpPr>
            <p:cNvPr id="10" name="Freeform 6"/>
            <p:cNvSpPr>
              <a:spLocks noEditPoints="1"/>
            </p:cNvSpPr>
            <p:nvPr/>
          </p:nvSpPr>
          <p:spPr bwMode="auto">
            <a:xfrm>
              <a:off x="2623" y="1819"/>
              <a:ext cx="576" cy="628"/>
            </a:xfrm>
            <a:custGeom>
              <a:avLst/>
              <a:gdLst>
                <a:gd name="T0" fmla="*/ 182 w 244"/>
                <a:gd name="T1" fmla="*/ 42 h 266"/>
                <a:gd name="T2" fmla="*/ 28 w 244"/>
                <a:gd name="T3" fmla="*/ 109 h 266"/>
                <a:gd name="T4" fmla="*/ 3 w 244"/>
                <a:gd name="T5" fmla="*/ 156 h 266"/>
                <a:gd name="T6" fmla="*/ 23 w 244"/>
                <a:gd name="T7" fmla="*/ 169 h 266"/>
                <a:gd name="T8" fmla="*/ 23 w 244"/>
                <a:gd name="T9" fmla="*/ 188 h 266"/>
                <a:gd name="T10" fmla="*/ 27 w 244"/>
                <a:gd name="T11" fmla="*/ 201 h 266"/>
                <a:gd name="T12" fmla="*/ 33 w 244"/>
                <a:gd name="T13" fmla="*/ 232 h 266"/>
                <a:gd name="T14" fmla="*/ 93 w 244"/>
                <a:gd name="T15" fmla="*/ 265 h 266"/>
                <a:gd name="T16" fmla="*/ 188 w 244"/>
                <a:gd name="T17" fmla="*/ 266 h 266"/>
                <a:gd name="T18" fmla="*/ 202 w 244"/>
                <a:gd name="T19" fmla="*/ 159 h 266"/>
                <a:gd name="T20" fmla="*/ 117 w 244"/>
                <a:gd name="T21" fmla="*/ 43 h 266"/>
                <a:gd name="T22" fmla="*/ 121 w 244"/>
                <a:gd name="T23" fmla="*/ 58 h 266"/>
                <a:gd name="T24" fmla="*/ 113 w 244"/>
                <a:gd name="T25" fmla="*/ 58 h 266"/>
                <a:gd name="T26" fmla="*/ 75 w 244"/>
                <a:gd name="T27" fmla="*/ 102 h 266"/>
                <a:gd name="T28" fmla="*/ 60 w 244"/>
                <a:gd name="T29" fmla="*/ 99 h 266"/>
                <a:gd name="T30" fmla="*/ 75 w 244"/>
                <a:gd name="T31" fmla="*/ 95 h 266"/>
                <a:gd name="T32" fmla="*/ 75 w 244"/>
                <a:gd name="T33" fmla="*/ 102 h 266"/>
                <a:gd name="T34" fmla="*/ 83 w 244"/>
                <a:gd name="T35" fmla="*/ 75 h 266"/>
                <a:gd name="T36" fmla="*/ 75 w 244"/>
                <a:gd name="T37" fmla="*/ 61 h 266"/>
                <a:gd name="T38" fmla="*/ 88 w 244"/>
                <a:gd name="T39" fmla="*/ 69 h 266"/>
                <a:gd name="T40" fmla="*/ 85 w 244"/>
                <a:gd name="T41" fmla="*/ 76 h 266"/>
                <a:gd name="T42" fmla="*/ 132 w 244"/>
                <a:gd name="T43" fmla="*/ 151 h 266"/>
                <a:gd name="T44" fmla="*/ 119 w 244"/>
                <a:gd name="T45" fmla="*/ 162 h 266"/>
                <a:gd name="T46" fmla="*/ 107 w 244"/>
                <a:gd name="T47" fmla="*/ 152 h 266"/>
                <a:gd name="T48" fmla="*/ 107 w 244"/>
                <a:gd name="T49" fmla="*/ 148 h 266"/>
                <a:gd name="T50" fmla="*/ 131 w 244"/>
                <a:gd name="T51" fmla="*/ 148 h 266"/>
                <a:gd name="T52" fmla="*/ 132 w 244"/>
                <a:gd name="T53" fmla="*/ 151 h 266"/>
                <a:gd name="T54" fmla="*/ 132 w 244"/>
                <a:gd name="T55" fmla="*/ 141 h 266"/>
                <a:gd name="T56" fmla="*/ 107 w 244"/>
                <a:gd name="T57" fmla="*/ 140 h 266"/>
                <a:gd name="T58" fmla="*/ 120 w 244"/>
                <a:gd name="T59" fmla="*/ 74 h 266"/>
                <a:gd name="T60" fmla="*/ 133 w 244"/>
                <a:gd name="T61" fmla="*/ 140 h 266"/>
                <a:gd name="T62" fmla="*/ 152 w 244"/>
                <a:gd name="T63" fmla="*/ 72 h 266"/>
                <a:gd name="T64" fmla="*/ 147 w 244"/>
                <a:gd name="T65" fmla="*/ 72 h 266"/>
                <a:gd name="T66" fmla="*/ 154 w 244"/>
                <a:gd name="T67" fmla="*/ 59 h 266"/>
                <a:gd name="T68" fmla="*/ 160 w 244"/>
                <a:gd name="T69" fmla="*/ 64 h 266"/>
                <a:gd name="T70" fmla="*/ 165 w 244"/>
                <a:gd name="T71" fmla="*/ 102 h 266"/>
                <a:gd name="T72" fmla="*/ 165 w 244"/>
                <a:gd name="T73" fmla="*/ 95 h 266"/>
                <a:gd name="T74" fmla="*/ 180 w 244"/>
                <a:gd name="T75" fmla="*/ 99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 h="266">
                  <a:moveTo>
                    <a:pt x="202" y="159"/>
                  </a:moveTo>
                  <a:cubicBezTo>
                    <a:pt x="202" y="159"/>
                    <a:pt x="244" y="88"/>
                    <a:pt x="182" y="42"/>
                  </a:cubicBezTo>
                  <a:cubicBezTo>
                    <a:pt x="182" y="42"/>
                    <a:pt x="121" y="0"/>
                    <a:pt x="51" y="45"/>
                  </a:cubicBezTo>
                  <a:cubicBezTo>
                    <a:pt x="51" y="45"/>
                    <a:pt x="22" y="64"/>
                    <a:pt x="28" y="109"/>
                  </a:cubicBezTo>
                  <a:cubicBezTo>
                    <a:pt x="28" y="109"/>
                    <a:pt x="31" y="122"/>
                    <a:pt x="28" y="127"/>
                  </a:cubicBezTo>
                  <a:cubicBezTo>
                    <a:pt x="3" y="156"/>
                    <a:pt x="3" y="156"/>
                    <a:pt x="3" y="156"/>
                  </a:cubicBezTo>
                  <a:cubicBezTo>
                    <a:pt x="3" y="156"/>
                    <a:pt x="0" y="165"/>
                    <a:pt x="10" y="166"/>
                  </a:cubicBezTo>
                  <a:cubicBezTo>
                    <a:pt x="23" y="169"/>
                    <a:pt x="23" y="169"/>
                    <a:pt x="23" y="169"/>
                  </a:cubicBezTo>
                  <a:cubicBezTo>
                    <a:pt x="24" y="179"/>
                    <a:pt x="24" y="179"/>
                    <a:pt x="24" y="179"/>
                  </a:cubicBezTo>
                  <a:cubicBezTo>
                    <a:pt x="24" y="179"/>
                    <a:pt x="17" y="184"/>
                    <a:pt x="23" y="188"/>
                  </a:cubicBezTo>
                  <a:cubicBezTo>
                    <a:pt x="23" y="188"/>
                    <a:pt x="28" y="191"/>
                    <a:pt x="24" y="193"/>
                  </a:cubicBezTo>
                  <a:cubicBezTo>
                    <a:pt x="24" y="193"/>
                    <a:pt x="17" y="198"/>
                    <a:pt x="27" y="201"/>
                  </a:cubicBezTo>
                  <a:cubicBezTo>
                    <a:pt x="27" y="201"/>
                    <a:pt x="31" y="205"/>
                    <a:pt x="28" y="211"/>
                  </a:cubicBezTo>
                  <a:cubicBezTo>
                    <a:pt x="28" y="211"/>
                    <a:pt x="20" y="222"/>
                    <a:pt x="33" y="232"/>
                  </a:cubicBezTo>
                  <a:cubicBezTo>
                    <a:pt x="35" y="232"/>
                    <a:pt x="41" y="239"/>
                    <a:pt x="85" y="230"/>
                  </a:cubicBezTo>
                  <a:cubicBezTo>
                    <a:pt x="85" y="230"/>
                    <a:pt x="95" y="233"/>
                    <a:pt x="93" y="265"/>
                  </a:cubicBezTo>
                  <a:cubicBezTo>
                    <a:pt x="96" y="265"/>
                    <a:pt x="180" y="266"/>
                    <a:pt x="180" y="266"/>
                  </a:cubicBezTo>
                  <a:cubicBezTo>
                    <a:pt x="188" y="266"/>
                    <a:pt x="188" y="266"/>
                    <a:pt x="188" y="266"/>
                  </a:cubicBezTo>
                  <a:cubicBezTo>
                    <a:pt x="188" y="266"/>
                    <a:pt x="181" y="234"/>
                    <a:pt x="183" y="207"/>
                  </a:cubicBezTo>
                  <a:cubicBezTo>
                    <a:pt x="183" y="207"/>
                    <a:pt x="189" y="178"/>
                    <a:pt x="202" y="159"/>
                  </a:cubicBezTo>
                  <a:close/>
                  <a:moveTo>
                    <a:pt x="113" y="47"/>
                  </a:moveTo>
                  <a:cubicBezTo>
                    <a:pt x="113" y="45"/>
                    <a:pt x="115" y="43"/>
                    <a:pt x="117" y="43"/>
                  </a:cubicBezTo>
                  <a:cubicBezTo>
                    <a:pt x="119" y="43"/>
                    <a:pt x="121" y="45"/>
                    <a:pt x="121" y="47"/>
                  </a:cubicBezTo>
                  <a:cubicBezTo>
                    <a:pt x="121" y="58"/>
                    <a:pt x="121" y="58"/>
                    <a:pt x="121" y="58"/>
                  </a:cubicBezTo>
                  <a:cubicBezTo>
                    <a:pt x="121" y="60"/>
                    <a:pt x="119" y="62"/>
                    <a:pt x="117" y="62"/>
                  </a:cubicBezTo>
                  <a:cubicBezTo>
                    <a:pt x="115" y="62"/>
                    <a:pt x="113" y="60"/>
                    <a:pt x="113" y="58"/>
                  </a:cubicBezTo>
                  <a:lnTo>
                    <a:pt x="113" y="47"/>
                  </a:lnTo>
                  <a:close/>
                  <a:moveTo>
                    <a:pt x="75" y="102"/>
                  </a:moveTo>
                  <a:cubicBezTo>
                    <a:pt x="64" y="102"/>
                    <a:pt x="64" y="102"/>
                    <a:pt x="64" y="102"/>
                  </a:cubicBezTo>
                  <a:cubicBezTo>
                    <a:pt x="62" y="102"/>
                    <a:pt x="60" y="101"/>
                    <a:pt x="60" y="99"/>
                  </a:cubicBezTo>
                  <a:cubicBezTo>
                    <a:pt x="60" y="96"/>
                    <a:pt x="62" y="95"/>
                    <a:pt x="64" y="95"/>
                  </a:cubicBezTo>
                  <a:cubicBezTo>
                    <a:pt x="75" y="95"/>
                    <a:pt x="75" y="95"/>
                    <a:pt x="75" y="95"/>
                  </a:cubicBezTo>
                  <a:cubicBezTo>
                    <a:pt x="77" y="95"/>
                    <a:pt x="79" y="96"/>
                    <a:pt x="79" y="99"/>
                  </a:cubicBezTo>
                  <a:cubicBezTo>
                    <a:pt x="79" y="101"/>
                    <a:pt x="77" y="102"/>
                    <a:pt x="75" y="102"/>
                  </a:cubicBezTo>
                  <a:close/>
                  <a:moveTo>
                    <a:pt x="85" y="76"/>
                  </a:moveTo>
                  <a:cubicBezTo>
                    <a:pt x="84" y="76"/>
                    <a:pt x="83" y="75"/>
                    <a:pt x="83" y="75"/>
                  </a:cubicBezTo>
                  <a:cubicBezTo>
                    <a:pt x="75" y="67"/>
                    <a:pt x="75" y="67"/>
                    <a:pt x="75" y="67"/>
                  </a:cubicBezTo>
                  <a:cubicBezTo>
                    <a:pt x="73" y="65"/>
                    <a:pt x="73" y="63"/>
                    <a:pt x="75" y="61"/>
                  </a:cubicBezTo>
                  <a:cubicBezTo>
                    <a:pt x="76" y="60"/>
                    <a:pt x="79" y="60"/>
                    <a:pt x="80" y="61"/>
                  </a:cubicBezTo>
                  <a:cubicBezTo>
                    <a:pt x="88" y="69"/>
                    <a:pt x="88" y="69"/>
                    <a:pt x="88" y="69"/>
                  </a:cubicBezTo>
                  <a:cubicBezTo>
                    <a:pt x="90" y="71"/>
                    <a:pt x="90" y="73"/>
                    <a:pt x="88" y="75"/>
                  </a:cubicBezTo>
                  <a:cubicBezTo>
                    <a:pt x="87" y="75"/>
                    <a:pt x="86" y="76"/>
                    <a:pt x="85" y="76"/>
                  </a:cubicBezTo>
                  <a:close/>
                  <a:moveTo>
                    <a:pt x="132" y="151"/>
                  </a:moveTo>
                  <a:cubicBezTo>
                    <a:pt x="132" y="151"/>
                    <a:pt x="132" y="151"/>
                    <a:pt x="132" y="151"/>
                  </a:cubicBezTo>
                  <a:cubicBezTo>
                    <a:pt x="132" y="152"/>
                    <a:pt x="132" y="152"/>
                    <a:pt x="132" y="152"/>
                  </a:cubicBezTo>
                  <a:cubicBezTo>
                    <a:pt x="130" y="158"/>
                    <a:pt x="125" y="162"/>
                    <a:pt x="119" y="162"/>
                  </a:cubicBezTo>
                  <a:cubicBezTo>
                    <a:pt x="114" y="162"/>
                    <a:pt x="109" y="158"/>
                    <a:pt x="107" y="152"/>
                  </a:cubicBezTo>
                  <a:cubicBezTo>
                    <a:pt x="107" y="152"/>
                    <a:pt x="107" y="152"/>
                    <a:pt x="107" y="152"/>
                  </a:cubicBezTo>
                  <a:cubicBezTo>
                    <a:pt x="107" y="150"/>
                    <a:pt x="107" y="150"/>
                    <a:pt x="107" y="150"/>
                  </a:cubicBezTo>
                  <a:cubicBezTo>
                    <a:pt x="107" y="148"/>
                    <a:pt x="107" y="148"/>
                    <a:pt x="107" y="148"/>
                  </a:cubicBezTo>
                  <a:cubicBezTo>
                    <a:pt x="108" y="148"/>
                    <a:pt x="108" y="148"/>
                    <a:pt x="108" y="148"/>
                  </a:cubicBezTo>
                  <a:cubicBezTo>
                    <a:pt x="131" y="148"/>
                    <a:pt x="131" y="148"/>
                    <a:pt x="131" y="148"/>
                  </a:cubicBezTo>
                  <a:cubicBezTo>
                    <a:pt x="132" y="148"/>
                    <a:pt x="132" y="148"/>
                    <a:pt x="132" y="148"/>
                  </a:cubicBezTo>
                  <a:lnTo>
                    <a:pt x="132" y="151"/>
                  </a:lnTo>
                  <a:close/>
                  <a:moveTo>
                    <a:pt x="133" y="140"/>
                  </a:moveTo>
                  <a:cubicBezTo>
                    <a:pt x="133" y="141"/>
                    <a:pt x="133" y="141"/>
                    <a:pt x="132" y="141"/>
                  </a:cubicBezTo>
                  <a:cubicBezTo>
                    <a:pt x="108" y="141"/>
                    <a:pt x="108" y="141"/>
                    <a:pt x="108" y="141"/>
                  </a:cubicBezTo>
                  <a:cubicBezTo>
                    <a:pt x="107" y="141"/>
                    <a:pt x="107" y="141"/>
                    <a:pt x="107" y="140"/>
                  </a:cubicBezTo>
                  <a:cubicBezTo>
                    <a:pt x="102" y="129"/>
                    <a:pt x="88" y="123"/>
                    <a:pt x="88" y="106"/>
                  </a:cubicBezTo>
                  <a:cubicBezTo>
                    <a:pt x="88" y="89"/>
                    <a:pt x="102" y="74"/>
                    <a:pt x="120" y="74"/>
                  </a:cubicBezTo>
                  <a:cubicBezTo>
                    <a:pt x="138" y="74"/>
                    <a:pt x="152" y="89"/>
                    <a:pt x="152" y="106"/>
                  </a:cubicBezTo>
                  <a:cubicBezTo>
                    <a:pt x="152" y="124"/>
                    <a:pt x="136" y="133"/>
                    <a:pt x="133" y="140"/>
                  </a:cubicBezTo>
                  <a:close/>
                  <a:moveTo>
                    <a:pt x="160" y="64"/>
                  </a:moveTo>
                  <a:cubicBezTo>
                    <a:pt x="152" y="72"/>
                    <a:pt x="152" y="72"/>
                    <a:pt x="152" y="72"/>
                  </a:cubicBezTo>
                  <a:cubicBezTo>
                    <a:pt x="151" y="73"/>
                    <a:pt x="150" y="73"/>
                    <a:pt x="149" y="73"/>
                  </a:cubicBezTo>
                  <a:cubicBezTo>
                    <a:pt x="148" y="73"/>
                    <a:pt x="147" y="73"/>
                    <a:pt x="147" y="72"/>
                  </a:cubicBezTo>
                  <a:cubicBezTo>
                    <a:pt x="145" y="71"/>
                    <a:pt x="145" y="68"/>
                    <a:pt x="147" y="67"/>
                  </a:cubicBezTo>
                  <a:cubicBezTo>
                    <a:pt x="154" y="59"/>
                    <a:pt x="154" y="59"/>
                    <a:pt x="154" y="59"/>
                  </a:cubicBezTo>
                  <a:cubicBezTo>
                    <a:pt x="156" y="57"/>
                    <a:pt x="158" y="57"/>
                    <a:pt x="160" y="59"/>
                  </a:cubicBezTo>
                  <a:cubicBezTo>
                    <a:pt x="161" y="60"/>
                    <a:pt x="161" y="63"/>
                    <a:pt x="160" y="64"/>
                  </a:cubicBezTo>
                  <a:close/>
                  <a:moveTo>
                    <a:pt x="176" y="102"/>
                  </a:moveTo>
                  <a:cubicBezTo>
                    <a:pt x="165" y="102"/>
                    <a:pt x="165" y="102"/>
                    <a:pt x="165" y="102"/>
                  </a:cubicBezTo>
                  <a:cubicBezTo>
                    <a:pt x="163" y="102"/>
                    <a:pt x="161" y="101"/>
                    <a:pt x="161" y="99"/>
                  </a:cubicBezTo>
                  <a:cubicBezTo>
                    <a:pt x="161" y="96"/>
                    <a:pt x="163" y="95"/>
                    <a:pt x="165" y="95"/>
                  </a:cubicBezTo>
                  <a:cubicBezTo>
                    <a:pt x="176" y="95"/>
                    <a:pt x="176" y="95"/>
                    <a:pt x="176" y="95"/>
                  </a:cubicBezTo>
                  <a:cubicBezTo>
                    <a:pt x="178" y="95"/>
                    <a:pt x="180" y="96"/>
                    <a:pt x="180" y="99"/>
                  </a:cubicBezTo>
                  <a:cubicBezTo>
                    <a:pt x="180" y="101"/>
                    <a:pt x="178" y="102"/>
                    <a:pt x="176"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2855" y="2015"/>
              <a:ext cx="63" cy="49"/>
            </a:xfrm>
            <a:custGeom>
              <a:avLst/>
              <a:gdLst>
                <a:gd name="T0" fmla="*/ 20 w 27"/>
                <a:gd name="T1" fmla="*/ 0 h 21"/>
                <a:gd name="T2" fmla="*/ 1 w 27"/>
                <a:gd name="T3" fmla="*/ 17 h 21"/>
                <a:gd name="T4" fmla="*/ 2 w 27"/>
                <a:gd name="T5" fmla="*/ 21 h 21"/>
                <a:gd name="T6" fmla="*/ 6 w 27"/>
                <a:gd name="T7" fmla="*/ 19 h 21"/>
                <a:gd name="T8" fmla="*/ 24 w 27"/>
                <a:gd name="T9" fmla="*/ 6 h 21"/>
                <a:gd name="T10" fmla="*/ 26 w 27"/>
                <a:gd name="T11" fmla="*/ 2 h 21"/>
                <a:gd name="T12" fmla="*/ 20 w 2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 h="21">
                  <a:moveTo>
                    <a:pt x="20" y="0"/>
                  </a:moveTo>
                  <a:cubicBezTo>
                    <a:pt x="9" y="2"/>
                    <a:pt x="3" y="7"/>
                    <a:pt x="1" y="17"/>
                  </a:cubicBezTo>
                  <a:cubicBezTo>
                    <a:pt x="0" y="19"/>
                    <a:pt x="1" y="20"/>
                    <a:pt x="2" y="21"/>
                  </a:cubicBezTo>
                  <a:cubicBezTo>
                    <a:pt x="4" y="21"/>
                    <a:pt x="5" y="21"/>
                    <a:pt x="6" y="19"/>
                  </a:cubicBezTo>
                  <a:cubicBezTo>
                    <a:pt x="10" y="13"/>
                    <a:pt x="16" y="8"/>
                    <a:pt x="24" y="6"/>
                  </a:cubicBezTo>
                  <a:cubicBezTo>
                    <a:pt x="26" y="5"/>
                    <a:pt x="27" y="4"/>
                    <a:pt x="26" y="2"/>
                  </a:cubicBezTo>
                  <a:cubicBezTo>
                    <a:pt x="25" y="0"/>
                    <a:pt x="22"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Footer Placeholder 1"/>
          <p:cNvSpPr>
            <a:spLocks noGrp="1"/>
          </p:cNvSpPr>
          <p:nvPr>
            <p:ph type="ftr" sz="quarter" idx="10"/>
          </p:nvPr>
        </p:nvSpPr>
        <p:spPr/>
        <p:txBody>
          <a:bodyPr/>
          <a:lstStyle/>
          <a:p>
            <a:r>
              <a:rPr lang="en-US" dirty="0" smtClean="0"/>
              <a:t>Copyright © 201</a:t>
            </a:r>
            <a:r>
              <a:rPr lang="en-US" altLang="zh-CN" dirty="0" smtClean="0"/>
              <a:t>6</a:t>
            </a:r>
            <a:r>
              <a:rPr lang="en-US" dirty="0" smtClean="0"/>
              <a:t> Accenture  All rights reserved.</a:t>
            </a:r>
            <a:endParaRPr lang="en-US" dirty="0"/>
          </a:p>
        </p:txBody>
      </p:sp>
      <p:sp>
        <p:nvSpPr>
          <p:cNvPr id="13" name="Rectangle 12"/>
          <p:cNvSpPr/>
          <p:nvPr/>
        </p:nvSpPr>
        <p:spPr>
          <a:xfrm>
            <a:off x="1241838" y="6122612"/>
            <a:ext cx="8424936" cy="400110"/>
          </a:xfrm>
          <a:prstGeom prst="rect">
            <a:avLst/>
          </a:prstGeom>
        </p:spPr>
        <p:txBody>
          <a:bodyPr wrap="square">
            <a:spAutoFit/>
          </a:bodyPr>
          <a:lstStyle/>
          <a:p>
            <a:pPr algn="ctr"/>
            <a:r>
              <a:rPr lang="en-GB" sz="1000" dirty="0" smtClean="0">
                <a:solidFill>
                  <a:schemeClr val="bg1"/>
                </a:solidFill>
                <a:latin typeface="SimSun" panose="02010600030101010101" pitchFamily="2" charset="-122"/>
                <a:ea typeface="SimSun" panose="02010600030101010101" pitchFamily="2" charset="-122"/>
              </a:rPr>
              <a:t>                                          DCSC: Development Control Service Centre</a:t>
            </a:r>
            <a:r>
              <a:rPr lang="en-GB" sz="1000" dirty="0">
                <a:solidFill>
                  <a:schemeClr val="bg1"/>
                </a:solidFill>
                <a:latin typeface="SimSun" panose="02010600030101010101" pitchFamily="2" charset="-122"/>
                <a:ea typeface="SimSun" panose="02010600030101010101" pitchFamily="2" charset="-122"/>
              </a:rPr>
              <a:t/>
            </a:r>
            <a:br>
              <a:rPr lang="en-GB" sz="1000" dirty="0">
                <a:solidFill>
                  <a:schemeClr val="bg1"/>
                </a:solidFill>
                <a:latin typeface="SimSun" panose="02010600030101010101" pitchFamily="2" charset="-122"/>
                <a:ea typeface="SimSun" panose="02010600030101010101" pitchFamily="2" charset="-122"/>
              </a:rPr>
            </a:br>
            <a:r>
              <a:rPr lang="zh-CN" altLang="en-US" sz="1000" dirty="0" smtClean="0">
                <a:solidFill>
                  <a:schemeClr val="bg1"/>
                </a:solidFill>
                <a:latin typeface="SimSun" panose="02010600030101010101" pitchFamily="2" charset="-122"/>
                <a:ea typeface="SimSun" panose="02010600030101010101" pitchFamily="2" charset="-122"/>
              </a:rPr>
              <a:t>                                                  </a:t>
            </a:r>
            <a:r>
              <a:rPr lang="en-US" sz="1000" dirty="0" smtClean="0">
                <a:solidFill>
                  <a:schemeClr val="bg1"/>
                </a:solidFill>
                <a:latin typeface="SimSun" panose="02010600030101010101" pitchFamily="2" charset="-122"/>
                <a:ea typeface="SimSun" panose="02010600030101010101" pitchFamily="2" charset="-122"/>
              </a:rPr>
              <a:t>DCSC</a:t>
            </a:r>
            <a:r>
              <a:rPr lang="zh-CN" altLang="en-US" sz="1000" dirty="0" smtClean="0">
                <a:solidFill>
                  <a:schemeClr val="bg1"/>
                </a:solidFill>
                <a:latin typeface="SimSun" panose="02010600030101010101" pitchFamily="2" charset="-122"/>
                <a:ea typeface="SimSun" panose="02010600030101010101" pitchFamily="2" charset="-122"/>
              </a:rPr>
              <a:t>目前在全球共有</a:t>
            </a:r>
            <a:r>
              <a:rPr lang="en-US" altLang="zh-CN" sz="1000" dirty="0">
                <a:solidFill>
                  <a:schemeClr val="bg1"/>
                </a:solidFill>
                <a:latin typeface="SimSun" panose="02010600030101010101" pitchFamily="2" charset="-122"/>
                <a:ea typeface="SimSun" panose="02010600030101010101" pitchFamily="2" charset="-122"/>
              </a:rPr>
              <a:t>230</a:t>
            </a:r>
            <a:r>
              <a:rPr lang="zh-CN" altLang="en-US" sz="1000" dirty="0">
                <a:solidFill>
                  <a:schemeClr val="bg1"/>
                </a:solidFill>
                <a:latin typeface="SimSun" panose="02010600030101010101" pitchFamily="2" charset="-122"/>
                <a:ea typeface="SimSun" panose="02010600030101010101" pitchFamily="2" charset="-122"/>
              </a:rPr>
              <a:t>人</a:t>
            </a:r>
            <a:r>
              <a:rPr lang="zh-CN" altLang="en-US" sz="1000" dirty="0" smtClean="0">
                <a:solidFill>
                  <a:schemeClr val="bg1"/>
                </a:solidFill>
                <a:latin typeface="SimSun" panose="02010600030101010101" pitchFamily="2" charset="-122"/>
                <a:ea typeface="SimSun" panose="02010600030101010101" pitchFamily="2" charset="-122"/>
              </a:rPr>
              <a:t>，为超过</a:t>
            </a:r>
            <a:r>
              <a:rPr lang="en-US" altLang="zh-CN" sz="1000" dirty="0" smtClean="0">
                <a:solidFill>
                  <a:schemeClr val="bg1"/>
                </a:solidFill>
                <a:latin typeface="SimSun" panose="02010600030101010101" pitchFamily="2" charset="-122"/>
                <a:ea typeface="SimSun" panose="02010600030101010101" pitchFamily="2" charset="-122"/>
              </a:rPr>
              <a:t>300</a:t>
            </a:r>
            <a:r>
              <a:rPr lang="zh-CN" altLang="en-US" sz="1000" dirty="0" smtClean="0">
                <a:solidFill>
                  <a:schemeClr val="bg1"/>
                </a:solidFill>
                <a:latin typeface="SimSun" panose="02010600030101010101" pitchFamily="2" charset="-122"/>
                <a:ea typeface="SimSun" panose="02010600030101010101" pitchFamily="2" charset="-122"/>
              </a:rPr>
              <a:t>个客户提供</a:t>
            </a:r>
            <a:r>
              <a:rPr lang="zh-CN" altLang="en-US" sz="1000" dirty="0">
                <a:solidFill>
                  <a:schemeClr val="bg1"/>
                </a:solidFill>
                <a:latin typeface="SimSun" panose="02010600030101010101" pitchFamily="2" charset="-122"/>
                <a:ea typeface="SimSun" panose="02010600030101010101" pitchFamily="2" charset="-122"/>
              </a:rPr>
              <a:t>支持</a:t>
            </a:r>
            <a:endParaRPr lang="en-GB" sz="1000" dirty="0" smtClean="0">
              <a:solidFill>
                <a:schemeClr val="bg1"/>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33311809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云</a:t>
            </a:r>
            <a:r>
              <a:rPr lang="zh-CN" altLang="en-US" dirty="0">
                <a:latin typeface="SimSun" panose="02010600030101010101" pitchFamily="2" charset="-122"/>
                <a:ea typeface="SimSun" panose="02010600030101010101" pitchFamily="2" charset="-122"/>
              </a:rPr>
              <a:t>的备份策略</a:t>
            </a:r>
            <a:endParaRPr lang="en-GB" altLang="ja-JP"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a:xfrm>
            <a:off x="455613" y="1746136"/>
            <a:ext cx="8232775" cy="3243556"/>
          </a:xfrm>
        </p:spPr>
        <p:txBody>
          <a:bodyPr/>
          <a:lstStyle/>
          <a:p>
            <a:pPr marL="0" indent="0">
              <a:buNone/>
            </a:pPr>
            <a:r>
              <a:rPr lang="zh-CN" altLang="en-US" dirty="0" smtClean="0">
                <a:latin typeface="SimSun" panose="02010600030101010101" pitchFamily="2" charset="-122"/>
                <a:ea typeface="SimSun" panose="02010600030101010101" pitchFamily="2" charset="-122"/>
              </a:rPr>
              <a:t>相对于服务器，更注重保护配置</a:t>
            </a:r>
            <a:endParaRPr lang="en-GB" dirty="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云服务可以便捷</a:t>
            </a:r>
            <a:r>
              <a:rPr lang="zh-CN" altLang="en-US" dirty="0" smtClean="0">
                <a:latin typeface="SimSun" panose="02010600030101010101" pitchFamily="2" charset="-122"/>
                <a:ea typeface="SimSun" panose="02010600030101010101" pitchFamily="2" charset="-122"/>
              </a:rPr>
              <a:t>的备份和恢复标准服务器，例如网络服务器和应用服务器，因此用户可以集中精力来保护配置和数据状态而不是服务器本身</a:t>
            </a:r>
            <a:r>
              <a:rPr lang="en-GB" dirty="0" smtClean="0">
                <a:latin typeface="SimSun" panose="02010600030101010101" pitchFamily="2" charset="-122"/>
                <a:ea typeface="SimSun" panose="02010600030101010101" pitchFamily="2" charset="-122"/>
              </a:rPr>
              <a:t>.</a:t>
            </a:r>
          </a:p>
          <a:p>
            <a:r>
              <a:rPr lang="zh-CN" altLang="en-US" dirty="0">
                <a:latin typeface="SimSun" panose="02010600030101010101" pitchFamily="2" charset="-122"/>
                <a:ea typeface="SimSun" panose="02010600030101010101" pitchFamily="2" charset="-122"/>
              </a:rPr>
              <a:t>这些数据比服务器的汇总数据小很</a:t>
            </a:r>
            <a:r>
              <a:rPr lang="zh-CN" altLang="en-US" dirty="0" smtClean="0">
                <a:latin typeface="SimSun" panose="02010600030101010101" pitchFamily="2" charset="-122"/>
                <a:ea typeface="SimSun" panose="02010600030101010101" pitchFamily="2" charset="-122"/>
              </a:rPr>
              <a:t>多</a:t>
            </a:r>
            <a:r>
              <a:rPr lang="zh-CN" altLang="en-US" dirty="0">
                <a:latin typeface="SimSun" panose="02010600030101010101" pitchFamily="2" charset="-122"/>
                <a:ea typeface="SimSun" panose="02010600030101010101" pitchFamily="2" charset="-122"/>
              </a:rPr>
              <a:t>，汇总数据通常</a:t>
            </a:r>
            <a:r>
              <a:rPr lang="zh-CN" altLang="en-US" dirty="0" smtClean="0">
                <a:latin typeface="SimSun" panose="02010600030101010101" pitchFamily="2" charset="-122"/>
                <a:ea typeface="SimSun" panose="02010600030101010101" pitchFamily="2" charset="-122"/>
              </a:rPr>
              <a:t>包括大量的应用程序文件，操作系统文件，临时文件等</a:t>
            </a:r>
            <a:r>
              <a:rPr lang="en-GB" dirty="0" smtClean="0">
                <a:latin typeface="SimSun" panose="02010600030101010101" pitchFamily="2" charset="-122"/>
                <a:ea typeface="SimSun" panose="02010600030101010101" pitchFamily="2" charset="-122"/>
              </a:rPr>
              <a:t>. </a:t>
            </a:r>
          </a:p>
          <a:p>
            <a:r>
              <a:rPr lang="zh-CN" altLang="en-US" dirty="0" smtClean="0">
                <a:latin typeface="SimSun" panose="02010600030101010101" pitchFamily="2" charset="-122"/>
                <a:ea typeface="SimSun" panose="02010600030101010101" pitchFamily="2" charset="-122"/>
              </a:rPr>
              <a:t>这种方法的改变意味着对于通常增加的夜间备份或者每周的全盘备份可以用更少的时间来完成，备份所占用的存储空间也将相应减少</a:t>
            </a:r>
            <a:r>
              <a:rPr lang="en-GB" dirty="0" smtClean="0">
                <a:latin typeface="SimSun" panose="02010600030101010101" pitchFamily="2" charset="-122"/>
                <a:ea typeface="SimSun" panose="02010600030101010101" pitchFamily="2" charset="-122"/>
              </a:rPr>
              <a:t>.</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备份</a:t>
            </a:r>
            <a:endParaRPr lang="en-GB" dirty="0">
              <a:latin typeface="SimSun" panose="02010600030101010101" pitchFamily="2" charset="-122"/>
              <a:ea typeface="SimSun" panose="02010600030101010101" pitchFamily="2" charset="-122"/>
            </a:endParaRPr>
          </a:p>
        </p:txBody>
      </p:sp>
      <p:sp>
        <p:nvSpPr>
          <p:cNvPr id="7"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1376229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11656"/>
          <a:stretch/>
        </p:blipFill>
        <p:spPr>
          <a:xfrm>
            <a:off x="0" y="1"/>
            <a:ext cx="9144000" cy="6857998"/>
          </a:xfrm>
          <a:prstGeom prst="rect">
            <a:avLst/>
          </a:prstGeom>
        </p:spPr>
      </p:pic>
      <p:sp>
        <p:nvSpPr>
          <p:cNvPr id="5" name="Rectangle 4"/>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imSun" panose="02010600030101010101" pitchFamily="2" charset="-122"/>
              <a:ea typeface="SimSun" panose="02010600030101010101" pitchFamily="2" charset="-122"/>
            </a:endParaRPr>
          </a:p>
        </p:txBody>
      </p:sp>
      <p:sp>
        <p:nvSpPr>
          <p:cNvPr id="6" name="Title 5"/>
          <p:cNvSpPr>
            <a:spLocks noGrp="1"/>
          </p:cNvSpPr>
          <p:nvPr>
            <p:ph type="ctrTitle"/>
          </p:nvPr>
        </p:nvSpPr>
        <p:spPr>
          <a:xfrm>
            <a:off x="455613" y="1185332"/>
            <a:ext cx="8232775" cy="724959"/>
          </a:xfrm>
        </p:spPr>
        <p:txBody>
          <a:bodyPr/>
          <a:lstStyle/>
          <a:p>
            <a:r>
              <a:rPr lang="en-GB" b="1" dirty="0" smtClean="0">
                <a:latin typeface="SimSun" panose="02010600030101010101" pitchFamily="2" charset="-122"/>
                <a:ea typeface="SimSun" panose="02010600030101010101" pitchFamily="2" charset="-122"/>
              </a:rPr>
              <a:t>DevOps</a:t>
            </a:r>
            <a:r>
              <a:rPr lang="zh-CN" altLang="en-US" dirty="0">
                <a:latin typeface="SimSun" panose="02010600030101010101" pitchFamily="2" charset="-122"/>
                <a:ea typeface="SimSun" panose="02010600030101010101" pitchFamily="2" charset="-122"/>
              </a:rPr>
              <a:t>核心概念</a:t>
            </a:r>
            <a:endParaRPr lang="en-US" dirty="0">
              <a:latin typeface="SimSun" panose="02010600030101010101" pitchFamily="2" charset="-122"/>
              <a:ea typeface="SimSun" panose="02010600030101010101" pitchFamily="2" charset="-122"/>
            </a:endParaRPr>
          </a:p>
        </p:txBody>
      </p:sp>
      <p:sp>
        <p:nvSpPr>
          <p:cNvPr id="2" name="Footer Placeholder 1"/>
          <p:cNvSpPr>
            <a:spLocks noGrp="1"/>
          </p:cNvSpPr>
          <p:nvPr>
            <p:ph type="ftr" sz="quarter" idx="10"/>
          </p:nvPr>
        </p:nvSpPr>
        <p:spPr/>
        <p:txBody>
          <a:bodyPr/>
          <a:lstStyle/>
          <a:p>
            <a:r>
              <a:rPr lang="en-US" dirty="0" smtClean="0"/>
              <a:t>Copyright © 201</a:t>
            </a:r>
            <a:r>
              <a:rPr lang="en-US" altLang="zh-CN" dirty="0" smtClean="0"/>
              <a:t>6</a:t>
            </a:r>
            <a:r>
              <a:rPr lang="en-US" dirty="0" smtClean="0"/>
              <a:t> Accenture  All rights reserved.</a:t>
            </a:r>
            <a:endParaRPr lang="en-US" dirty="0"/>
          </a:p>
        </p:txBody>
      </p:sp>
      <p:sp>
        <p:nvSpPr>
          <p:cNvPr id="7" name="Title 5"/>
          <p:cNvSpPr txBox="1">
            <a:spLocks/>
          </p:cNvSpPr>
          <p:nvPr/>
        </p:nvSpPr>
        <p:spPr>
          <a:xfrm>
            <a:off x="629183" y="4198394"/>
            <a:ext cx="7939084" cy="648246"/>
          </a:xfrm>
          <a:prstGeom prst="rect">
            <a:avLst/>
          </a:prstGeom>
        </p:spPr>
        <p:txBody>
          <a:bodyPr vert="horz" lIns="0" tIns="0" rIns="0" bIns="0" rtlCol="0" anchor="b"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bg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dirty="0" smtClean="0">
                <a:latin typeface="SimSun" panose="02010600030101010101" pitchFamily="2" charset="-122"/>
                <a:ea typeface="SimSun" panose="02010600030101010101" pitchFamily="2" charset="-122"/>
              </a:rPr>
              <a:t>软件配置管理</a:t>
            </a:r>
            <a:endParaRPr lang="en-US" dirty="0">
              <a:latin typeface="SimSun" panose="02010600030101010101" pitchFamily="2" charset="-122"/>
              <a:ea typeface="SimSun" panose="02010600030101010101" pitchFamily="2" charset="-122"/>
            </a:endParaRPr>
          </a:p>
        </p:txBody>
      </p:sp>
      <p:grpSp>
        <p:nvGrpSpPr>
          <p:cNvPr id="17" name="Group 16"/>
          <p:cNvGrpSpPr/>
          <p:nvPr/>
        </p:nvGrpSpPr>
        <p:grpSpPr>
          <a:xfrm>
            <a:off x="640848" y="3044731"/>
            <a:ext cx="929682" cy="929680"/>
            <a:chOff x="482802" y="2072373"/>
            <a:chExt cx="929682" cy="929680"/>
          </a:xfrm>
        </p:grpSpPr>
        <p:sp>
          <p:nvSpPr>
            <p:cNvPr id="18" name="Oval 17"/>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9" name="Group 18"/>
            <p:cNvGrpSpPr/>
            <p:nvPr/>
          </p:nvGrpSpPr>
          <p:grpSpPr>
            <a:xfrm>
              <a:off x="689674" y="2271490"/>
              <a:ext cx="515937" cy="531443"/>
              <a:chOff x="-1168400" y="2544763"/>
              <a:chExt cx="581025" cy="598487"/>
            </a:xfrm>
            <a:solidFill>
              <a:schemeClr val="accent4"/>
            </a:solidFill>
          </p:grpSpPr>
          <p:sp>
            <p:nvSpPr>
              <p:cNvPr id="20" name="Freeform 19"/>
              <p:cNvSpPr>
                <a:spLocks/>
              </p:cNvSpPr>
              <p:nvPr/>
            </p:nvSpPr>
            <p:spPr bwMode="auto">
              <a:xfrm>
                <a:off x="-1168400" y="2544763"/>
                <a:ext cx="130175" cy="598487"/>
              </a:xfrm>
              <a:custGeom>
                <a:avLst/>
                <a:gdLst>
                  <a:gd name="T0" fmla="*/ 397 w 527"/>
                  <a:gd name="T1" fmla="*/ 872 h 2412"/>
                  <a:gd name="T2" fmla="*/ 397 w 527"/>
                  <a:gd name="T3" fmla="*/ 138 h 2412"/>
                  <a:gd name="T4" fmla="*/ 259 w 527"/>
                  <a:gd name="T5" fmla="*/ 0 h 2412"/>
                  <a:gd name="T6" fmla="*/ 259 w 527"/>
                  <a:gd name="T7" fmla="*/ 0 h 2412"/>
                  <a:gd name="T8" fmla="*/ 121 w 527"/>
                  <a:gd name="T9" fmla="*/ 138 h 2412"/>
                  <a:gd name="T10" fmla="*/ 121 w 527"/>
                  <a:gd name="T11" fmla="*/ 872 h 2412"/>
                  <a:gd name="T12" fmla="*/ 0 w 527"/>
                  <a:gd name="T13" fmla="*/ 1004 h 2412"/>
                  <a:gd name="T14" fmla="*/ 0 w 527"/>
                  <a:gd name="T15" fmla="*/ 1166 h 2412"/>
                  <a:gd name="T16" fmla="*/ 121 w 527"/>
                  <a:gd name="T17" fmla="*/ 1297 h 2412"/>
                  <a:gd name="T18" fmla="*/ 121 w 527"/>
                  <a:gd name="T19" fmla="*/ 2274 h 2412"/>
                  <a:gd name="T20" fmla="*/ 259 w 527"/>
                  <a:gd name="T21" fmla="*/ 2412 h 2412"/>
                  <a:gd name="T22" fmla="*/ 259 w 527"/>
                  <a:gd name="T23" fmla="*/ 2412 h 2412"/>
                  <a:gd name="T24" fmla="*/ 397 w 527"/>
                  <a:gd name="T25" fmla="*/ 2274 h 2412"/>
                  <a:gd name="T26" fmla="*/ 397 w 527"/>
                  <a:gd name="T27" fmla="*/ 1297 h 2412"/>
                  <a:gd name="T28" fmla="*/ 527 w 527"/>
                  <a:gd name="T29" fmla="*/ 1166 h 2412"/>
                  <a:gd name="T30" fmla="*/ 527 w 527"/>
                  <a:gd name="T31" fmla="*/ 1004 h 2412"/>
                  <a:gd name="T32" fmla="*/ 397 w 527"/>
                  <a:gd name="T33" fmla="*/ 872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7" h="2412">
                    <a:moveTo>
                      <a:pt x="397" y="872"/>
                    </a:moveTo>
                    <a:cubicBezTo>
                      <a:pt x="397" y="138"/>
                      <a:pt x="397" y="138"/>
                      <a:pt x="397" y="138"/>
                    </a:cubicBezTo>
                    <a:cubicBezTo>
                      <a:pt x="397" y="62"/>
                      <a:pt x="335" y="0"/>
                      <a:pt x="259" y="0"/>
                    </a:cubicBezTo>
                    <a:cubicBezTo>
                      <a:pt x="259" y="0"/>
                      <a:pt x="259" y="0"/>
                      <a:pt x="259" y="0"/>
                    </a:cubicBezTo>
                    <a:cubicBezTo>
                      <a:pt x="183" y="0"/>
                      <a:pt x="121" y="62"/>
                      <a:pt x="121" y="138"/>
                    </a:cubicBezTo>
                    <a:cubicBezTo>
                      <a:pt x="121" y="872"/>
                      <a:pt x="121" y="872"/>
                      <a:pt x="121" y="872"/>
                    </a:cubicBezTo>
                    <a:cubicBezTo>
                      <a:pt x="53" y="877"/>
                      <a:pt x="0" y="934"/>
                      <a:pt x="0" y="1004"/>
                    </a:cubicBezTo>
                    <a:cubicBezTo>
                      <a:pt x="0" y="1166"/>
                      <a:pt x="0" y="1166"/>
                      <a:pt x="0" y="1166"/>
                    </a:cubicBezTo>
                    <a:cubicBezTo>
                      <a:pt x="0" y="1235"/>
                      <a:pt x="53" y="1292"/>
                      <a:pt x="121" y="1297"/>
                    </a:cubicBezTo>
                    <a:cubicBezTo>
                      <a:pt x="121" y="2274"/>
                      <a:pt x="121" y="2274"/>
                      <a:pt x="121" y="2274"/>
                    </a:cubicBezTo>
                    <a:cubicBezTo>
                      <a:pt x="121" y="2350"/>
                      <a:pt x="183" y="2412"/>
                      <a:pt x="259" y="2412"/>
                    </a:cubicBezTo>
                    <a:cubicBezTo>
                      <a:pt x="259" y="2412"/>
                      <a:pt x="259" y="2412"/>
                      <a:pt x="259" y="2412"/>
                    </a:cubicBezTo>
                    <a:cubicBezTo>
                      <a:pt x="335" y="2412"/>
                      <a:pt x="397" y="2350"/>
                      <a:pt x="397" y="2274"/>
                    </a:cubicBezTo>
                    <a:cubicBezTo>
                      <a:pt x="397" y="1297"/>
                      <a:pt x="397" y="1297"/>
                      <a:pt x="397" y="1297"/>
                    </a:cubicBezTo>
                    <a:cubicBezTo>
                      <a:pt x="469" y="1297"/>
                      <a:pt x="527" y="1238"/>
                      <a:pt x="527" y="1166"/>
                    </a:cubicBezTo>
                    <a:cubicBezTo>
                      <a:pt x="527" y="1004"/>
                      <a:pt x="527" y="1004"/>
                      <a:pt x="527" y="1004"/>
                    </a:cubicBezTo>
                    <a:cubicBezTo>
                      <a:pt x="527" y="931"/>
                      <a:pt x="469" y="872"/>
                      <a:pt x="397" y="8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p:nvSpPr>
            <p:spPr bwMode="auto">
              <a:xfrm>
                <a:off x="-1019175" y="2544763"/>
                <a:ext cx="131763" cy="598487"/>
              </a:xfrm>
              <a:custGeom>
                <a:avLst/>
                <a:gdLst>
                  <a:gd name="T0" fmla="*/ 402 w 528"/>
                  <a:gd name="T1" fmla="*/ 1586 h 2412"/>
                  <a:gd name="T2" fmla="*/ 402 w 528"/>
                  <a:gd name="T3" fmla="*/ 138 h 2412"/>
                  <a:gd name="T4" fmla="*/ 264 w 528"/>
                  <a:gd name="T5" fmla="*/ 0 h 2412"/>
                  <a:gd name="T6" fmla="*/ 264 w 528"/>
                  <a:gd name="T7" fmla="*/ 0 h 2412"/>
                  <a:gd name="T8" fmla="*/ 126 w 528"/>
                  <a:gd name="T9" fmla="*/ 138 h 2412"/>
                  <a:gd name="T10" fmla="*/ 126 w 528"/>
                  <a:gd name="T11" fmla="*/ 1586 h 2412"/>
                  <a:gd name="T12" fmla="*/ 0 w 528"/>
                  <a:gd name="T13" fmla="*/ 1717 h 2412"/>
                  <a:gd name="T14" fmla="*/ 0 w 528"/>
                  <a:gd name="T15" fmla="*/ 1879 h 2412"/>
                  <a:gd name="T16" fmla="*/ 126 w 528"/>
                  <a:gd name="T17" fmla="*/ 2011 h 2412"/>
                  <a:gd name="T18" fmla="*/ 126 w 528"/>
                  <a:gd name="T19" fmla="*/ 2274 h 2412"/>
                  <a:gd name="T20" fmla="*/ 264 w 528"/>
                  <a:gd name="T21" fmla="*/ 2412 h 2412"/>
                  <a:gd name="T22" fmla="*/ 264 w 528"/>
                  <a:gd name="T23" fmla="*/ 2412 h 2412"/>
                  <a:gd name="T24" fmla="*/ 402 w 528"/>
                  <a:gd name="T25" fmla="*/ 2274 h 2412"/>
                  <a:gd name="T26" fmla="*/ 402 w 528"/>
                  <a:gd name="T27" fmla="*/ 2011 h 2412"/>
                  <a:gd name="T28" fmla="*/ 528 w 528"/>
                  <a:gd name="T29" fmla="*/ 1879 h 2412"/>
                  <a:gd name="T30" fmla="*/ 528 w 528"/>
                  <a:gd name="T31" fmla="*/ 1717 h 2412"/>
                  <a:gd name="T32" fmla="*/ 402 w 528"/>
                  <a:gd name="T33" fmla="*/ 1586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586"/>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586"/>
                      <a:pt x="126" y="1586"/>
                      <a:pt x="126" y="1586"/>
                    </a:cubicBezTo>
                    <a:cubicBezTo>
                      <a:pt x="56" y="1589"/>
                      <a:pt x="0" y="1647"/>
                      <a:pt x="0" y="1717"/>
                    </a:cubicBezTo>
                    <a:cubicBezTo>
                      <a:pt x="0" y="1879"/>
                      <a:pt x="0" y="1879"/>
                      <a:pt x="0" y="1879"/>
                    </a:cubicBezTo>
                    <a:cubicBezTo>
                      <a:pt x="0" y="1950"/>
                      <a:pt x="56" y="2008"/>
                      <a:pt x="126" y="2011"/>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2011"/>
                      <a:pt x="402" y="2011"/>
                      <a:pt x="402" y="2011"/>
                    </a:cubicBezTo>
                    <a:cubicBezTo>
                      <a:pt x="472" y="2008"/>
                      <a:pt x="528" y="1950"/>
                      <a:pt x="528" y="1879"/>
                    </a:cubicBezTo>
                    <a:cubicBezTo>
                      <a:pt x="528" y="1717"/>
                      <a:pt x="528" y="1717"/>
                      <a:pt x="528" y="1717"/>
                    </a:cubicBezTo>
                    <a:cubicBezTo>
                      <a:pt x="528" y="1647"/>
                      <a:pt x="472" y="1589"/>
                      <a:pt x="402" y="15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868363" y="2544763"/>
                <a:ext cx="130175" cy="598487"/>
              </a:xfrm>
              <a:custGeom>
                <a:avLst/>
                <a:gdLst>
                  <a:gd name="T0" fmla="*/ 402 w 528"/>
                  <a:gd name="T1" fmla="*/ 344 h 2412"/>
                  <a:gd name="T2" fmla="*/ 402 w 528"/>
                  <a:gd name="T3" fmla="*/ 138 h 2412"/>
                  <a:gd name="T4" fmla="*/ 264 w 528"/>
                  <a:gd name="T5" fmla="*/ 0 h 2412"/>
                  <a:gd name="T6" fmla="*/ 264 w 528"/>
                  <a:gd name="T7" fmla="*/ 0 h 2412"/>
                  <a:gd name="T8" fmla="*/ 126 w 528"/>
                  <a:gd name="T9" fmla="*/ 138 h 2412"/>
                  <a:gd name="T10" fmla="*/ 126 w 528"/>
                  <a:gd name="T11" fmla="*/ 344 h 2412"/>
                  <a:gd name="T12" fmla="*/ 0 w 528"/>
                  <a:gd name="T13" fmla="*/ 476 h 2412"/>
                  <a:gd name="T14" fmla="*/ 0 w 528"/>
                  <a:gd name="T15" fmla="*/ 638 h 2412"/>
                  <a:gd name="T16" fmla="*/ 126 w 528"/>
                  <a:gd name="T17" fmla="*/ 769 h 2412"/>
                  <a:gd name="T18" fmla="*/ 126 w 528"/>
                  <a:gd name="T19" fmla="*/ 2274 h 2412"/>
                  <a:gd name="T20" fmla="*/ 264 w 528"/>
                  <a:gd name="T21" fmla="*/ 2412 h 2412"/>
                  <a:gd name="T22" fmla="*/ 264 w 528"/>
                  <a:gd name="T23" fmla="*/ 2412 h 2412"/>
                  <a:gd name="T24" fmla="*/ 402 w 528"/>
                  <a:gd name="T25" fmla="*/ 2274 h 2412"/>
                  <a:gd name="T26" fmla="*/ 402 w 528"/>
                  <a:gd name="T27" fmla="*/ 769 h 2412"/>
                  <a:gd name="T28" fmla="*/ 528 w 528"/>
                  <a:gd name="T29" fmla="*/ 638 h 2412"/>
                  <a:gd name="T30" fmla="*/ 528 w 528"/>
                  <a:gd name="T31" fmla="*/ 476 h 2412"/>
                  <a:gd name="T32" fmla="*/ 402 w 528"/>
                  <a:gd name="T33" fmla="*/ 344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344"/>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344"/>
                      <a:pt x="126" y="344"/>
                      <a:pt x="126" y="344"/>
                    </a:cubicBezTo>
                    <a:cubicBezTo>
                      <a:pt x="56" y="347"/>
                      <a:pt x="0" y="405"/>
                      <a:pt x="0" y="476"/>
                    </a:cubicBezTo>
                    <a:cubicBezTo>
                      <a:pt x="0" y="638"/>
                      <a:pt x="0" y="638"/>
                      <a:pt x="0" y="638"/>
                    </a:cubicBezTo>
                    <a:cubicBezTo>
                      <a:pt x="0" y="708"/>
                      <a:pt x="56" y="766"/>
                      <a:pt x="126" y="769"/>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769"/>
                      <a:pt x="402" y="769"/>
                      <a:pt x="402" y="769"/>
                    </a:cubicBezTo>
                    <a:cubicBezTo>
                      <a:pt x="472" y="766"/>
                      <a:pt x="528" y="708"/>
                      <a:pt x="528" y="638"/>
                    </a:cubicBezTo>
                    <a:cubicBezTo>
                      <a:pt x="528" y="476"/>
                      <a:pt x="528" y="476"/>
                      <a:pt x="528" y="476"/>
                    </a:cubicBezTo>
                    <a:cubicBezTo>
                      <a:pt x="528" y="405"/>
                      <a:pt x="472" y="347"/>
                      <a:pt x="402"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717550" y="2544763"/>
                <a:ext cx="130175" cy="598487"/>
              </a:xfrm>
              <a:custGeom>
                <a:avLst/>
                <a:gdLst>
                  <a:gd name="T0" fmla="*/ 402 w 528"/>
                  <a:gd name="T1" fmla="*/ 1295 h 2412"/>
                  <a:gd name="T2" fmla="*/ 402 w 528"/>
                  <a:gd name="T3" fmla="*/ 138 h 2412"/>
                  <a:gd name="T4" fmla="*/ 264 w 528"/>
                  <a:gd name="T5" fmla="*/ 0 h 2412"/>
                  <a:gd name="T6" fmla="*/ 264 w 528"/>
                  <a:gd name="T7" fmla="*/ 0 h 2412"/>
                  <a:gd name="T8" fmla="*/ 126 w 528"/>
                  <a:gd name="T9" fmla="*/ 138 h 2412"/>
                  <a:gd name="T10" fmla="*/ 126 w 528"/>
                  <a:gd name="T11" fmla="*/ 1295 h 2412"/>
                  <a:gd name="T12" fmla="*/ 0 w 528"/>
                  <a:gd name="T13" fmla="*/ 1426 h 2412"/>
                  <a:gd name="T14" fmla="*/ 0 w 528"/>
                  <a:gd name="T15" fmla="*/ 1588 h 2412"/>
                  <a:gd name="T16" fmla="*/ 126 w 528"/>
                  <a:gd name="T17" fmla="*/ 1720 h 2412"/>
                  <a:gd name="T18" fmla="*/ 126 w 528"/>
                  <a:gd name="T19" fmla="*/ 2274 h 2412"/>
                  <a:gd name="T20" fmla="*/ 264 w 528"/>
                  <a:gd name="T21" fmla="*/ 2412 h 2412"/>
                  <a:gd name="T22" fmla="*/ 264 w 528"/>
                  <a:gd name="T23" fmla="*/ 2412 h 2412"/>
                  <a:gd name="T24" fmla="*/ 402 w 528"/>
                  <a:gd name="T25" fmla="*/ 2274 h 2412"/>
                  <a:gd name="T26" fmla="*/ 402 w 528"/>
                  <a:gd name="T27" fmla="*/ 1720 h 2412"/>
                  <a:gd name="T28" fmla="*/ 528 w 528"/>
                  <a:gd name="T29" fmla="*/ 1588 h 2412"/>
                  <a:gd name="T30" fmla="*/ 528 w 528"/>
                  <a:gd name="T31" fmla="*/ 1426 h 2412"/>
                  <a:gd name="T32" fmla="*/ 402 w 528"/>
                  <a:gd name="T33" fmla="*/ 1295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295"/>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295"/>
                      <a:pt x="126" y="1295"/>
                      <a:pt x="126" y="1295"/>
                    </a:cubicBezTo>
                    <a:cubicBezTo>
                      <a:pt x="56" y="1298"/>
                      <a:pt x="0" y="1356"/>
                      <a:pt x="0" y="1426"/>
                    </a:cubicBezTo>
                    <a:cubicBezTo>
                      <a:pt x="0" y="1588"/>
                      <a:pt x="0" y="1588"/>
                      <a:pt x="0" y="1588"/>
                    </a:cubicBezTo>
                    <a:cubicBezTo>
                      <a:pt x="0" y="1659"/>
                      <a:pt x="56" y="1717"/>
                      <a:pt x="126" y="1720"/>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1720"/>
                      <a:pt x="402" y="1720"/>
                      <a:pt x="402" y="1720"/>
                    </a:cubicBezTo>
                    <a:cubicBezTo>
                      <a:pt x="472" y="1717"/>
                      <a:pt x="528" y="1659"/>
                      <a:pt x="528" y="1588"/>
                    </a:cubicBezTo>
                    <a:cubicBezTo>
                      <a:pt x="528" y="1426"/>
                      <a:pt x="528" y="1426"/>
                      <a:pt x="528" y="1426"/>
                    </a:cubicBezTo>
                    <a:cubicBezTo>
                      <a:pt x="528" y="1356"/>
                      <a:pt x="472" y="1298"/>
                      <a:pt x="402" y="1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9021478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6"/>
          <p:cNvSpPr>
            <a:spLocks/>
          </p:cNvSpPr>
          <p:nvPr/>
        </p:nvSpPr>
        <p:spPr bwMode="auto">
          <a:xfrm>
            <a:off x="455613"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756000" rIns="36000" bIns="72000" numCol="1" anchor="t" anchorCtr="0" compatLnSpc="1">
            <a:prstTxWarp prst="textNoShape">
              <a:avLst/>
            </a:prstTxWarp>
          </a:bodyPr>
          <a:lstStyle/>
          <a:p>
            <a:pPr>
              <a:spcBef>
                <a:spcPts val="600"/>
              </a:spcBef>
              <a:spcAft>
                <a:spcPts val="600"/>
              </a:spcAft>
            </a:pPr>
            <a:r>
              <a:rPr lang="en-US" sz="2000" dirty="0">
                <a:solidFill>
                  <a:schemeClr val="accent5"/>
                </a:solidFill>
                <a:latin typeface="SimSun" panose="02010600030101010101" pitchFamily="2" charset="-122"/>
                <a:ea typeface="SimSun" panose="02010600030101010101" pitchFamily="2" charset="-122"/>
              </a:rPr>
              <a:t>A </a:t>
            </a:r>
            <a:r>
              <a:rPr lang="en-US" sz="2000" dirty="0" smtClean="0">
                <a:solidFill>
                  <a:schemeClr val="accent5"/>
                </a:solidFill>
                <a:latin typeface="SimSun" panose="02010600030101010101" pitchFamily="2" charset="-122"/>
                <a:ea typeface="SimSun" panose="02010600030101010101" pitchFamily="2" charset="-122"/>
              </a:rPr>
              <a:t>– </a:t>
            </a:r>
            <a:r>
              <a:rPr lang="zh-CN" altLang="en-US" sz="2000" dirty="0">
                <a:solidFill>
                  <a:schemeClr val="accent5"/>
                </a:solidFill>
                <a:latin typeface="SimSun" panose="02010600030101010101" pitchFamily="2" charset="-122"/>
                <a:ea typeface="SimSun" panose="02010600030101010101" pitchFamily="2" charset="-122"/>
              </a:rPr>
              <a:t>工业</a:t>
            </a:r>
            <a:r>
              <a:rPr lang="en-US" sz="2000" dirty="0" smtClean="0">
                <a:solidFill>
                  <a:schemeClr val="accent5"/>
                </a:solidFill>
                <a:latin typeface="SimSun" panose="02010600030101010101" pitchFamily="2" charset="-122"/>
                <a:ea typeface="SimSun" panose="02010600030101010101" pitchFamily="2" charset="-122"/>
              </a:rPr>
              <a:t>*</a:t>
            </a:r>
            <a:endParaRPr lang="en-US" sz="1600" dirty="0">
              <a:solidFill>
                <a:schemeClr val="tx2"/>
              </a:solidFill>
              <a:latin typeface="SimSun" panose="02010600030101010101" pitchFamily="2" charset="-122"/>
              <a:ea typeface="SimSun" panose="02010600030101010101" pitchFamily="2" charset="-122"/>
            </a:endParaRPr>
          </a:p>
          <a:p>
            <a:pPr>
              <a:lnSpc>
                <a:spcPct val="95000"/>
              </a:lnSpc>
              <a:spcBef>
                <a:spcPts val="0"/>
              </a:spcBef>
              <a:spcAft>
                <a:spcPts val="0"/>
              </a:spcAft>
            </a:pPr>
            <a:r>
              <a:rPr lang="zh-CN" altLang="en-US" sz="1200" dirty="0" smtClean="0">
                <a:solidFill>
                  <a:schemeClr val="tx2"/>
                </a:solidFill>
                <a:latin typeface="SimSun" panose="02010600030101010101" pitchFamily="2" charset="-122"/>
                <a:ea typeface="SimSun" panose="02010600030101010101" pitchFamily="2" charset="-122"/>
              </a:rPr>
              <a:t>配置管理</a:t>
            </a:r>
            <a:r>
              <a:rPr lang="en-US" altLang="en-US" sz="1200" dirty="0" smtClean="0">
                <a:solidFill>
                  <a:schemeClr val="tx2"/>
                </a:solidFill>
                <a:latin typeface="SimSun" panose="02010600030101010101" pitchFamily="2" charset="-122"/>
                <a:ea typeface="SimSun" panose="02010600030101010101" pitchFamily="2" charset="-122"/>
              </a:rPr>
              <a:t>(CM)</a:t>
            </a:r>
            <a:r>
              <a:rPr lang="zh-CN" altLang="en-US" sz="1200" dirty="0" smtClean="0">
                <a:solidFill>
                  <a:schemeClr val="tx2"/>
                </a:solidFill>
                <a:latin typeface="SimSun" panose="02010600030101010101" pitchFamily="2" charset="-122"/>
                <a:ea typeface="SimSun" panose="02010600030101010101" pitchFamily="2" charset="-122"/>
              </a:rPr>
              <a:t>是在一种</a:t>
            </a:r>
            <a:r>
              <a:rPr lang="en-US" altLang="zh-CN" sz="1200" dirty="0" smtClean="0">
                <a:solidFill>
                  <a:schemeClr val="tx2"/>
                </a:solidFill>
                <a:latin typeface="SimSun" panose="02010600030101010101" pitchFamily="2" charset="-122"/>
                <a:ea typeface="SimSun" panose="02010600030101010101" pitchFamily="2" charset="-122"/>
              </a:rPr>
              <a:t>IT</a:t>
            </a:r>
            <a:r>
              <a:rPr lang="zh-CN" altLang="en-US" sz="1200" dirty="0" smtClean="0">
                <a:solidFill>
                  <a:schemeClr val="tx2"/>
                </a:solidFill>
                <a:latin typeface="SimSun" panose="02010600030101010101" pitchFamily="2" charset="-122"/>
                <a:ea typeface="SimSun" panose="02010600030101010101" pitchFamily="2" charset="-122"/>
              </a:rPr>
              <a:t>系统中跟踪个人配置项 </a:t>
            </a:r>
            <a:r>
              <a:rPr lang="en-US" altLang="en-US" sz="1200" dirty="0" smtClean="0">
                <a:solidFill>
                  <a:schemeClr val="tx2"/>
                </a:solidFill>
                <a:latin typeface="SimSun" panose="02010600030101010101" pitchFamily="2" charset="-122"/>
                <a:ea typeface="SimSun" panose="02010600030101010101" pitchFamily="2" charset="-122"/>
              </a:rPr>
              <a:t>(</a:t>
            </a:r>
            <a:r>
              <a:rPr lang="en-US" altLang="en-US" sz="1200" dirty="0">
                <a:solidFill>
                  <a:schemeClr val="tx2"/>
                </a:solidFill>
                <a:latin typeface="SimSun" panose="02010600030101010101" pitchFamily="2" charset="-122"/>
                <a:ea typeface="SimSun" panose="02010600030101010101" pitchFamily="2" charset="-122"/>
              </a:rPr>
              <a:t>CI</a:t>
            </a:r>
            <a:r>
              <a:rPr lang="en-US" altLang="en-US" sz="1200" dirty="0" smtClean="0">
                <a:solidFill>
                  <a:schemeClr val="tx2"/>
                </a:solidFill>
                <a:latin typeface="SimSun" panose="02010600030101010101" pitchFamily="2" charset="-122"/>
                <a:ea typeface="SimSun" panose="02010600030101010101" pitchFamily="2" charset="-122"/>
              </a:rPr>
              <a:t>)</a:t>
            </a:r>
            <a:r>
              <a:rPr lang="zh-CN" altLang="en-US" sz="1200" dirty="0">
                <a:solidFill>
                  <a:schemeClr val="tx2"/>
                </a:solidFill>
                <a:latin typeface="SimSun" panose="02010600030101010101" pitchFamily="2" charset="-122"/>
                <a:ea typeface="SimSun" panose="02010600030101010101" pitchFamily="2" charset="-122"/>
              </a:rPr>
              <a:t>的信息技术基础库</a:t>
            </a:r>
            <a:r>
              <a:rPr lang="en-US" altLang="en-US" sz="1200" dirty="0">
                <a:solidFill>
                  <a:schemeClr val="tx2"/>
                </a:solidFill>
                <a:latin typeface="SimSun" panose="02010600030101010101" pitchFamily="2" charset="-122"/>
                <a:ea typeface="SimSun" panose="02010600030101010101" pitchFamily="2" charset="-122"/>
              </a:rPr>
              <a:t/>
            </a:r>
            <a:br>
              <a:rPr lang="en-US" altLang="en-US" sz="1200" dirty="0">
                <a:solidFill>
                  <a:schemeClr val="tx2"/>
                </a:solidFill>
                <a:latin typeface="SimSun" panose="02010600030101010101" pitchFamily="2" charset="-122"/>
                <a:ea typeface="SimSun" panose="02010600030101010101" pitchFamily="2" charset="-122"/>
              </a:rPr>
            </a:br>
            <a:r>
              <a:rPr lang="en-US" altLang="en-US" sz="1200" dirty="0" smtClean="0">
                <a:solidFill>
                  <a:schemeClr val="tx2"/>
                </a:solidFill>
                <a:latin typeface="SimSun" panose="02010600030101010101" pitchFamily="2" charset="-122"/>
                <a:ea typeface="SimSun" panose="02010600030101010101" pitchFamily="2" charset="-122"/>
              </a:rPr>
              <a:t>(</a:t>
            </a:r>
            <a:r>
              <a:rPr lang="en-US" altLang="en-US" sz="1200" dirty="0">
                <a:solidFill>
                  <a:schemeClr val="tx2"/>
                </a:solidFill>
                <a:latin typeface="SimSun" panose="02010600030101010101" pitchFamily="2" charset="-122"/>
                <a:ea typeface="SimSun" panose="02010600030101010101" pitchFamily="2" charset="-122"/>
                <a:hlinkClick r:id="rId3" tooltip="ITIL"/>
              </a:rPr>
              <a:t>ITIL</a:t>
            </a:r>
            <a:r>
              <a:rPr lang="en-US" altLang="en-US" sz="1200" dirty="0" smtClean="0">
                <a:solidFill>
                  <a:schemeClr val="tx2"/>
                </a:solidFill>
                <a:latin typeface="SimSun" panose="02010600030101010101" pitchFamily="2" charset="-122"/>
                <a:ea typeface="SimSun" panose="02010600030101010101" pitchFamily="2" charset="-122"/>
              </a:rPr>
              <a:t>®)</a:t>
            </a:r>
            <a:r>
              <a:rPr lang="zh-CN" altLang="en-US" sz="1200" dirty="0" smtClean="0">
                <a:solidFill>
                  <a:schemeClr val="tx2"/>
                </a:solidFill>
                <a:latin typeface="SimSun" panose="02010600030101010101" pitchFamily="2" charset="-122"/>
                <a:ea typeface="SimSun" panose="02010600030101010101" pitchFamily="2" charset="-122"/>
              </a:rPr>
              <a:t>及</a:t>
            </a:r>
            <a:r>
              <a:rPr lang="en-US" altLang="en-US" sz="1200" dirty="0" smtClean="0">
                <a:solidFill>
                  <a:schemeClr val="tx2"/>
                </a:solidFill>
                <a:latin typeface="SimSun" panose="02010600030101010101" pitchFamily="2" charset="-122"/>
                <a:ea typeface="SimSun" panose="02010600030101010101" pitchFamily="2" charset="-122"/>
              </a:rPr>
              <a:t> </a:t>
            </a:r>
            <a:r>
              <a:rPr lang="en-US" altLang="en-US" sz="1200" dirty="0">
                <a:solidFill>
                  <a:schemeClr val="tx2"/>
                </a:solidFill>
                <a:latin typeface="SimSun" panose="02010600030101010101" pitchFamily="2" charset="-122"/>
                <a:ea typeface="SimSun" panose="02010600030101010101" pitchFamily="2" charset="-122"/>
              </a:rPr>
              <a:t>IT </a:t>
            </a:r>
            <a:r>
              <a:rPr lang="zh-CN" altLang="en-US" sz="1200" dirty="0" smtClean="0">
                <a:solidFill>
                  <a:schemeClr val="tx2"/>
                </a:solidFill>
                <a:latin typeface="SimSun" panose="02010600030101010101" pitchFamily="2" charset="-122"/>
                <a:ea typeface="SimSun" panose="02010600030101010101" pitchFamily="2" charset="-122"/>
              </a:rPr>
              <a:t>服务管理</a:t>
            </a:r>
            <a:r>
              <a:rPr lang="en-US" altLang="en-US" sz="1200" dirty="0" smtClean="0">
                <a:solidFill>
                  <a:schemeClr val="tx2"/>
                </a:solidFill>
                <a:latin typeface="SimSun" panose="02010600030101010101" pitchFamily="2" charset="-122"/>
                <a:ea typeface="SimSun" panose="02010600030101010101" pitchFamily="2" charset="-122"/>
              </a:rPr>
              <a:t> </a:t>
            </a:r>
            <a:r>
              <a:rPr lang="en-US" altLang="en-US" sz="1200" dirty="0">
                <a:solidFill>
                  <a:schemeClr val="tx2"/>
                </a:solidFill>
                <a:latin typeface="SimSun" panose="02010600030101010101" pitchFamily="2" charset="-122"/>
                <a:ea typeface="SimSun" panose="02010600030101010101" pitchFamily="2" charset="-122"/>
              </a:rPr>
              <a:t>(</a:t>
            </a:r>
            <a:r>
              <a:rPr lang="en-US" altLang="en-US" sz="1200" dirty="0" smtClean="0">
                <a:solidFill>
                  <a:schemeClr val="tx2"/>
                </a:solidFill>
                <a:latin typeface="SimSun" panose="02010600030101010101" pitchFamily="2" charset="-122"/>
                <a:ea typeface="SimSun" panose="02010600030101010101" pitchFamily="2" charset="-122"/>
                <a:hlinkClick r:id="rId4" tooltip="ITSM"/>
              </a:rPr>
              <a:t>ITSM</a:t>
            </a:r>
            <a:r>
              <a:rPr lang="en-US" altLang="en-US" sz="1200" dirty="0" smtClean="0">
                <a:solidFill>
                  <a:schemeClr val="tx2"/>
                </a:solidFill>
                <a:latin typeface="SimSun" panose="02010600030101010101" pitchFamily="2" charset="-122"/>
                <a:ea typeface="SimSun" panose="02010600030101010101" pitchFamily="2" charset="-122"/>
              </a:rPr>
              <a:t>)</a:t>
            </a:r>
            <a:r>
              <a:rPr lang="zh-CN" altLang="en-US" sz="1200" dirty="0" smtClean="0">
                <a:solidFill>
                  <a:schemeClr val="tx2"/>
                </a:solidFill>
                <a:latin typeface="SimSun" panose="02010600030101010101" pitchFamily="2" charset="-122"/>
                <a:ea typeface="SimSun" panose="02010600030101010101" pitchFamily="2" charset="-122"/>
              </a:rPr>
              <a:t>流程。</a:t>
            </a:r>
            <a:endParaRPr lang="en-US" altLang="zh-CN" sz="1200" dirty="0" smtClean="0">
              <a:solidFill>
                <a:schemeClr val="tx2"/>
              </a:solidFill>
              <a:latin typeface="SimSun" panose="02010600030101010101" pitchFamily="2" charset="-122"/>
              <a:ea typeface="SimSun" panose="02010600030101010101" pitchFamily="2" charset="-122"/>
            </a:endParaRPr>
          </a:p>
          <a:p>
            <a:pPr>
              <a:lnSpc>
                <a:spcPct val="95000"/>
              </a:lnSpc>
              <a:spcBef>
                <a:spcPts val="0"/>
              </a:spcBef>
              <a:spcAft>
                <a:spcPts val="0"/>
              </a:spcAft>
            </a:pPr>
            <a:r>
              <a:rPr lang="zh-CN" altLang="en-US" sz="1200" dirty="0" smtClean="0">
                <a:solidFill>
                  <a:schemeClr val="tx2"/>
                </a:solidFill>
                <a:latin typeface="SimSun" panose="02010600030101010101" pitchFamily="2" charset="-122"/>
                <a:ea typeface="SimSun" panose="02010600030101010101" pitchFamily="2" charset="-122"/>
              </a:rPr>
              <a:t>这种</a:t>
            </a:r>
            <a:r>
              <a:rPr lang="en-US" altLang="zh-CN" sz="1200" dirty="0" smtClean="0">
                <a:solidFill>
                  <a:schemeClr val="tx2"/>
                </a:solidFill>
                <a:latin typeface="SimSun" panose="02010600030101010101" pitchFamily="2" charset="-122"/>
                <a:ea typeface="SimSun" panose="02010600030101010101" pitchFamily="2" charset="-122"/>
              </a:rPr>
              <a:t>IT</a:t>
            </a:r>
            <a:r>
              <a:rPr lang="zh-CN" altLang="en-US" sz="1200" dirty="0" smtClean="0">
                <a:solidFill>
                  <a:schemeClr val="tx2"/>
                </a:solidFill>
                <a:latin typeface="SimSun" panose="02010600030101010101" pitchFamily="2" charset="-122"/>
                <a:ea typeface="SimSun" panose="02010600030101010101" pitchFamily="2" charset="-122"/>
              </a:rPr>
              <a:t>系统可能简单到只是一台独立的服务器，也可能复杂到是一整个</a:t>
            </a:r>
            <a:r>
              <a:rPr lang="en-US" altLang="zh-CN" sz="1200" dirty="0" smtClean="0">
                <a:solidFill>
                  <a:schemeClr val="tx2"/>
                </a:solidFill>
                <a:latin typeface="SimSun" panose="02010600030101010101" pitchFamily="2" charset="-122"/>
                <a:ea typeface="SimSun" panose="02010600030101010101" pitchFamily="2" charset="-122"/>
              </a:rPr>
              <a:t>IT</a:t>
            </a:r>
            <a:r>
              <a:rPr lang="zh-CN" altLang="en-US" sz="1200" dirty="0" smtClean="0">
                <a:solidFill>
                  <a:schemeClr val="tx2"/>
                </a:solidFill>
                <a:latin typeface="SimSun" panose="02010600030101010101" pitchFamily="2" charset="-122"/>
                <a:ea typeface="SimSun" panose="02010600030101010101" pitchFamily="2" charset="-122"/>
              </a:rPr>
              <a:t>部门。在大型组织中通常会指定配置管理经理来监督并管理</a:t>
            </a:r>
            <a:r>
              <a:rPr lang="en-US" altLang="zh-CN" sz="1200" dirty="0" smtClean="0">
                <a:solidFill>
                  <a:schemeClr val="tx2"/>
                </a:solidFill>
                <a:latin typeface="SimSun" panose="02010600030101010101" pitchFamily="2" charset="-122"/>
                <a:ea typeface="SimSun" panose="02010600030101010101" pitchFamily="2" charset="-122"/>
              </a:rPr>
              <a:t>CM</a:t>
            </a:r>
            <a:r>
              <a:rPr lang="zh-CN" altLang="en-US" sz="1200" dirty="0" smtClean="0">
                <a:solidFill>
                  <a:schemeClr val="tx2"/>
                </a:solidFill>
                <a:latin typeface="SimSun" panose="02010600030101010101" pitchFamily="2" charset="-122"/>
                <a:ea typeface="SimSun" panose="02010600030101010101" pitchFamily="2" charset="-122"/>
              </a:rPr>
              <a:t>流程。</a:t>
            </a:r>
            <a:endParaRPr lang="en-US" altLang="zh-CN" sz="1200" dirty="0" smtClean="0">
              <a:solidFill>
                <a:schemeClr val="tx2"/>
              </a:solidFill>
              <a:latin typeface="SimSun" panose="02010600030101010101" pitchFamily="2" charset="-122"/>
              <a:ea typeface="SimSun" panose="02010600030101010101" pitchFamily="2" charset="-122"/>
            </a:endParaRPr>
          </a:p>
          <a:p>
            <a:pPr>
              <a:lnSpc>
                <a:spcPct val="95000"/>
              </a:lnSpc>
              <a:spcBef>
                <a:spcPts val="0"/>
              </a:spcBef>
              <a:spcAft>
                <a:spcPts val="0"/>
              </a:spcAft>
            </a:pPr>
            <a:endParaRPr lang="en-US" sz="1200" dirty="0">
              <a:solidFill>
                <a:schemeClr val="tx2"/>
              </a:solidFill>
              <a:latin typeface="SimSun" panose="02010600030101010101" pitchFamily="2" charset="-122"/>
              <a:ea typeface="SimSun" panose="02010600030101010101" pitchFamily="2" charset="-122"/>
            </a:endParaRPr>
          </a:p>
        </p:txBody>
      </p:sp>
      <p:sp>
        <p:nvSpPr>
          <p:cNvPr id="44"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756000" rIns="36000" bIns="72000" numCol="1" anchor="t" anchorCtr="0" compatLnSpc="1">
            <a:prstTxWarp prst="textNoShape">
              <a:avLst/>
            </a:prstTxWarp>
          </a:bodyPr>
          <a:lstStyle/>
          <a:p>
            <a:pPr>
              <a:spcBef>
                <a:spcPts val="600"/>
              </a:spcBef>
              <a:spcAft>
                <a:spcPts val="600"/>
              </a:spcAft>
            </a:pPr>
            <a:r>
              <a:rPr lang="en-US" sz="2000" dirty="0">
                <a:solidFill>
                  <a:schemeClr val="accent5"/>
                </a:solidFill>
                <a:latin typeface="SimSun" panose="02010600030101010101" pitchFamily="2" charset="-122"/>
                <a:ea typeface="SimSun" panose="02010600030101010101" pitchFamily="2" charset="-122"/>
              </a:rPr>
              <a:t>A </a:t>
            </a:r>
            <a:r>
              <a:rPr lang="en-US" sz="2000" dirty="0" smtClean="0">
                <a:solidFill>
                  <a:schemeClr val="accent5"/>
                </a:solidFill>
                <a:latin typeface="SimSun" panose="02010600030101010101" pitchFamily="2" charset="-122"/>
                <a:ea typeface="SimSun" panose="02010600030101010101" pitchFamily="2" charset="-122"/>
              </a:rPr>
              <a:t>– </a:t>
            </a:r>
            <a:r>
              <a:rPr lang="zh-CN" altLang="en-US" sz="2000" dirty="0" smtClean="0">
                <a:solidFill>
                  <a:schemeClr val="accent5"/>
                </a:solidFill>
                <a:latin typeface="SimSun" panose="02010600030101010101" pitchFamily="2" charset="-122"/>
                <a:ea typeface="SimSun" panose="02010600030101010101" pitchFamily="2" charset="-122"/>
              </a:rPr>
              <a:t>埃森哲</a:t>
            </a:r>
            <a:r>
              <a:rPr lang="en-US" sz="2000" dirty="0" smtClean="0">
                <a:solidFill>
                  <a:schemeClr val="accent5"/>
                </a:solidFill>
                <a:latin typeface="SimSun" panose="02010600030101010101" pitchFamily="2" charset="-122"/>
                <a:ea typeface="SimSun" panose="02010600030101010101" pitchFamily="2" charset="-122"/>
              </a:rPr>
              <a:t>** </a:t>
            </a:r>
            <a:endParaRPr lang="en-US" sz="1600" dirty="0">
              <a:solidFill>
                <a:schemeClr val="tx2"/>
              </a:solidFill>
              <a:latin typeface="SimSun" panose="02010600030101010101" pitchFamily="2" charset="-122"/>
              <a:ea typeface="SimSun" panose="02010600030101010101" pitchFamily="2" charset="-122"/>
            </a:endParaRPr>
          </a:p>
          <a:p>
            <a:pPr>
              <a:lnSpc>
                <a:spcPct val="95000"/>
              </a:lnSpc>
              <a:spcBef>
                <a:spcPts val="0"/>
              </a:spcBef>
              <a:buFontTx/>
              <a:buNone/>
            </a:pPr>
            <a:r>
              <a:rPr lang="zh-CN" altLang="en-US" sz="1200" dirty="0">
                <a:solidFill>
                  <a:schemeClr val="tx2"/>
                </a:solidFill>
                <a:latin typeface="SimSun" panose="02010600030101010101" pitchFamily="2" charset="-122"/>
                <a:ea typeface="SimSun" panose="02010600030101010101" pitchFamily="2" charset="-122"/>
              </a:rPr>
              <a:t>配置</a:t>
            </a:r>
            <a:r>
              <a:rPr lang="zh-CN" altLang="en-US" sz="1200" dirty="0" smtClean="0">
                <a:solidFill>
                  <a:schemeClr val="tx2"/>
                </a:solidFill>
                <a:latin typeface="SimSun" panose="02010600030101010101" pitchFamily="2" charset="-122"/>
                <a:ea typeface="SimSun" panose="02010600030101010101" pitchFamily="2" charset="-122"/>
              </a:rPr>
              <a:t>管理</a:t>
            </a:r>
            <a:r>
              <a:rPr lang="en-GB" altLang="en-US" sz="1200" dirty="0">
                <a:solidFill>
                  <a:schemeClr val="tx2"/>
                </a:solidFill>
                <a:latin typeface="SimSun" panose="02010600030101010101" pitchFamily="2" charset="-122"/>
                <a:ea typeface="SimSun" panose="02010600030101010101" pitchFamily="2" charset="-122"/>
              </a:rPr>
              <a:t>(</a:t>
            </a:r>
            <a:r>
              <a:rPr lang="en-GB" altLang="en-US" sz="1200" dirty="0" smtClean="0">
                <a:solidFill>
                  <a:schemeClr val="tx2"/>
                </a:solidFill>
                <a:latin typeface="SimSun" panose="02010600030101010101" pitchFamily="2" charset="-122"/>
                <a:ea typeface="SimSun" panose="02010600030101010101" pitchFamily="2" charset="-122"/>
              </a:rPr>
              <a:t>CM)</a:t>
            </a:r>
            <a:r>
              <a:rPr lang="zh-CN" altLang="en-US" sz="1200" dirty="0" smtClean="0">
                <a:solidFill>
                  <a:schemeClr val="tx2"/>
                </a:solidFill>
                <a:latin typeface="SimSun" panose="02010600030101010101" pitchFamily="2" charset="-122"/>
                <a:ea typeface="SimSun" panose="02010600030101010101" pitchFamily="2" charset="-122"/>
              </a:rPr>
              <a:t>可在开发和维护所有阶段中使得</a:t>
            </a:r>
            <a:r>
              <a:rPr lang="en-US" altLang="zh-CN" sz="1200" dirty="0" smtClean="0">
                <a:solidFill>
                  <a:schemeClr val="tx2"/>
                </a:solidFill>
                <a:latin typeface="SimSun" panose="02010600030101010101" pitchFamily="2" charset="-122"/>
                <a:ea typeface="SimSun" panose="02010600030101010101" pitchFamily="2" charset="-122"/>
              </a:rPr>
              <a:t>IT</a:t>
            </a:r>
            <a:r>
              <a:rPr lang="zh-CN" altLang="en-US" sz="1200" dirty="0" smtClean="0">
                <a:solidFill>
                  <a:schemeClr val="tx2"/>
                </a:solidFill>
                <a:latin typeface="SimSun" panose="02010600030101010101" pitchFamily="2" charset="-122"/>
                <a:ea typeface="SimSun" panose="02010600030101010101" pitchFamily="2" charset="-122"/>
              </a:rPr>
              <a:t>组件的发展可控并可重复管理。</a:t>
            </a:r>
            <a:r>
              <a:rPr lang="en-GB" altLang="en-US" sz="1200" dirty="0" smtClean="0">
                <a:solidFill>
                  <a:schemeClr val="tx2"/>
                </a:solidFill>
                <a:latin typeface="SimSun" panose="02010600030101010101" pitchFamily="2" charset="-122"/>
                <a:ea typeface="SimSun" panose="02010600030101010101" pitchFamily="2" charset="-122"/>
              </a:rPr>
              <a:t>CM</a:t>
            </a:r>
            <a:r>
              <a:rPr lang="zh-CN" altLang="en-US" sz="1200" dirty="0" smtClean="0">
                <a:solidFill>
                  <a:schemeClr val="tx2"/>
                </a:solidFill>
                <a:latin typeface="SimSun" panose="02010600030101010101" pitchFamily="2" charset="-122"/>
                <a:ea typeface="SimSun" panose="02010600030101010101" pitchFamily="2" charset="-122"/>
              </a:rPr>
              <a:t>为项目组和相关利益者去分辨，沟通，实现，记录，以及管理更改定义了一种流程。当被正确实施</a:t>
            </a:r>
            <a:r>
              <a:rPr lang="zh-CN" altLang="en-US" sz="1200" dirty="0">
                <a:solidFill>
                  <a:schemeClr val="tx2"/>
                </a:solidFill>
                <a:latin typeface="SimSun" panose="02010600030101010101" pitchFamily="2" charset="-122"/>
                <a:ea typeface="SimSun" panose="02010600030101010101" pitchFamily="2" charset="-122"/>
              </a:rPr>
              <a:t>时</a:t>
            </a:r>
            <a:r>
              <a:rPr lang="zh-CN" altLang="en-US" sz="1200" dirty="0" smtClean="0">
                <a:solidFill>
                  <a:schemeClr val="tx2"/>
                </a:solidFill>
                <a:latin typeface="SimSun" panose="02010600030101010101" pitchFamily="2" charset="-122"/>
                <a:ea typeface="SimSun" panose="02010600030101010101" pitchFamily="2" charset="-122"/>
              </a:rPr>
              <a:t>，</a:t>
            </a:r>
            <a:r>
              <a:rPr lang="en-GB" altLang="en-US" sz="1200" dirty="0" smtClean="0">
                <a:solidFill>
                  <a:schemeClr val="tx2"/>
                </a:solidFill>
                <a:latin typeface="SimSun" panose="02010600030101010101" pitchFamily="2" charset="-122"/>
                <a:ea typeface="SimSun" panose="02010600030101010101" pitchFamily="2" charset="-122"/>
              </a:rPr>
              <a:t> </a:t>
            </a:r>
            <a:r>
              <a:rPr lang="en-GB" altLang="en-US" sz="1200" dirty="0">
                <a:solidFill>
                  <a:schemeClr val="tx2"/>
                </a:solidFill>
                <a:latin typeface="SimSun" panose="02010600030101010101" pitchFamily="2" charset="-122"/>
                <a:ea typeface="SimSun" panose="02010600030101010101" pitchFamily="2" charset="-122"/>
              </a:rPr>
              <a:t>CM</a:t>
            </a:r>
            <a:r>
              <a:rPr lang="ja-JP" altLang="en-US" sz="1200" dirty="0" smtClean="0">
                <a:solidFill>
                  <a:schemeClr val="tx2"/>
                </a:solidFill>
                <a:latin typeface="SimSun" panose="02010600030101010101" pitchFamily="2" charset="-122"/>
                <a:ea typeface="SimSun" panose="02010600030101010101" pitchFamily="2" charset="-122"/>
              </a:rPr>
              <a:t>确保其</a:t>
            </a:r>
            <a:r>
              <a:rPr lang="zh-CN" altLang="en-US" sz="1200" dirty="0" smtClean="0">
                <a:solidFill>
                  <a:schemeClr val="tx2"/>
                </a:solidFill>
                <a:latin typeface="SimSun" panose="02010600030101010101" pitchFamily="2" charset="-122"/>
                <a:ea typeface="SimSun" panose="02010600030101010101" pitchFamily="2" charset="-122"/>
              </a:rPr>
              <a:t>管辖</a:t>
            </a:r>
            <a:r>
              <a:rPr lang="ja-JP" altLang="en-US" sz="1200" dirty="0" smtClean="0">
                <a:solidFill>
                  <a:schemeClr val="tx2"/>
                </a:solidFill>
                <a:latin typeface="SimSun" panose="02010600030101010101" pitchFamily="2" charset="-122"/>
                <a:ea typeface="SimSun" panose="02010600030101010101" pitchFamily="2" charset="-122"/>
              </a:rPr>
              <a:t>下</a:t>
            </a:r>
            <a:r>
              <a:rPr lang="zh-CN" altLang="en-US" sz="1200" dirty="0" smtClean="0">
                <a:solidFill>
                  <a:schemeClr val="tx2"/>
                </a:solidFill>
                <a:latin typeface="SimSun" panose="02010600030101010101" pitchFamily="2" charset="-122"/>
                <a:ea typeface="SimSun" panose="02010600030101010101" pitchFamily="2" charset="-122"/>
              </a:rPr>
              <a:t>所有对象</a:t>
            </a:r>
            <a:r>
              <a:rPr lang="ja-JP" altLang="en-US" sz="1200" dirty="0" smtClean="0">
                <a:solidFill>
                  <a:schemeClr val="tx2"/>
                </a:solidFill>
                <a:latin typeface="SimSun" panose="02010600030101010101" pitchFamily="2" charset="-122"/>
                <a:ea typeface="SimSun" panose="02010600030101010101" pitchFamily="2" charset="-122"/>
              </a:rPr>
              <a:t>的</a:t>
            </a:r>
            <a:r>
              <a:rPr lang="ja-JP" altLang="en-US" sz="1200" dirty="0">
                <a:solidFill>
                  <a:schemeClr val="tx2"/>
                </a:solidFill>
                <a:latin typeface="SimSun" panose="02010600030101010101" pitchFamily="2" charset="-122"/>
                <a:ea typeface="SimSun" panose="02010600030101010101" pitchFamily="2" charset="-122"/>
              </a:rPr>
              <a:t>完整性</a:t>
            </a:r>
            <a:r>
              <a:rPr lang="en-GB" altLang="en-US" sz="1200" dirty="0" smtClean="0">
                <a:solidFill>
                  <a:schemeClr val="tx2"/>
                </a:solidFill>
                <a:latin typeface="SimSun" panose="02010600030101010101" pitchFamily="2" charset="-122"/>
                <a:ea typeface="SimSun" panose="02010600030101010101" pitchFamily="2" charset="-122"/>
              </a:rPr>
              <a:t>.</a:t>
            </a:r>
            <a:endParaRPr lang="en-GB" altLang="en-US" sz="1200" dirty="0">
              <a:solidFill>
                <a:schemeClr val="tx2"/>
              </a:solidFill>
              <a:latin typeface="SimSun" panose="02010600030101010101" pitchFamily="2" charset="-122"/>
              <a:ea typeface="SimSun" panose="02010600030101010101" pitchFamily="2" charset="-122"/>
            </a:endParaRPr>
          </a:p>
        </p:txBody>
      </p:sp>
      <p:sp>
        <p:nvSpPr>
          <p:cNvPr id="45"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756000" rIns="36000" bIns="72000" numCol="1" anchor="t" anchorCtr="0" compatLnSpc="1">
            <a:prstTxWarp prst="textNoShape">
              <a:avLst/>
            </a:prstTxWarp>
          </a:bodyPr>
          <a:lstStyle/>
          <a:p>
            <a:pPr>
              <a:spcBef>
                <a:spcPts val="600"/>
              </a:spcBef>
              <a:spcAft>
                <a:spcPts val="600"/>
              </a:spcAft>
            </a:pPr>
            <a:r>
              <a:rPr lang="zh-CN" altLang="en-US" sz="2000" dirty="0" smtClean="0">
                <a:solidFill>
                  <a:schemeClr val="accent5"/>
                </a:solidFill>
                <a:latin typeface="SimSun" panose="02010600030101010101" pitchFamily="2" charset="-122"/>
                <a:ea typeface="SimSun" panose="02010600030101010101" pitchFamily="2" charset="-122"/>
              </a:rPr>
              <a:t>可持续性交付</a:t>
            </a:r>
            <a:r>
              <a:rPr lang="en-US" sz="2000" dirty="0" smtClean="0">
                <a:solidFill>
                  <a:schemeClr val="accent5"/>
                </a:solidFill>
                <a:latin typeface="SimSun" panose="02010600030101010101" pitchFamily="2" charset="-122"/>
                <a:ea typeface="SimSun" panose="02010600030101010101" pitchFamily="2" charset="-122"/>
              </a:rPr>
              <a:t> </a:t>
            </a:r>
            <a:endParaRPr lang="en-US" sz="2000" dirty="0">
              <a:solidFill>
                <a:schemeClr val="accent5"/>
              </a:solidFill>
              <a:latin typeface="SimSun" panose="02010600030101010101" pitchFamily="2" charset="-122"/>
              <a:ea typeface="SimSun" panose="02010600030101010101" pitchFamily="2" charset="-122"/>
            </a:endParaRPr>
          </a:p>
          <a:p>
            <a:pPr>
              <a:lnSpc>
                <a:spcPct val="95000"/>
              </a:lnSpc>
              <a:spcBef>
                <a:spcPts val="0"/>
              </a:spcBef>
              <a:spcAft>
                <a:spcPts val="0"/>
              </a:spcAft>
            </a:pPr>
            <a:r>
              <a:rPr lang="zh-CN" altLang="en-US" sz="1200" dirty="0" smtClean="0">
                <a:solidFill>
                  <a:schemeClr val="tx2"/>
                </a:solidFill>
                <a:latin typeface="SimSun" panose="02010600030101010101" pitchFamily="2" charset="-122"/>
                <a:ea typeface="SimSun" panose="02010600030101010101" pitchFamily="2" charset="-122"/>
              </a:rPr>
              <a:t>配置管理是指所有与项目有关的人工产品以及他们之前的关系都能被存储</a:t>
            </a:r>
            <a:r>
              <a:rPr lang="zh-CN" altLang="en-US" sz="1200" dirty="0">
                <a:solidFill>
                  <a:schemeClr val="tx2"/>
                </a:solidFill>
                <a:latin typeface="SimSun" panose="02010600030101010101" pitchFamily="2" charset="-122"/>
                <a:ea typeface="SimSun" panose="02010600030101010101" pitchFamily="2" charset="-122"/>
              </a:rPr>
              <a:t>，检索，唯一标识</a:t>
            </a:r>
            <a:r>
              <a:rPr lang="zh-CN" altLang="en-US" sz="1200" dirty="0" smtClean="0">
                <a:solidFill>
                  <a:schemeClr val="tx2"/>
                </a:solidFill>
                <a:latin typeface="SimSun" panose="02010600030101010101" pitchFamily="2" charset="-122"/>
                <a:ea typeface="SimSun" panose="02010600030101010101" pitchFamily="2" charset="-122"/>
              </a:rPr>
              <a:t>，并可更改的流程。</a:t>
            </a:r>
            <a:endParaRPr lang="en-US" sz="1200" dirty="0">
              <a:solidFill>
                <a:schemeClr val="tx2"/>
              </a:solidFill>
              <a:latin typeface="SimSun" panose="02010600030101010101" pitchFamily="2" charset="-122"/>
              <a:ea typeface="SimSun" panose="02010600030101010101" pitchFamily="2" charset="-122"/>
            </a:endParaRPr>
          </a:p>
          <a:p>
            <a:pPr>
              <a:lnSpc>
                <a:spcPct val="95000"/>
              </a:lnSpc>
              <a:spcBef>
                <a:spcPts val="0"/>
              </a:spcBef>
              <a:spcAft>
                <a:spcPts val="0"/>
              </a:spcAft>
            </a:pPr>
            <a:endParaRPr lang="en-US" sz="1200" dirty="0">
              <a:solidFill>
                <a:schemeClr val="tx2"/>
              </a:solidFill>
              <a:latin typeface="SimSun" panose="02010600030101010101" pitchFamily="2" charset="-122"/>
              <a:ea typeface="SimSun" panose="02010600030101010101" pitchFamily="2" charset="-122"/>
            </a:endParaRPr>
          </a:p>
          <a:p>
            <a:pPr>
              <a:lnSpc>
                <a:spcPct val="95000"/>
              </a:lnSpc>
              <a:spcBef>
                <a:spcPts val="0"/>
              </a:spcBef>
              <a:spcAft>
                <a:spcPts val="0"/>
              </a:spcAft>
            </a:pPr>
            <a:r>
              <a:rPr lang="en-US" sz="1200" dirty="0" smtClean="0">
                <a:solidFill>
                  <a:schemeClr val="accent1"/>
                </a:solidFill>
                <a:latin typeface="SimSun" panose="02010600030101010101" pitchFamily="2" charset="-122"/>
                <a:ea typeface="SimSun" panose="02010600030101010101" pitchFamily="2" charset="-122"/>
              </a:rPr>
              <a:t>“</a:t>
            </a:r>
            <a:r>
              <a:rPr lang="zh-CN" altLang="en-US" sz="1200" dirty="0">
                <a:solidFill>
                  <a:schemeClr val="accent1"/>
                </a:solidFill>
                <a:latin typeface="SimSun" panose="02010600030101010101" pitchFamily="2" charset="-122"/>
                <a:ea typeface="SimSun" panose="02010600030101010101" pitchFamily="2" charset="-122"/>
              </a:rPr>
              <a:t>确</a:t>
            </a:r>
            <a:r>
              <a:rPr lang="zh-CN" altLang="en-US" sz="1200" dirty="0" smtClean="0">
                <a:solidFill>
                  <a:schemeClr val="accent1"/>
                </a:solidFill>
                <a:latin typeface="SimSun" panose="02010600030101010101" pitchFamily="2" charset="-122"/>
                <a:ea typeface="SimSun" panose="02010600030101010101" pitchFamily="2" charset="-122"/>
              </a:rPr>
              <a:t>保版本控制中的所有内容绝对可控</a:t>
            </a:r>
            <a:r>
              <a:rPr lang="en-US" sz="1200" dirty="0" smtClean="0">
                <a:solidFill>
                  <a:schemeClr val="accent1"/>
                </a:solidFill>
                <a:latin typeface="SimSun" panose="02010600030101010101" pitchFamily="2" charset="-122"/>
                <a:ea typeface="SimSun" panose="02010600030101010101" pitchFamily="2" charset="-122"/>
              </a:rPr>
              <a:t>” </a:t>
            </a:r>
            <a:r>
              <a:rPr lang="en-US" sz="1200" dirty="0" smtClean="0">
                <a:solidFill>
                  <a:schemeClr val="tx2"/>
                </a:solidFill>
                <a:latin typeface="SimSun" panose="02010600030101010101" pitchFamily="2" charset="-122"/>
                <a:ea typeface="SimSun" panose="02010600030101010101" pitchFamily="2" charset="-122"/>
              </a:rPr>
              <a:t>– </a:t>
            </a:r>
            <a:r>
              <a:rPr lang="zh-CN" altLang="en-US" sz="1200" dirty="0" smtClean="0">
                <a:solidFill>
                  <a:schemeClr val="tx2"/>
                </a:solidFill>
                <a:latin typeface="SimSun" panose="02010600030101010101" pitchFamily="2" charset="-122"/>
                <a:ea typeface="SimSun" panose="02010600030101010101" pitchFamily="2" charset="-122"/>
              </a:rPr>
              <a:t>可持续性交付</a:t>
            </a:r>
            <a:r>
              <a:rPr lang="en-US" sz="1200" dirty="0" smtClean="0">
                <a:solidFill>
                  <a:schemeClr val="tx2"/>
                </a:solidFill>
                <a:latin typeface="SimSun" panose="02010600030101010101" pitchFamily="2" charset="-122"/>
                <a:ea typeface="SimSun" panose="02010600030101010101" pitchFamily="2" charset="-122"/>
              </a:rPr>
              <a:t> </a:t>
            </a:r>
            <a:r>
              <a:rPr lang="en-US" sz="1200" dirty="0">
                <a:solidFill>
                  <a:schemeClr val="tx2"/>
                </a:solidFill>
                <a:latin typeface="SimSun" panose="02010600030101010101" pitchFamily="2" charset="-122"/>
                <a:ea typeface="SimSun" panose="02010600030101010101" pitchFamily="2" charset="-122"/>
              </a:rPr>
              <a:t>(Humble, Farley</a:t>
            </a:r>
            <a:r>
              <a:rPr lang="en-US" sz="1200" dirty="0" smtClean="0">
                <a:solidFill>
                  <a:schemeClr val="tx2"/>
                </a:solidFill>
                <a:latin typeface="SimSun" panose="02010600030101010101" pitchFamily="2" charset="-122"/>
                <a:ea typeface="SimSun" panose="02010600030101010101" pitchFamily="2" charset="-122"/>
              </a:rPr>
              <a:t>)</a:t>
            </a:r>
            <a:endParaRPr lang="en-US" sz="1200" dirty="0">
              <a:solidFill>
                <a:schemeClr val="tx2"/>
              </a:solidFill>
              <a:latin typeface="SimSun" panose="02010600030101010101" pitchFamily="2" charset="-122"/>
              <a:ea typeface="SimSun" panose="02010600030101010101" pitchFamily="2" charset="-122"/>
            </a:endParaRPr>
          </a:p>
        </p:txBody>
      </p:sp>
      <p:sp>
        <p:nvSpPr>
          <p:cNvPr id="3" name="Title 2"/>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介绍</a:t>
            </a:r>
            <a:endParaRPr lang="en-GB" dirty="0">
              <a:latin typeface="SimSun" panose="02010600030101010101" pitchFamily="2" charset="-122"/>
              <a:ea typeface="SimSun" panose="02010600030101010101" pitchFamily="2" charset="-122"/>
            </a:endParaRPr>
          </a:p>
        </p:txBody>
      </p:sp>
      <p:sp>
        <p:nvSpPr>
          <p:cNvPr id="6" name="Text Placeholder 5"/>
          <p:cNvSpPr>
            <a:spLocks noGrp="1"/>
          </p:cNvSpPr>
          <p:nvPr>
            <p:ph type="body" sz="quarter" idx="10"/>
          </p:nvPr>
        </p:nvSpPr>
        <p:spPr>
          <a:xfrm>
            <a:off x="455613" y="1182021"/>
            <a:ext cx="8232775" cy="396000"/>
          </a:xfrm>
        </p:spPr>
        <p:txBody>
          <a:bodyPr/>
          <a:lstStyle/>
          <a:p>
            <a:r>
              <a:rPr lang="zh-CN" altLang="en-US" dirty="0" smtClean="0">
                <a:latin typeface="SimSun" panose="02010600030101010101" pitchFamily="2" charset="-122"/>
                <a:ea typeface="SimSun" panose="02010600030101010101" pitchFamily="2" charset="-122"/>
              </a:rPr>
              <a:t>配置管理定义</a:t>
            </a:r>
            <a:endParaRPr lang="en-GB" dirty="0" smtClean="0">
              <a:latin typeface="SimSun" panose="02010600030101010101" pitchFamily="2" charset="-122"/>
              <a:ea typeface="SimSun" panose="02010600030101010101" pitchFamily="2" charset="-122"/>
            </a:endParaRPr>
          </a:p>
        </p:txBody>
      </p:sp>
      <p:sp>
        <p:nvSpPr>
          <p:cNvPr id="18" name="Footer Placeholder 17"/>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30" name="Rectangle 24"/>
          <p:cNvSpPr>
            <a:spLocks noChangeArrowheads="1"/>
          </p:cNvSpPr>
          <p:nvPr/>
        </p:nvSpPr>
        <p:spPr bwMode="auto">
          <a:xfrm>
            <a:off x="455613" y="6321600"/>
            <a:ext cx="8297862" cy="15388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buFontTx/>
              <a:buNone/>
            </a:pPr>
            <a:r>
              <a:rPr lang="en-GB" altLang="en-US" sz="1000" dirty="0">
                <a:solidFill>
                  <a:schemeClr val="tx2"/>
                </a:solidFill>
              </a:rPr>
              <a:t>* </a:t>
            </a:r>
            <a:r>
              <a:rPr lang="en-GB" altLang="en-US" sz="1000" dirty="0" smtClean="0">
                <a:solidFill>
                  <a:schemeClr val="tx2"/>
                </a:solidFill>
              </a:rPr>
              <a:t>www.wikipedia.org</a:t>
            </a:r>
            <a:r>
              <a:rPr lang="en-GB" altLang="en-US" sz="1000" dirty="0">
                <a:solidFill>
                  <a:schemeClr val="tx2"/>
                </a:solidFill>
              </a:rPr>
              <a:t>	** ADM</a:t>
            </a:r>
            <a:endParaRPr lang="en-US" altLang="en-US" sz="1000" dirty="0">
              <a:solidFill>
                <a:schemeClr val="tx2"/>
              </a:solidFill>
            </a:endParaRPr>
          </a:p>
        </p:txBody>
      </p:sp>
      <p:grpSp>
        <p:nvGrpSpPr>
          <p:cNvPr id="2" name="Group 1"/>
          <p:cNvGrpSpPr/>
          <p:nvPr/>
        </p:nvGrpSpPr>
        <p:grpSpPr>
          <a:xfrm>
            <a:off x="1145112" y="1879200"/>
            <a:ext cx="1220202" cy="1220199"/>
            <a:chOff x="1153968" y="1687513"/>
            <a:chExt cx="1220202" cy="1220199"/>
          </a:xfrm>
        </p:grpSpPr>
        <p:sp>
          <p:nvSpPr>
            <p:cNvPr id="41" name="Oval 40"/>
            <p:cNvSpPr/>
            <p:nvPr/>
          </p:nvSpPr>
          <p:spPr>
            <a:xfrm>
              <a:off x="1153968" y="16875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Freeform 12"/>
            <p:cNvSpPr>
              <a:spLocks noEditPoints="1"/>
            </p:cNvSpPr>
            <p:nvPr/>
          </p:nvSpPr>
          <p:spPr bwMode="auto">
            <a:xfrm>
              <a:off x="1509275" y="1959538"/>
              <a:ext cx="500500" cy="676148"/>
            </a:xfrm>
            <a:custGeom>
              <a:avLst/>
              <a:gdLst>
                <a:gd name="T0" fmla="*/ 0 w 265"/>
                <a:gd name="T1" fmla="*/ 0 h 358"/>
                <a:gd name="T2" fmla="*/ 0 w 265"/>
                <a:gd name="T3" fmla="*/ 358 h 358"/>
                <a:gd name="T4" fmla="*/ 95 w 265"/>
                <a:gd name="T5" fmla="*/ 358 h 358"/>
                <a:gd name="T6" fmla="*/ 95 w 265"/>
                <a:gd name="T7" fmla="*/ 283 h 358"/>
                <a:gd name="T8" fmla="*/ 170 w 265"/>
                <a:gd name="T9" fmla="*/ 283 h 358"/>
                <a:gd name="T10" fmla="*/ 170 w 265"/>
                <a:gd name="T11" fmla="*/ 358 h 358"/>
                <a:gd name="T12" fmla="*/ 265 w 265"/>
                <a:gd name="T13" fmla="*/ 358 h 358"/>
                <a:gd name="T14" fmla="*/ 265 w 265"/>
                <a:gd name="T15" fmla="*/ 0 h 358"/>
                <a:gd name="T16" fmla="*/ 0 w 265"/>
                <a:gd name="T17" fmla="*/ 0 h 358"/>
                <a:gd name="T18" fmla="*/ 76 w 265"/>
                <a:gd name="T19" fmla="*/ 226 h 358"/>
                <a:gd name="T20" fmla="*/ 38 w 265"/>
                <a:gd name="T21" fmla="*/ 226 h 358"/>
                <a:gd name="T22" fmla="*/ 38 w 265"/>
                <a:gd name="T23" fmla="*/ 188 h 358"/>
                <a:gd name="T24" fmla="*/ 76 w 265"/>
                <a:gd name="T25" fmla="*/ 188 h 358"/>
                <a:gd name="T26" fmla="*/ 76 w 265"/>
                <a:gd name="T27" fmla="*/ 226 h 358"/>
                <a:gd name="T28" fmla="*/ 76 w 265"/>
                <a:gd name="T29" fmla="*/ 151 h 358"/>
                <a:gd name="T30" fmla="*/ 38 w 265"/>
                <a:gd name="T31" fmla="*/ 151 h 358"/>
                <a:gd name="T32" fmla="*/ 38 w 265"/>
                <a:gd name="T33" fmla="*/ 113 h 358"/>
                <a:gd name="T34" fmla="*/ 76 w 265"/>
                <a:gd name="T35" fmla="*/ 113 h 358"/>
                <a:gd name="T36" fmla="*/ 76 w 265"/>
                <a:gd name="T37" fmla="*/ 151 h 358"/>
                <a:gd name="T38" fmla="*/ 76 w 265"/>
                <a:gd name="T39" fmla="*/ 75 h 358"/>
                <a:gd name="T40" fmla="*/ 38 w 265"/>
                <a:gd name="T41" fmla="*/ 75 h 358"/>
                <a:gd name="T42" fmla="*/ 38 w 265"/>
                <a:gd name="T43" fmla="*/ 37 h 358"/>
                <a:gd name="T44" fmla="*/ 76 w 265"/>
                <a:gd name="T45" fmla="*/ 37 h 358"/>
                <a:gd name="T46" fmla="*/ 76 w 265"/>
                <a:gd name="T47" fmla="*/ 75 h 358"/>
                <a:gd name="T48" fmla="*/ 151 w 265"/>
                <a:gd name="T49" fmla="*/ 226 h 358"/>
                <a:gd name="T50" fmla="*/ 114 w 265"/>
                <a:gd name="T51" fmla="*/ 226 h 358"/>
                <a:gd name="T52" fmla="*/ 114 w 265"/>
                <a:gd name="T53" fmla="*/ 188 h 358"/>
                <a:gd name="T54" fmla="*/ 151 w 265"/>
                <a:gd name="T55" fmla="*/ 188 h 358"/>
                <a:gd name="T56" fmla="*/ 151 w 265"/>
                <a:gd name="T57" fmla="*/ 226 h 358"/>
                <a:gd name="T58" fmla="*/ 151 w 265"/>
                <a:gd name="T59" fmla="*/ 151 h 358"/>
                <a:gd name="T60" fmla="*/ 114 w 265"/>
                <a:gd name="T61" fmla="*/ 151 h 358"/>
                <a:gd name="T62" fmla="*/ 114 w 265"/>
                <a:gd name="T63" fmla="*/ 113 h 358"/>
                <a:gd name="T64" fmla="*/ 151 w 265"/>
                <a:gd name="T65" fmla="*/ 113 h 358"/>
                <a:gd name="T66" fmla="*/ 151 w 265"/>
                <a:gd name="T67" fmla="*/ 151 h 358"/>
                <a:gd name="T68" fmla="*/ 151 w 265"/>
                <a:gd name="T69" fmla="*/ 75 h 358"/>
                <a:gd name="T70" fmla="*/ 114 w 265"/>
                <a:gd name="T71" fmla="*/ 75 h 358"/>
                <a:gd name="T72" fmla="*/ 114 w 265"/>
                <a:gd name="T73" fmla="*/ 37 h 358"/>
                <a:gd name="T74" fmla="*/ 151 w 265"/>
                <a:gd name="T75" fmla="*/ 37 h 358"/>
                <a:gd name="T76" fmla="*/ 151 w 265"/>
                <a:gd name="T77" fmla="*/ 75 h 358"/>
                <a:gd name="T78" fmla="*/ 227 w 265"/>
                <a:gd name="T79" fmla="*/ 226 h 358"/>
                <a:gd name="T80" fmla="*/ 189 w 265"/>
                <a:gd name="T81" fmla="*/ 226 h 358"/>
                <a:gd name="T82" fmla="*/ 189 w 265"/>
                <a:gd name="T83" fmla="*/ 188 h 358"/>
                <a:gd name="T84" fmla="*/ 227 w 265"/>
                <a:gd name="T85" fmla="*/ 188 h 358"/>
                <a:gd name="T86" fmla="*/ 227 w 265"/>
                <a:gd name="T87" fmla="*/ 226 h 358"/>
                <a:gd name="T88" fmla="*/ 227 w 265"/>
                <a:gd name="T89" fmla="*/ 151 h 358"/>
                <a:gd name="T90" fmla="*/ 189 w 265"/>
                <a:gd name="T91" fmla="*/ 151 h 358"/>
                <a:gd name="T92" fmla="*/ 189 w 265"/>
                <a:gd name="T93" fmla="*/ 113 h 358"/>
                <a:gd name="T94" fmla="*/ 227 w 265"/>
                <a:gd name="T95" fmla="*/ 113 h 358"/>
                <a:gd name="T96" fmla="*/ 227 w 265"/>
                <a:gd name="T97" fmla="*/ 151 h 358"/>
                <a:gd name="T98" fmla="*/ 227 w 265"/>
                <a:gd name="T99" fmla="*/ 75 h 358"/>
                <a:gd name="T100" fmla="*/ 189 w 265"/>
                <a:gd name="T101" fmla="*/ 75 h 358"/>
                <a:gd name="T102" fmla="*/ 189 w 265"/>
                <a:gd name="T103" fmla="*/ 37 h 358"/>
                <a:gd name="T104" fmla="*/ 227 w 265"/>
                <a:gd name="T105" fmla="*/ 37 h 358"/>
                <a:gd name="T106" fmla="*/ 227 w 265"/>
                <a:gd name="T107" fmla="*/ 7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5" h="358">
                  <a:moveTo>
                    <a:pt x="0" y="0"/>
                  </a:moveTo>
                  <a:lnTo>
                    <a:pt x="0" y="358"/>
                  </a:lnTo>
                  <a:lnTo>
                    <a:pt x="95" y="358"/>
                  </a:lnTo>
                  <a:lnTo>
                    <a:pt x="95" y="283"/>
                  </a:lnTo>
                  <a:lnTo>
                    <a:pt x="170" y="283"/>
                  </a:lnTo>
                  <a:lnTo>
                    <a:pt x="170" y="358"/>
                  </a:lnTo>
                  <a:lnTo>
                    <a:pt x="265" y="358"/>
                  </a:lnTo>
                  <a:lnTo>
                    <a:pt x="265" y="0"/>
                  </a:lnTo>
                  <a:lnTo>
                    <a:pt x="0" y="0"/>
                  </a:lnTo>
                  <a:close/>
                  <a:moveTo>
                    <a:pt x="76" y="226"/>
                  </a:moveTo>
                  <a:lnTo>
                    <a:pt x="38" y="226"/>
                  </a:lnTo>
                  <a:lnTo>
                    <a:pt x="38" y="188"/>
                  </a:lnTo>
                  <a:lnTo>
                    <a:pt x="76" y="188"/>
                  </a:lnTo>
                  <a:lnTo>
                    <a:pt x="76" y="226"/>
                  </a:lnTo>
                  <a:close/>
                  <a:moveTo>
                    <a:pt x="76" y="151"/>
                  </a:moveTo>
                  <a:lnTo>
                    <a:pt x="38" y="151"/>
                  </a:lnTo>
                  <a:lnTo>
                    <a:pt x="38" y="113"/>
                  </a:lnTo>
                  <a:lnTo>
                    <a:pt x="76" y="113"/>
                  </a:lnTo>
                  <a:lnTo>
                    <a:pt x="76" y="151"/>
                  </a:lnTo>
                  <a:close/>
                  <a:moveTo>
                    <a:pt x="76" y="75"/>
                  </a:moveTo>
                  <a:lnTo>
                    <a:pt x="38" y="75"/>
                  </a:lnTo>
                  <a:lnTo>
                    <a:pt x="38" y="37"/>
                  </a:lnTo>
                  <a:lnTo>
                    <a:pt x="76" y="37"/>
                  </a:lnTo>
                  <a:lnTo>
                    <a:pt x="76" y="75"/>
                  </a:lnTo>
                  <a:close/>
                  <a:moveTo>
                    <a:pt x="151" y="226"/>
                  </a:moveTo>
                  <a:lnTo>
                    <a:pt x="114" y="226"/>
                  </a:lnTo>
                  <a:lnTo>
                    <a:pt x="114" y="188"/>
                  </a:lnTo>
                  <a:lnTo>
                    <a:pt x="151" y="188"/>
                  </a:lnTo>
                  <a:lnTo>
                    <a:pt x="151" y="226"/>
                  </a:lnTo>
                  <a:close/>
                  <a:moveTo>
                    <a:pt x="151" y="151"/>
                  </a:moveTo>
                  <a:lnTo>
                    <a:pt x="114" y="151"/>
                  </a:lnTo>
                  <a:lnTo>
                    <a:pt x="114" y="113"/>
                  </a:lnTo>
                  <a:lnTo>
                    <a:pt x="151" y="113"/>
                  </a:lnTo>
                  <a:lnTo>
                    <a:pt x="151" y="151"/>
                  </a:lnTo>
                  <a:close/>
                  <a:moveTo>
                    <a:pt x="151" y="75"/>
                  </a:moveTo>
                  <a:lnTo>
                    <a:pt x="114" y="75"/>
                  </a:lnTo>
                  <a:lnTo>
                    <a:pt x="114" y="37"/>
                  </a:lnTo>
                  <a:lnTo>
                    <a:pt x="151" y="37"/>
                  </a:lnTo>
                  <a:lnTo>
                    <a:pt x="151" y="75"/>
                  </a:lnTo>
                  <a:close/>
                  <a:moveTo>
                    <a:pt x="227" y="226"/>
                  </a:moveTo>
                  <a:lnTo>
                    <a:pt x="189" y="226"/>
                  </a:lnTo>
                  <a:lnTo>
                    <a:pt x="189" y="188"/>
                  </a:lnTo>
                  <a:lnTo>
                    <a:pt x="227" y="188"/>
                  </a:lnTo>
                  <a:lnTo>
                    <a:pt x="227" y="226"/>
                  </a:lnTo>
                  <a:close/>
                  <a:moveTo>
                    <a:pt x="227" y="151"/>
                  </a:moveTo>
                  <a:lnTo>
                    <a:pt x="189" y="151"/>
                  </a:lnTo>
                  <a:lnTo>
                    <a:pt x="189" y="113"/>
                  </a:lnTo>
                  <a:lnTo>
                    <a:pt x="227" y="113"/>
                  </a:lnTo>
                  <a:lnTo>
                    <a:pt x="227" y="151"/>
                  </a:lnTo>
                  <a:close/>
                  <a:moveTo>
                    <a:pt x="227" y="75"/>
                  </a:moveTo>
                  <a:lnTo>
                    <a:pt x="189" y="75"/>
                  </a:lnTo>
                  <a:lnTo>
                    <a:pt x="189" y="37"/>
                  </a:lnTo>
                  <a:lnTo>
                    <a:pt x="227" y="37"/>
                  </a:lnTo>
                  <a:lnTo>
                    <a:pt x="227" y="7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 name="Group 3"/>
          <p:cNvGrpSpPr/>
          <p:nvPr/>
        </p:nvGrpSpPr>
        <p:grpSpPr>
          <a:xfrm>
            <a:off x="3961899" y="1879200"/>
            <a:ext cx="1220202" cy="1220199"/>
            <a:chOff x="3963486" y="1687513"/>
            <a:chExt cx="1220202" cy="1220199"/>
          </a:xfrm>
        </p:grpSpPr>
        <p:sp>
          <p:nvSpPr>
            <p:cNvPr id="22" name="Oval 21"/>
            <p:cNvSpPr/>
            <p:nvPr/>
          </p:nvSpPr>
          <p:spPr>
            <a:xfrm>
              <a:off x="3963486" y="16875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Freeform 32"/>
            <p:cNvSpPr/>
            <p:nvPr/>
          </p:nvSpPr>
          <p:spPr>
            <a:xfrm>
              <a:off x="4270374" y="1938406"/>
              <a:ext cx="701676" cy="718414"/>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 name="Group 4"/>
          <p:cNvGrpSpPr/>
          <p:nvPr/>
        </p:nvGrpSpPr>
        <p:grpSpPr>
          <a:xfrm>
            <a:off x="6778687" y="1879200"/>
            <a:ext cx="1220202" cy="1220199"/>
            <a:chOff x="6777331" y="1687513"/>
            <a:chExt cx="1220202" cy="1220199"/>
          </a:xfrm>
        </p:grpSpPr>
        <p:sp>
          <p:nvSpPr>
            <p:cNvPr id="31" name="Oval 30"/>
            <p:cNvSpPr/>
            <p:nvPr/>
          </p:nvSpPr>
          <p:spPr>
            <a:xfrm>
              <a:off x="6777331" y="16875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Freeform 6"/>
            <p:cNvSpPr>
              <a:spLocks noEditPoints="1"/>
            </p:cNvSpPr>
            <p:nvPr/>
          </p:nvSpPr>
          <p:spPr bwMode="auto">
            <a:xfrm>
              <a:off x="6889751" y="2012951"/>
              <a:ext cx="993774" cy="566737"/>
            </a:xfrm>
            <a:custGeom>
              <a:avLst/>
              <a:gdLst>
                <a:gd name="T0" fmla="*/ 493 w 493"/>
                <a:gd name="T1" fmla="*/ 134 h 280"/>
                <a:gd name="T2" fmla="*/ 407 w 493"/>
                <a:gd name="T3" fmla="*/ 19 h 280"/>
                <a:gd name="T4" fmla="*/ 259 w 493"/>
                <a:gd name="T5" fmla="*/ 70 h 280"/>
                <a:gd name="T6" fmla="*/ 259 w 493"/>
                <a:gd name="T7" fmla="*/ 70 h 280"/>
                <a:gd name="T8" fmla="*/ 213 w 493"/>
                <a:gd name="T9" fmla="*/ 140 h 280"/>
                <a:gd name="T10" fmla="*/ 213 w 493"/>
                <a:gd name="T11" fmla="*/ 140 h 280"/>
                <a:gd name="T12" fmla="*/ 187 w 493"/>
                <a:gd name="T13" fmla="*/ 180 h 280"/>
                <a:gd name="T14" fmla="*/ 108 w 493"/>
                <a:gd name="T15" fmla="*/ 210 h 280"/>
                <a:gd name="T16" fmla="*/ 56 w 493"/>
                <a:gd name="T17" fmla="*/ 144 h 280"/>
                <a:gd name="T18" fmla="*/ 56 w 493"/>
                <a:gd name="T19" fmla="*/ 140 h 280"/>
                <a:gd name="T20" fmla="*/ 56 w 493"/>
                <a:gd name="T21" fmla="*/ 136 h 280"/>
                <a:gd name="T22" fmla="*/ 108 w 493"/>
                <a:gd name="T23" fmla="*/ 71 h 280"/>
                <a:gd name="T24" fmla="*/ 127 w 493"/>
                <a:gd name="T25" fmla="*/ 68 h 280"/>
                <a:gd name="T26" fmla="*/ 187 w 493"/>
                <a:gd name="T27" fmla="*/ 101 h 280"/>
                <a:gd name="T28" fmla="*/ 203 w 493"/>
                <a:gd name="T29" fmla="*/ 126 h 280"/>
                <a:gd name="T30" fmla="*/ 237 w 493"/>
                <a:gd name="T31" fmla="*/ 75 h 280"/>
                <a:gd name="T32" fmla="*/ 234 w 493"/>
                <a:gd name="T33" fmla="*/ 70 h 280"/>
                <a:gd name="T34" fmla="*/ 92 w 493"/>
                <a:gd name="T35" fmla="*/ 17 h 280"/>
                <a:gd name="T36" fmla="*/ 0 w 493"/>
                <a:gd name="T37" fmla="*/ 134 h 280"/>
                <a:gd name="T38" fmla="*/ 0 w 493"/>
                <a:gd name="T39" fmla="*/ 140 h 280"/>
                <a:gd name="T40" fmla="*/ 0 w 493"/>
                <a:gd name="T41" fmla="*/ 147 h 280"/>
                <a:gd name="T42" fmla="*/ 92 w 493"/>
                <a:gd name="T43" fmla="*/ 264 h 280"/>
                <a:gd name="T44" fmla="*/ 234 w 493"/>
                <a:gd name="T45" fmla="*/ 210 h 280"/>
                <a:gd name="T46" fmla="*/ 246 w 493"/>
                <a:gd name="T47" fmla="*/ 191 h 280"/>
                <a:gd name="T48" fmla="*/ 259 w 493"/>
                <a:gd name="T49" fmla="*/ 210 h 280"/>
                <a:gd name="T50" fmla="*/ 366 w 493"/>
                <a:gd name="T51" fmla="*/ 269 h 280"/>
                <a:gd name="T52" fmla="*/ 407 w 493"/>
                <a:gd name="T53" fmla="*/ 262 h 280"/>
                <a:gd name="T54" fmla="*/ 493 w 493"/>
                <a:gd name="T55" fmla="*/ 147 h 280"/>
                <a:gd name="T56" fmla="*/ 493 w 493"/>
                <a:gd name="T57" fmla="*/ 140 h 280"/>
                <a:gd name="T58" fmla="*/ 493 w 493"/>
                <a:gd name="T59" fmla="*/ 134 h 280"/>
                <a:gd name="T60" fmla="*/ 437 w 493"/>
                <a:gd name="T61" fmla="*/ 144 h 280"/>
                <a:gd name="T62" fmla="*/ 388 w 493"/>
                <a:gd name="T63" fmla="*/ 209 h 280"/>
                <a:gd name="T64" fmla="*/ 305 w 493"/>
                <a:gd name="T65" fmla="*/ 179 h 280"/>
                <a:gd name="T66" fmla="*/ 280 w 493"/>
                <a:gd name="T67" fmla="*/ 140 h 280"/>
                <a:gd name="T68" fmla="*/ 305 w 493"/>
                <a:gd name="T69" fmla="*/ 101 h 280"/>
                <a:gd name="T70" fmla="*/ 388 w 493"/>
                <a:gd name="T71" fmla="*/ 72 h 280"/>
                <a:gd name="T72" fmla="*/ 437 w 493"/>
                <a:gd name="T73" fmla="*/ 136 h 280"/>
                <a:gd name="T74" fmla="*/ 437 w 493"/>
                <a:gd name="T75" fmla="*/ 140 h 280"/>
                <a:gd name="T76" fmla="*/ 437 w 493"/>
                <a:gd name="T77" fmla="*/ 14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3" h="280">
                  <a:moveTo>
                    <a:pt x="493" y="134"/>
                  </a:moveTo>
                  <a:cubicBezTo>
                    <a:pt x="490" y="81"/>
                    <a:pt x="458" y="37"/>
                    <a:pt x="407" y="19"/>
                  </a:cubicBezTo>
                  <a:cubicBezTo>
                    <a:pt x="353" y="0"/>
                    <a:pt x="292" y="21"/>
                    <a:pt x="259" y="70"/>
                  </a:cubicBezTo>
                  <a:cubicBezTo>
                    <a:pt x="259" y="70"/>
                    <a:pt x="259" y="70"/>
                    <a:pt x="259" y="70"/>
                  </a:cubicBezTo>
                  <a:cubicBezTo>
                    <a:pt x="213" y="140"/>
                    <a:pt x="213" y="140"/>
                    <a:pt x="213" y="140"/>
                  </a:cubicBezTo>
                  <a:cubicBezTo>
                    <a:pt x="213" y="140"/>
                    <a:pt x="213" y="140"/>
                    <a:pt x="213" y="140"/>
                  </a:cubicBezTo>
                  <a:cubicBezTo>
                    <a:pt x="187" y="180"/>
                    <a:pt x="187" y="180"/>
                    <a:pt x="187" y="180"/>
                  </a:cubicBezTo>
                  <a:cubicBezTo>
                    <a:pt x="169" y="206"/>
                    <a:pt x="137" y="219"/>
                    <a:pt x="108" y="210"/>
                  </a:cubicBezTo>
                  <a:cubicBezTo>
                    <a:pt x="84" y="203"/>
                    <a:pt x="57" y="182"/>
                    <a:pt x="56" y="144"/>
                  </a:cubicBezTo>
                  <a:cubicBezTo>
                    <a:pt x="56" y="143"/>
                    <a:pt x="56" y="142"/>
                    <a:pt x="56" y="140"/>
                  </a:cubicBezTo>
                  <a:cubicBezTo>
                    <a:pt x="56" y="139"/>
                    <a:pt x="56" y="138"/>
                    <a:pt x="56" y="136"/>
                  </a:cubicBezTo>
                  <a:cubicBezTo>
                    <a:pt x="57" y="99"/>
                    <a:pt x="84" y="78"/>
                    <a:pt x="108" y="71"/>
                  </a:cubicBezTo>
                  <a:cubicBezTo>
                    <a:pt x="114" y="69"/>
                    <a:pt x="120" y="68"/>
                    <a:pt x="127" y="68"/>
                  </a:cubicBezTo>
                  <a:cubicBezTo>
                    <a:pt x="150" y="68"/>
                    <a:pt x="173" y="80"/>
                    <a:pt x="187" y="101"/>
                  </a:cubicBezTo>
                  <a:cubicBezTo>
                    <a:pt x="203" y="126"/>
                    <a:pt x="203" y="126"/>
                    <a:pt x="203" y="126"/>
                  </a:cubicBezTo>
                  <a:cubicBezTo>
                    <a:pt x="237" y="75"/>
                    <a:pt x="237" y="75"/>
                    <a:pt x="237" y="75"/>
                  </a:cubicBezTo>
                  <a:cubicBezTo>
                    <a:pt x="234" y="70"/>
                    <a:pt x="234" y="70"/>
                    <a:pt x="234" y="70"/>
                  </a:cubicBezTo>
                  <a:cubicBezTo>
                    <a:pt x="203" y="23"/>
                    <a:pt x="144" y="1"/>
                    <a:pt x="92" y="17"/>
                  </a:cubicBezTo>
                  <a:cubicBezTo>
                    <a:pt x="38" y="33"/>
                    <a:pt x="2" y="79"/>
                    <a:pt x="0" y="134"/>
                  </a:cubicBezTo>
                  <a:cubicBezTo>
                    <a:pt x="0" y="136"/>
                    <a:pt x="0" y="138"/>
                    <a:pt x="0" y="140"/>
                  </a:cubicBezTo>
                  <a:cubicBezTo>
                    <a:pt x="0" y="143"/>
                    <a:pt x="0" y="145"/>
                    <a:pt x="0" y="147"/>
                  </a:cubicBezTo>
                  <a:cubicBezTo>
                    <a:pt x="2" y="202"/>
                    <a:pt x="38" y="248"/>
                    <a:pt x="92" y="264"/>
                  </a:cubicBezTo>
                  <a:cubicBezTo>
                    <a:pt x="144" y="280"/>
                    <a:pt x="203" y="258"/>
                    <a:pt x="234" y="210"/>
                  </a:cubicBezTo>
                  <a:cubicBezTo>
                    <a:pt x="246" y="191"/>
                    <a:pt x="246" y="191"/>
                    <a:pt x="246" y="191"/>
                  </a:cubicBezTo>
                  <a:cubicBezTo>
                    <a:pt x="259" y="210"/>
                    <a:pt x="259" y="210"/>
                    <a:pt x="259" y="210"/>
                  </a:cubicBezTo>
                  <a:cubicBezTo>
                    <a:pt x="283" y="248"/>
                    <a:pt x="324" y="269"/>
                    <a:pt x="366" y="269"/>
                  </a:cubicBezTo>
                  <a:cubicBezTo>
                    <a:pt x="379" y="269"/>
                    <a:pt x="394" y="266"/>
                    <a:pt x="407" y="262"/>
                  </a:cubicBezTo>
                  <a:cubicBezTo>
                    <a:pt x="458" y="244"/>
                    <a:pt x="490" y="200"/>
                    <a:pt x="493" y="147"/>
                  </a:cubicBezTo>
                  <a:cubicBezTo>
                    <a:pt x="493" y="145"/>
                    <a:pt x="493" y="143"/>
                    <a:pt x="493" y="140"/>
                  </a:cubicBezTo>
                  <a:cubicBezTo>
                    <a:pt x="493" y="138"/>
                    <a:pt x="493" y="136"/>
                    <a:pt x="493" y="134"/>
                  </a:cubicBezTo>
                  <a:close/>
                  <a:moveTo>
                    <a:pt x="437" y="144"/>
                  </a:moveTo>
                  <a:cubicBezTo>
                    <a:pt x="435" y="180"/>
                    <a:pt x="411" y="201"/>
                    <a:pt x="388" y="209"/>
                  </a:cubicBezTo>
                  <a:cubicBezTo>
                    <a:pt x="359" y="219"/>
                    <a:pt x="324" y="207"/>
                    <a:pt x="305" y="179"/>
                  </a:cubicBezTo>
                  <a:cubicBezTo>
                    <a:pt x="280" y="140"/>
                    <a:pt x="280" y="140"/>
                    <a:pt x="280" y="140"/>
                  </a:cubicBezTo>
                  <a:cubicBezTo>
                    <a:pt x="305" y="101"/>
                    <a:pt x="305" y="101"/>
                    <a:pt x="305" y="101"/>
                  </a:cubicBezTo>
                  <a:cubicBezTo>
                    <a:pt x="324" y="73"/>
                    <a:pt x="359" y="61"/>
                    <a:pt x="388" y="72"/>
                  </a:cubicBezTo>
                  <a:cubicBezTo>
                    <a:pt x="411" y="80"/>
                    <a:pt x="435" y="101"/>
                    <a:pt x="437" y="136"/>
                  </a:cubicBezTo>
                  <a:cubicBezTo>
                    <a:pt x="437" y="138"/>
                    <a:pt x="437" y="139"/>
                    <a:pt x="437" y="140"/>
                  </a:cubicBezTo>
                  <a:cubicBezTo>
                    <a:pt x="437" y="142"/>
                    <a:pt x="437" y="143"/>
                    <a:pt x="437" y="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627633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solidFill>
                  <a:srgbClr val="000000"/>
                </a:solidFill>
                <a:latin typeface="SimSun" panose="02010600030101010101" pitchFamily="2" charset="-122"/>
                <a:ea typeface="SimSun" panose="02010600030101010101" pitchFamily="2" charset="-122"/>
              </a:rPr>
              <a:t>配置项目</a:t>
            </a:r>
            <a:endParaRPr lang="en-US" dirty="0">
              <a:solidFill>
                <a:srgbClr val="000000"/>
              </a:solidFill>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solidFill>
                  <a:srgbClr val="0070C0"/>
                </a:solidFill>
                <a:latin typeface="SimSun" panose="02010600030101010101" pitchFamily="2" charset="-122"/>
                <a:ea typeface="SimSun" panose="02010600030101010101" pitchFamily="2" charset="-122"/>
              </a:rPr>
              <a:t>什么是可配置项目</a:t>
            </a:r>
            <a:r>
              <a:rPr lang="en-US" altLang="ja-JP" dirty="0">
                <a:solidFill>
                  <a:srgbClr val="0070C0"/>
                </a:solidFill>
                <a:latin typeface="SimSun" panose="02010600030101010101" pitchFamily="2" charset="-122"/>
                <a:ea typeface="SimSun" panose="02010600030101010101" pitchFamily="2" charset="-122"/>
              </a:rPr>
              <a:t>(CI)</a:t>
            </a:r>
            <a:r>
              <a:rPr lang="en-US" dirty="0" smtClean="0">
                <a:solidFill>
                  <a:srgbClr val="0070C0"/>
                </a:solidFill>
                <a:latin typeface="SimSun" panose="02010600030101010101" pitchFamily="2" charset="-122"/>
                <a:ea typeface="SimSun" panose="02010600030101010101" pitchFamily="2" charset="-122"/>
              </a:rPr>
              <a:t>?</a:t>
            </a:r>
            <a:endParaRPr lang="en-US" dirty="0">
              <a:solidFill>
                <a:srgbClr val="0070C0"/>
              </a:solidFill>
              <a:latin typeface="SimSun" panose="02010600030101010101" pitchFamily="2" charset="-122"/>
              <a:ea typeface="SimSun" panose="02010600030101010101" pitchFamily="2" charset="-122"/>
            </a:endParaRPr>
          </a:p>
        </p:txBody>
      </p:sp>
      <p:sp>
        <p:nvSpPr>
          <p:cNvPr id="5" name="Footer Placeholder 4"/>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82" name="Rectangle 8"/>
          <p:cNvSpPr>
            <a:spLocks noChangeArrowheads="1"/>
          </p:cNvSpPr>
          <p:nvPr/>
        </p:nvSpPr>
        <p:spPr bwMode="auto">
          <a:xfrm>
            <a:off x="468672" y="2140436"/>
            <a:ext cx="4746520" cy="84638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p>
            <a:pPr>
              <a:spcAft>
                <a:spcPts val="600"/>
              </a:spcAft>
              <a:buFontTx/>
              <a:buNone/>
            </a:pPr>
            <a:r>
              <a:rPr lang="en-AU" altLang="en-US" sz="1600" b="1" dirty="0" smtClean="0">
                <a:solidFill>
                  <a:schemeClr val="accent2"/>
                </a:solidFill>
                <a:latin typeface="SimSun" panose="02010600030101010101" pitchFamily="2" charset="-122"/>
                <a:ea typeface="SimSun" panose="02010600030101010101" pitchFamily="2" charset="-122"/>
              </a:rPr>
              <a:t>A1</a:t>
            </a:r>
          </a:p>
          <a:p>
            <a:pPr>
              <a:buFontTx/>
              <a:buNone/>
            </a:pPr>
            <a:r>
              <a:rPr lang="zh-CN" altLang="en-US" sz="1400" dirty="0" smtClean="0">
                <a:solidFill>
                  <a:srgbClr val="0070C0"/>
                </a:solidFill>
                <a:latin typeface="SimSun" panose="02010600030101010101" pitchFamily="2" charset="-122"/>
                <a:ea typeface="SimSun" panose="02010600030101010101" pitchFamily="2" charset="-122"/>
              </a:rPr>
              <a:t>一个“可配置项目”是系统中最小的组成部分，在</a:t>
            </a:r>
            <a:r>
              <a:rPr lang="en-AU" altLang="en-US" sz="1400" dirty="0" smtClean="0">
                <a:solidFill>
                  <a:srgbClr val="0070C0"/>
                </a:solidFill>
                <a:latin typeface="SimSun" panose="02010600030101010101" pitchFamily="2" charset="-122"/>
                <a:ea typeface="SimSun" panose="02010600030101010101" pitchFamily="2" charset="-122"/>
              </a:rPr>
              <a:t>CM</a:t>
            </a:r>
            <a:r>
              <a:rPr lang="zh-CN" altLang="en-US" sz="1400" dirty="0" smtClean="0">
                <a:solidFill>
                  <a:srgbClr val="0070C0"/>
                </a:solidFill>
                <a:latin typeface="SimSun" panose="02010600030101010101" pitchFamily="2" charset="-122"/>
                <a:ea typeface="SimSun" panose="02010600030101010101" pitchFamily="2" charset="-122"/>
              </a:rPr>
              <a:t>环境中被单独识别和控制。</a:t>
            </a:r>
            <a:endParaRPr lang="en-US" altLang="en-US" sz="1400" dirty="0">
              <a:solidFill>
                <a:srgbClr val="0070C0"/>
              </a:solidFill>
              <a:latin typeface="SimSun" panose="02010600030101010101" pitchFamily="2" charset="-122"/>
              <a:ea typeface="SimSun" panose="02010600030101010101" pitchFamily="2" charset="-122"/>
            </a:endParaRPr>
          </a:p>
        </p:txBody>
      </p:sp>
      <p:grpSp>
        <p:nvGrpSpPr>
          <p:cNvPr id="3080" name="Group 3079"/>
          <p:cNvGrpSpPr/>
          <p:nvPr/>
        </p:nvGrpSpPr>
        <p:grpSpPr>
          <a:xfrm>
            <a:off x="5468660" y="2896129"/>
            <a:ext cx="3209131" cy="3299800"/>
            <a:chOff x="5468660" y="2896129"/>
            <a:chExt cx="3209131" cy="3299800"/>
          </a:xfrm>
        </p:grpSpPr>
        <p:grpSp>
          <p:nvGrpSpPr>
            <p:cNvPr id="2070" name="Group 2069"/>
            <p:cNvGrpSpPr/>
            <p:nvPr/>
          </p:nvGrpSpPr>
          <p:grpSpPr>
            <a:xfrm>
              <a:off x="5468660" y="5379773"/>
              <a:ext cx="547688" cy="622301"/>
              <a:chOff x="4984750" y="4056063"/>
              <a:chExt cx="547688" cy="622301"/>
            </a:xfrm>
            <a:solidFill>
              <a:schemeClr val="accent4"/>
            </a:solidFill>
          </p:grpSpPr>
          <p:sp>
            <p:nvSpPr>
              <p:cNvPr id="2067" name="Freeform 36"/>
              <p:cNvSpPr>
                <a:spLocks/>
              </p:cNvSpPr>
              <p:nvPr/>
            </p:nvSpPr>
            <p:spPr bwMode="auto">
              <a:xfrm>
                <a:off x="4984750" y="423227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8" name="Freeform 37"/>
              <p:cNvSpPr>
                <a:spLocks/>
              </p:cNvSpPr>
              <p:nvPr/>
            </p:nvSpPr>
            <p:spPr bwMode="auto">
              <a:xfrm>
                <a:off x="5273675" y="423227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9" name="Freeform 38"/>
              <p:cNvSpPr>
                <a:spLocks/>
              </p:cNvSpPr>
              <p:nvPr/>
            </p:nvSpPr>
            <p:spPr bwMode="auto">
              <a:xfrm>
                <a:off x="4999038" y="405606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78" name="Group 3077"/>
            <p:cNvGrpSpPr/>
            <p:nvPr/>
          </p:nvGrpSpPr>
          <p:grpSpPr>
            <a:xfrm>
              <a:off x="6091237" y="3600925"/>
              <a:ext cx="2047875" cy="2368445"/>
              <a:chOff x="5995471" y="1674627"/>
              <a:chExt cx="2047875" cy="2368445"/>
            </a:xfrm>
          </p:grpSpPr>
          <p:sp>
            <p:nvSpPr>
              <p:cNvPr id="10" name="Freeform 5"/>
              <p:cNvSpPr>
                <a:spLocks/>
              </p:cNvSpPr>
              <p:nvPr/>
            </p:nvSpPr>
            <p:spPr bwMode="auto">
              <a:xfrm>
                <a:off x="5995471" y="3057477"/>
                <a:ext cx="341941" cy="589597"/>
              </a:xfrm>
              <a:custGeom>
                <a:avLst/>
                <a:gdLst>
                  <a:gd name="T0" fmla="*/ 272 w 272"/>
                  <a:gd name="T1" fmla="*/ 469 h 469"/>
                  <a:gd name="T2" fmla="*/ 0 w 272"/>
                  <a:gd name="T3" fmla="*/ 315 h 469"/>
                  <a:gd name="T4" fmla="*/ 0 w 272"/>
                  <a:gd name="T5" fmla="*/ 0 h 469"/>
                  <a:gd name="T6" fmla="*/ 272 w 272"/>
                  <a:gd name="T7" fmla="*/ 157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5"/>
                    </a:lnTo>
                    <a:lnTo>
                      <a:pt x="0" y="0"/>
                    </a:lnTo>
                    <a:lnTo>
                      <a:pt x="272" y="157"/>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p:nvSpPr>
            <p:spPr bwMode="auto">
              <a:xfrm>
                <a:off x="6337412" y="3254847"/>
                <a:ext cx="340684" cy="589597"/>
              </a:xfrm>
              <a:custGeom>
                <a:avLst/>
                <a:gdLst>
                  <a:gd name="T0" fmla="*/ 271 w 271"/>
                  <a:gd name="T1" fmla="*/ 469 h 469"/>
                  <a:gd name="T2" fmla="*/ 0 w 271"/>
                  <a:gd name="T3" fmla="*/ 312 h 469"/>
                  <a:gd name="T4" fmla="*/ 0 w 271"/>
                  <a:gd name="T5" fmla="*/ 0 h 469"/>
                  <a:gd name="T6" fmla="*/ 271 w 271"/>
                  <a:gd name="T7" fmla="*/ 158 h 469"/>
                  <a:gd name="T8" fmla="*/ 271 w 271"/>
                  <a:gd name="T9" fmla="*/ 469 h 469"/>
                </a:gdLst>
                <a:ahLst/>
                <a:cxnLst>
                  <a:cxn ang="0">
                    <a:pos x="T0" y="T1"/>
                  </a:cxn>
                  <a:cxn ang="0">
                    <a:pos x="T2" y="T3"/>
                  </a:cxn>
                  <a:cxn ang="0">
                    <a:pos x="T4" y="T5"/>
                  </a:cxn>
                  <a:cxn ang="0">
                    <a:pos x="T6" y="T7"/>
                  </a:cxn>
                  <a:cxn ang="0">
                    <a:pos x="T8" y="T9"/>
                  </a:cxn>
                </a:cxnLst>
                <a:rect l="0" t="0" r="r" b="b"/>
                <a:pathLst>
                  <a:path w="271" h="469">
                    <a:moveTo>
                      <a:pt x="271" y="469"/>
                    </a:moveTo>
                    <a:lnTo>
                      <a:pt x="0" y="312"/>
                    </a:lnTo>
                    <a:lnTo>
                      <a:pt x="0" y="0"/>
                    </a:lnTo>
                    <a:lnTo>
                      <a:pt x="271" y="158"/>
                    </a:lnTo>
                    <a:lnTo>
                      <a:pt x="271" y="469"/>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p:nvSpPr>
            <p:spPr bwMode="auto">
              <a:xfrm>
                <a:off x="6678097" y="3453475"/>
                <a:ext cx="341941" cy="589597"/>
              </a:xfrm>
              <a:custGeom>
                <a:avLst/>
                <a:gdLst>
                  <a:gd name="T0" fmla="*/ 272 w 272"/>
                  <a:gd name="T1" fmla="*/ 469 h 469"/>
                  <a:gd name="T2" fmla="*/ 0 w 272"/>
                  <a:gd name="T3" fmla="*/ 311 h 469"/>
                  <a:gd name="T4" fmla="*/ 0 w 272"/>
                  <a:gd name="T5" fmla="*/ 0 h 469"/>
                  <a:gd name="T6" fmla="*/ 272 w 272"/>
                  <a:gd name="T7" fmla="*/ 154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1"/>
                    </a:lnTo>
                    <a:lnTo>
                      <a:pt x="0" y="0"/>
                    </a:lnTo>
                    <a:lnTo>
                      <a:pt x="272" y="154"/>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p:nvSpPr>
            <p:spPr bwMode="auto">
              <a:xfrm>
                <a:off x="5995471" y="2666507"/>
                <a:ext cx="341941" cy="588340"/>
              </a:xfrm>
              <a:custGeom>
                <a:avLst/>
                <a:gdLst>
                  <a:gd name="T0" fmla="*/ 272 w 272"/>
                  <a:gd name="T1" fmla="*/ 468 h 468"/>
                  <a:gd name="T2" fmla="*/ 0 w 272"/>
                  <a:gd name="T3" fmla="*/ 311 h 468"/>
                  <a:gd name="T4" fmla="*/ 0 w 272"/>
                  <a:gd name="T5" fmla="*/ 0 h 468"/>
                  <a:gd name="T6" fmla="*/ 272 w 272"/>
                  <a:gd name="T7" fmla="*/ 153 h 468"/>
                  <a:gd name="T8" fmla="*/ 272 w 272"/>
                  <a:gd name="T9" fmla="*/ 468 h 468"/>
                </a:gdLst>
                <a:ahLst/>
                <a:cxnLst>
                  <a:cxn ang="0">
                    <a:pos x="T0" y="T1"/>
                  </a:cxn>
                  <a:cxn ang="0">
                    <a:pos x="T2" y="T3"/>
                  </a:cxn>
                  <a:cxn ang="0">
                    <a:pos x="T4" y="T5"/>
                  </a:cxn>
                  <a:cxn ang="0">
                    <a:pos x="T6" y="T7"/>
                  </a:cxn>
                  <a:cxn ang="0">
                    <a:pos x="T8" y="T9"/>
                  </a:cxn>
                </a:cxnLst>
                <a:rect l="0" t="0" r="r" b="b"/>
                <a:pathLst>
                  <a:path w="272" h="468">
                    <a:moveTo>
                      <a:pt x="272" y="468"/>
                    </a:moveTo>
                    <a:lnTo>
                      <a:pt x="0" y="311"/>
                    </a:lnTo>
                    <a:lnTo>
                      <a:pt x="0" y="0"/>
                    </a:lnTo>
                    <a:lnTo>
                      <a:pt x="272" y="153"/>
                    </a:lnTo>
                    <a:lnTo>
                      <a:pt x="272"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p:nvSpPr>
            <p:spPr bwMode="auto">
              <a:xfrm>
                <a:off x="6337412" y="2858850"/>
                <a:ext cx="340684" cy="594626"/>
              </a:xfrm>
              <a:custGeom>
                <a:avLst/>
                <a:gdLst>
                  <a:gd name="T0" fmla="*/ 271 w 271"/>
                  <a:gd name="T1" fmla="*/ 473 h 473"/>
                  <a:gd name="T2" fmla="*/ 0 w 271"/>
                  <a:gd name="T3" fmla="*/ 315 h 473"/>
                  <a:gd name="T4" fmla="*/ 0 w 271"/>
                  <a:gd name="T5" fmla="*/ 0 h 473"/>
                  <a:gd name="T6" fmla="*/ 271 w 271"/>
                  <a:gd name="T7" fmla="*/ 158 h 473"/>
                  <a:gd name="T8" fmla="*/ 271 w 271"/>
                  <a:gd name="T9" fmla="*/ 473 h 473"/>
                </a:gdLst>
                <a:ahLst/>
                <a:cxnLst>
                  <a:cxn ang="0">
                    <a:pos x="T0" y="T1"/>
                  </a:cxn>
                  <a:cxn ang="0">
                    <a:pos x="T2" y="T3"/>
                  </a:cxn>
                  <a:cxn ang="0">
                    <a:pos x="T4" y="T5"/>
                  </a:cxn>
                  <a:cxn ang="0">
                    <a:pos x="T6" y="T7"/>
                  </a:cxn>
                  <a:cxn ang="0">
                    <a:pos x="T8" y="T9"/>
                  </a:cxn>
                </a:cxnLst>
                <a:rect l="0" t="0" r="r" b="b"/>
                <a:pathLst>
                  <a:path w="271" h="473">
                    <a:moveTo>
                      <a:pt x="271" y="473"/>
                    </a:moveTo>
                    <a:lnTo>
                      <a:pt x="0" y="315"/>
                    </a:lnTo>
                    <a:lnTo>
                      <a:pt x="0" y="0"/>
                    </a:lnTo>
                    <a:lnTo>
                      <a:pt x="271" y="158"/>
                    </a:lnTo>
                    <a:lnTo>
                      <a:pt x="271" y="473"/>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p:nvSpPr>
            <p:spPr bwMode="auto">
              <a:xfrm>
                <a:off x="6678097" y="3057477"/>
                <a:ext cx="341941" cy="589597"/>
              </a:xfrm>
              <a:custGeom>
                <a:avLst/>
                <a:gdLst>
                  <a:gd name="T0" fmla="*/ 272 w 272"/>
                  <a:gd name="T1" fmla="*/ 469 h 469"/>
                  <a:gd name="T2" fmla="*/ 0 w 272"/>
                  <a:gd name="T3" fmla="*/ 315 h 469"/>
                  <a:gd name="T4" fmla="*/ 0 w 272"/>
                  <a:gd name="T5" fmla="*/ 0 h 469"/>
                  <a:gd name="T6" fmla="*/ 272 w 272"/>
                  <a:gd name="T7" fmla="*/ 157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5"/>
                    </a:lnTo>
                    <a:lnTo>
                      <a:pt x="0" y="0"/>
                    </a:lnTo>
                    <a:lnTo>
                      <a:pt x="272" y="157"/>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p:nvSpPr>
            <p:spPr bwMode="auto">
              <a:xfrm>
                <a:off x="5995471" y="2269252"/>
                <a:ext cx="341941" cy="589597"/>
              </a:xfrm>
              <a:custGeom>
                <a:avLst/>
                <a:gdLst>
                  <a:gd name="T0" fmla="*/ 272 w 272"/>
                  <a:gd name="T1" fmla="*/ 469 h 469"/>
                  <a:gd name="T2" fmla="*/ 0 w 272"/>
                  <a:gd name="T3" fmla="*/ 316 h 469"/>
                  <a:gd name="T4" fmla="*/ 0 w 272"/>
                  <a:gd name="T5" fmla="*/ 0 h 469"/>
                  <a:gd name="T6" fmla="*/ 272 w 272"/>
                  <a:gd name="T7" fmla="*/ 158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6"/>
                    </a:lnTo>
                    <a:lnTo>
                      <a:pt x="0" y="0"/>
                    </a:lnTo>
                    <a:lnTo>
                      <a:pt x="272" y="158"/>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p:nvSpPr>
            <p:spPr bwMode="auto">
              <a:xfrm>
                <a:off x="6337412" y="2467880"/>
                <a:ext cx="340684" cy="589597"/>
              </a:xfrm>
              <a:custGeom>
                <a:avLst/>
                <a:gdLst>
                  <a:gd name="T0" fmla="*/ 271 w 271"/>
                  <a:gd name="T1" fmla="*/ 469 h 469"/>
                  <a:gd name="T2" fmla="*/ 0 w 271"/>
                  <a:gd name="T3" fmla="*/ 311 h 469"/>
                  <a:gd name="T4" fmla="*/ 0 w 271"/>
                  <a:gd name="T5" fmla="*/ 0 h 469"/>
                  <a:gd name="T6" fmla="*/ 271 w 271"/>
                  <a:gd name="T7" fmla="*/ 158 h 469"/>
                  <a:gd name="T8" fmla="*/ 271 w 271"/>
                  <a:gd name="T9" fmla="*/ 469 h 469"/>
                </a:gdLst>
                <a:ahLst/>
                <a:cxnLst>
                  <a:cxn ang="0">
                    <a:pos x="T0" y="T1"/>
                  </a:cxn>
                  <a:cxn ang="0">
                    <a:pos x="T2" y="T3"/>
                  </a:cxn>
                  <a:cxn ang="0">
                    <a:pos x="T4" y="T5"/>
                  </a:cxn>
                  <a:cxn ang="0">
                    <a:pos x="T6" y="T7"/>
                  </a:cxn>
                  <a:cxn ang="0">
                    <a:pos x="T8" y="T9"/>
                  </a:cxn>
                </a:cxnLst>
                <a:rect l="0" t="0" r="r" b="b"/>
                <a:pathLst>
                  <a:path w="271" h="469">
                    <a:moveTo>
                      <a:pt x="271" y="469"/>
                    </a:moveTo>
                    <a:lnTo>
                      <a:pt x="0" y="311"/>
                    </a:lnTo>
                    <a:lnTo>
                      <a:pt x="0" y="0"/>
                    </a:lnTo>
                    <a:lnTo>
                      <a:pt x="271" y="158"/>
                    </a:lnTo>
                    <a:lnTo>
                      <a:pt x="271"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p:nvSpPr>
            <p:spPr bwMode="auto">
              <a:xfrm>
                <a:off x="6678097" y="2666507"/>
                <a:ext cx="341941" cy="588340"/>
              </a:xfrm>
              <a:custGeom>
                <a:avLst/>
                <a:gdLst>
                  <a:gd name="T0" fmla="*/ 272 w 272"/>
                  <a:gd name="T1" fmla="*/ 468 h 468"/>
                  <a:gd name="T2" fmla="*/ 0 w 272"/>
                  <a:gd name="T3" fmla="*/ 311 h 468"/>
                  <a:gd name="T4" fmla="*/ 0 w 272"/>
                  <a:gd name="T5" fmla="*/ 0 h 468"/>
                  <a:gd name="T6" fmla="*/ 272 w 272"/>
                  <a:gd name="T7" fmla="*/ 153 h 468"/>
                  <a:gd name="T8" fmla="*/ 272 w 272"/>
                  <a:gd name="T9" fmla="*/ 468 h 468"/>
                </a:gdLst>
                <a:ahLst/>
                <a:cxnLst>
                  <a:cxn ang="0">
                    <a:pos x="T0" y="T1"/>
                  </a:cxn>
                  <a:cxn ang="0">
                    <a:pos x="T2" y="T3"/>
                  </a:cxn>
                  <a:cxn ang="0">
                    <a:pos x="T4" y="T5"/>
                  </a:cxn>
                  <a:cxn ang="0">
                    <a:pos x="T6" y="T7"/>
                  </a:cxn>
                  <a:cxn ang="0">
                    <a:pos x="T8" y="T9"/>
                  </a:cxn>
                </a:cxnLst>
                <a:rect l="0" t="0" r="r" b="b"/>
                <a:pathLst>
                  <a:path w="272" h="468">
                    <a:moveTo>
                      <a:pt x="272" y="468"/>
                    </a:moveTo>
                    <a:lnTo>
                      <a:pt x="0" y="311"/>
                    </a:lnTo>
                    <a:lnTo>
                      <a:pt x="0" y="0"/>
                    </a:lnTo>
                    <a:lnTo>
                      <a:pt x="272" y="153"/>
                    </a:lnTo>
                    <a:lnTo>
                      <a:pt x="272"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p:nvSpPr>
            <p:spPr bwMode="auto">
              <a:xfrm>
                <a:off x="7702662" y="3057477"/>
                <a:ext cx="340684" cy="589597"/>
              </a:xfrm>
              <a:custGeom>
                <a:avLst/>
                <a:gdLst>
                  <a:gd name="T0" fmla="*/ 0 w 271"/>
                  <a:gd name="T1" fmla="*/ 469 h 469"/>
                  <a:gd name="T2" fmla="*/ 271 w 271"/>
                  <a:gd name="T3" fmla="*/ 315 h 469"/>
                  <a:gd name="T4" fmla="*/ 271 w 271"/>
                  <a:gd name="T5" fmla="*/ 0 h 469"/>
                  <a:gd name="T6" fmla="*/ 0 w 271"/>
                  <a:gd name="T7" fmla="*/ 157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5"/>
                    </a:lnTo>
                    <a:lnTo>
                      <a:pt x="271" y="0"/>
                    </a:lnTo>
                    <a:lnTo>
                      <a:pt x="0" y="157"/>
                    </a:lnTo>
                    <a:lnTo>
                      <a:pt x="0" y="469"/>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7360721" y="3254847"/>
                <a:ext cx="341941" cy="589597"/>
              </a:xfrm>
              <a:custGeom>
                <a:avLst/>
                <a:gdLst>
                  <a:gd name="T0" fmla="*/ 0 w 272"/>
                  <a:gd name="T1" fmla="*/ 469 h 469"/>
                  <a:gd name="T2" fmla="*/ 272 w 272"/>
                  <a:gd name="T3" fmla="*/ 312 h 469"/>
                  <a:gd name="T4" fmla="*/ 272 w 272"/>
                  <a:gd name="T5" fmla="*/ 0 h 469"/>
                  <a:gd name="T6" fmla="*/ 0 w 272"/>
                  <a:gd name="T7" fmla="*/ 158 h 469"/>
                  <a:gd name="T8" fmla="*/ 0 w 272"/>
                  <a:gd name="T9" fmla="*/ 469 h 469"/>
                </a:gdLst>
                <a:ahLst/>
                <a:cxnLst>
                  <a:cxn ang="0">
                    <a:pos x="T0" y="T1"/>
                  </a:cxn>
                  <a:cxn ang="0">
                    <a:pos x="T2" y="T3"/>
                  </a:cxn>
                  <a:cxn ang="0">
                    <a:pos x="T4" y="T5"/>
                  </a:cxn>
                  <a:cxn ang="0">
                    <a:pos x="T6" y="T7"/>
                  </a:cxn>
                  <a:cxn ang="0">
                    <a:pos x="T8" y="T9"/>
                  </a:cxn>
                </a:cxnLst>
                <a:rect l="0" t="0" r="r" b="b"/>
                <a:pathLst>
                  <a:path w="272" h="469">
                    <a:moveTo>
                      <a:pt x="0" y="469"/>
                    </a:moveTo>
                    <a:lnTo>
                      <a:pt x="272" y="312"/>
                    </a:lnTo>
                    <a:lnTo>
                      <a:pt x="272" y="0"/>
                    </a:lnTo>
                    <a:lnTo>
                      <a:pt x="0" y="158"/>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p:nvSpPr>
            <p:spPr bwMode="auto">
              <a:xfrm>
                <a:off x="7020038" y="3453475"/>
                <a:ext cx="340684" cy="589597"/>
              </a:xfrm>
              <a:custGeom>
                <a:avLst/>
                <a:gdLst>
                  <a:gd name="T0" fmla="*/ 0 w 271"/>
                  <a:gd name="T1" fmla="*/ 469 h 469"/>
                  <a:gd name="T2" fmla="*/ 271 w 271"/>
                  <a:gd name="T3" fmla="*/ 311 h 469"/>
                  <a:gd name="T4" fmla="*/ 271 w 271"/>
                  <a:gd name="T5" fmla="*/ 0 h 469"/>
                  <a:gd name="T6" fmla="*/ 0 w 271"/>
                  <a:gd name="T7" fmla="*/ 154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1"/>
                    </a:lnTo>
                    <a:lnTo>
                      <a:pt x="271" y="0"/>
                    </a:lnTo>
                    <a:lnTo>
                      <a:pt x="0" y="154"/>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p:nvSpPr>
            <p:spPr bwMode="auto">
              <a:xfrm>
                <a:off x="7702662" y="2666507"/>
                <a:ext cx="340684" cy="588340"/>
              </a:xfrm>
              <a:custGeom>
                <a:avLst/>
                <a:gdLst>
                  <a:gd name="T0" fmla="*/ 0 w 271"/>
                  <a:gd name="T1" fmla="*/ 468 h 468"/>
                  <a:gd name="T2" fmla="*/ 271 w 271"/>
                  <a:gd name="T3" fmla="*/ 311 h 468"/>
                  <a:gd name="T4" fmla="*/ 271 w 271"/>
                  <a:gd name="T5" fmla="*/ 0 h 468"/>
                  <a:gd name="T6" fmla="*/ 0 w 271"/>
                  <a:gd name="T7" fmla="*/ 153 h 468"/>
                  <a:gd name="T8" fmla="*/ 0 w 271"/>
                  <a:gd name="T9" fmla="*/ 468 h 468"/>
                </a:gdLst>
                <a:ahLst/>
                <a:cxnLst>
                  <a:cxn ang="0">
                    <a:pos x="T0" y="T1"/>
                  </a:cxn>
                  <a:cxn ang="0">
                    <a:pos x="T2" y="T3"/>
                  </a:cxn>
                  <a:cxn ang="0">
                    <a:pos x="T4" y="T5"/>
                  </a:cxn>
                  <a:cxn ang="0">
                    <a:pos x="T6" y="T7"/>
                  </a:cxn>
                  <a:cxn ang="0">
                    <a:pos x="T8" y="T9"/>
                  </a:cxn>
                </a:cxnLst>
                <a:rect l="0" t="0" r="r" b="b"/>
                <a:pathLst>
                  <a:path w="271" h="468">
                    <a:moveTo>
                      <a:pt x="0" y="468"/>
                    </a:moveTo>
                    <a:lnTo>
                      <a:pt x="271" y="311"/>
                    </a:lnTo>
                    <a:lnTo>
                      <a:pt x="271" y="0"/>
                    </a:lnTo>
                    <a:lnTo>
                      <a:pt x="0" y="153"/>
                    </a:lnTo>
                    <a:lnTo>
                      <a:pt x="0"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p:nvSpPr>
            <p:spPr bwMode="auto">
              <a:xfrm>
                <a:off x="7360721" y="2858850"/>
                <a:ext cx="341941" cy="594626"/>
              </a:xfrm>
              <a:custGeom>
                <a:avLst/>
                <a:gdLst>
                  <a:gd name="T0" fmla="*/ 0 w 272"/>
                  <a:gd name="T1" fmla="*/ 473 h 473"/>
                  <a:gd name="T2" fmla="*/ 272 w 272"/>
                  <a:gd name="T3" fmla="*/ 315 h 473"/>
                  <a:gd name="T4" fmla="*/ 272 w 272"/>
                  <a:gd name="T5" fmla="*/ 0 h 473"/>
                  <a:gd name="T6" fmla="*/ 0 w 272"/>
                  <a:gd name="T7" fmla="*/ 158 h 473"/>
                  <a:gd name="T8" fmla="*/ 0 w 272"/>
                  <a:gd name="T9" fmla="*/ 473 h 473"/>
                </a:gdLst>
                <a:ahLst/>
                <a:cxnLst>
                  <a:cxn ang="0">
                    <a:pos x="T0" y="T1"/>
                  </a:cxn>
                  <a:cxn ang="0">
                    <a:pos x="T2" y="T3"/>
                  </a:cxn>
                  <a:cxn ang="0">
                    <a:pos x="T4" y="T5"/>
                  </a:cxn>
                  <a:cxn ang="0">
                    <a:pos x="T6" y="T7"/>
                  </a:cxn>
                  <a:cxn ang="0">
                    <a:pos x="T8" y="T9"/>
                  </a:cxn>
                </a:cxnLst>
                <a:rect l="0" t="0" r="r" b="b"/>
                <a:pathLst>
                  <a:path w="272" h="473">
                    <a:moveTo>
                      <a:pt x="0" y="473"/>
                    </a:moveTo>
                    <a:lnTo>
                      <a:pt x="272" y="315"/>
                    </a:lnTo>
                    <a:lnTo>
                      <a:pt x="272" y="0"/>
                    </a:lnTo>
                    <a:lnTo>
                      <a:pt x="0" y="158"/>
                    </a:lnTo>
                    <a:lnTo>
                      <a:pt x="0" y="473"/>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p:nvSpPr>
            <p:spPr bwMode="auto">
              <a:xfrm>
                <a:off x="7020038" y="3057477"/>
                <a:ext cx="340684" cy="589597"/>
              </a:xfrm>
              <a:custGeom>
                <a:avLst/>
                <a:gdLst>
                  <a:gd name="T0" fmla="*/ 0 w 271"/>
                  <a:gd name="T1" fmla="*/ 469 h 469"/>
                  <a:gd name="T2" fmla="*/ 271 w 271"/>
                  <a:gd name="T3" fmla="*/ 315 h 469"/>
                  <a:gd name="T4" fmla="*/ 271 w 271"/>
                  <a:gd name="T5" fmla="*/ 0 h 469"/>
                  <a:gd name="T6" fmla="*/ 0 w 271"/>
                  <a:gd name="T7" fmla="*/ 157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5"/>
                    </a:lnTo>
                    <a:lnTo>
                      <a:pt x="271" y="0"/>
                    </a:lnTo>
                    <a:lnTo>
                      <a:pt x="0" y="157"/>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p:nvSpPr>
            <p:spPr bwMode="auto">
              <a:xfrm>
                <a:off x="7702662" y="2269252"/>
                <a:ext cx="340684" cy="589597"/>
              </a:xfrm>
              <a:custGeom>
                <a:avLst/>
                <a:gdLst>
                  <a:gd name="T0" fmla="*/ 0 w 271"/>
                  <a:gd name="T1" fmla="*/ 469 h 469"/>
                  <a:gd name="T2" fmla="*/ 271 w 271"/>
                  <a:gd name="T3" fmla="*/ 316 h 469"/>
                  <a:gd name="T4" fmla="*/ 271 w 271"/>
                  <a:gd name="T5" fmla="*/ 0 h 469"/>
                  <a:gd name="T6" fmla="*/ 0 w 271"/>
                  <a:gd name="T7" fmla="*/ 158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6"/>
                    </a:lnTo>
                    <a:lnTo>
                      <a:pt x="271" y="0"/>
                    </a:lnTo>
                    <a:lnTo>
                      <a:pt x="0" y="158"/>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p:nvSpPr>
            <p:spPr bwMode="auto">
              <a:xfrm>
                <a:off x="7360721" y="2467880"/>
                <a:ext cx="341941" cy="589597"/>
              </a:xfrm>
              <a:custGeom>
                <a:avLst/>
                <a:gdLst>
                  <a:gd name="T0" fmla="*/ 0 w 272"/>
                  <a:gd name="T1" fmla="*/ 469 h 469"/>
                  <a:gd name="T2" fmla="*/ 272 w 272"/>
                  <a:gd name="T3" fmla="*/ 311 h 469"/>
                  <a:gd name="T4" fmla="*/ 272 w 272"/>
                  <a:gd name="T5" fmla="*/ 0 h 469"/>
                  <a:gd name="T6" fmla="*/ 0 w 272"/>
                  <a:gd name="T7" fmla="*/ 158 h 469"/>
                  <a:gd name="T8" fmla="*/ 0 w 272"/>
                  <a:gd name="T9" fmla="*/ 469 h 469"/>
                </a:gdLst>
                <a:ahLst/>
                <a:cxnLst>
                  <a:cxn ang="0">
                    <a:pos x="T0" y="T1"/>
                  </a:cxn>
                  <a:cxn ang="0">
                    <a:pos x="T2" y="T3"/>
                  </a:cxn>
                  <a:cxn ang="0">
                    <a:pos x="T4" y="T5"/>
                  </a:cxn>
                  <a:cxn ang="0">
                    <a:pos x="T6" y="T7"/>
                  </a:cxn>
                  <a:cxn ang="0">
                    <a:pos x="T8" y="T9"/>
                  </a:cxn>
                </a:cxnLst>
                <a:rect l="0" t="0" r="r" b="b"/>
                <a:pathLst>
                  <a:path w="272" h="469">
                    <a:moveTo>
                      <a:pt x="0" y="469"/>
                    </a:moveTo>
                    <a:lnTo>
                      <a:pt x="272" y="311"/>
                    </a:lnTo>
                    <a:lnTo>
                      <a:pt x="272" y="0"/>
                    </a:lnTo>
                    <a:lnTo>
                      <a:pt x="0" y="158"/>
                    </a:lnTo>
                    <a:lnTo>
                      <a:pt x="0" y="469"/>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p:nvSpPr>
            <p:spPr bwMode="auto">
              <a:xfrm>
                <a:off x="7020038" y="2666507"/>
                <a:ext cx="340684" cy="588340"/>
              </a:xfrm>
              <a:custGeom>
                <a:avLst/>
                <a:gdLst>
                  <a:gd name="T0" fmla="*/ 0 w 271"/>
                  <a:gd name="T1" fmla="*/ 468 h 468"/>
                  <a:gd name="T2" fmla="*/ 271 w 271"/>
                  <a:gd name="T3" fmla="*/ 311 h 468"/>
                  <a:gd name="T4" fmla="*/ 271 w 271"/>
                  <a:gd name="T5" fmla="*/ 0 h 468"/>
                  <a:gd name="T6" fmla="*/ 0 w 271"/>
                  <a:gd name="T7" fmla="*/ 153 h 468"/>
                  <a:gd name="T8" fmla="*/ 0 w 271"/>
                  <a:gd name="T9" fmla="*/ 468 h 468"/>
                </a:gdLst>
                <a:ahLst/>
                <a:cxnLst>
                  <a:cxn ang="0">
                    <a:pos x="T0" y="T1"/>
                  </a:cxn>
                  <a:cxn ang="0">
                    <a:pos x="T2" y="T3"/>
                  </a:cxn>
                  <a:cxn ang="0">
                    <a:pos x="T4" y="T5"/>
                  </a:cxn>
                  <a:cxn ang="0">
                    <a:pos x="T6" y="T7"/>
                  </a:cxn>
                  <a:cxn ang="0">
                    <a:pos x="T8" y="T9"/>
                  </a:cxn>
                </a:cxnLst>
                <a:rect l="0" t="0" r="r" b="b"/>
                <a:pathLst>
                  <a:path w="271" h="468">
                    <a:moveTo>
                      <a:pt x="0" y="468"/>
                    </a:moveTo>
                    <a:lnTo>
                      <a:pt x="271" y="311"/>
                    </a:lnTo>
                    <a:lnTo>
                      <a:pt x="271" y="0"/>
                    </a:lnTo>
                    <a:lnTo>
                      <a:pt x="0" y="153"/>
                    </a:lnTo>
                    <a:lnTo>
                      <a:pt x="0"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0" name="Freeform 23"/>
              <p:cNvSpPr>
                <a:spLocks/>
              </p:cNvSpPr>
              <p:nvPr/>
            </p:nvSpPr>
            <p:spPr bwMode="auto">
              <a:xfrm>
                <a:off x="6678097" y="2467880"/>
                <a:ext cx="682625" cy="395998"/>
              </a:xfrm>
              <a:custGeom>
                <a:avLst/>
                <a:gdLst>
                  <a:gd name="T0" fmla="*/ 0 w 543"/>
                  <a:gd name="T1" fmla="*/ 158 h 315"/>
                  <a:gd name="T2" fmla="*/ 272 w 543"/>
                  <a:gd name="T3" fmla="*/ 315 h 315"/>
                  <a:gd name="T4" fmla="*/ 543 w 543"/>
                  <a:gd name="T5" fmla="*/ 158 h 315"/>
                  <a:gd name="T6" fmla="*/ 272 w 543"/>
                  <a:gd name="T7" fmla="*/ 0 h 315"/>
                  <a:gd name="T8" fmla="*/ 0 w 543"/>
                  <a:gd name="T9" fmla="*/ 158 h 315"/>
                </a:gdLst>
                <a:ahLst/>
                <a:cxnLst>
                  <a:cxn ang="0">
                    <a:pos x="T0" y="T1"/>
                  </a:cxn>
                  <a:cxn ang="0">
                    <a:pos x="T2" y="T3"/>
                  </a:cxn>
                  <a:cxn ang="0">
                    <a:pos x="T4" y="T5"/>
                  </a:cxn>
                  <a:cxn ang="0">
                    <a:pos x="T6" y="T7"/>
                  </a:cxn>
                  <a:cxn ang="0">
                    <a:pos x="T8" y="T9"/>
                  </a:cxn>
                </a:cxnLst>
                <a:rect l="0" t="0" r="r" b="b"/>
                <a:pathLst>
                  <a:path w="543" h="315">
                    <a:moveTo>
                      <a:pt x="0" y="158"/>
                    </a:moveTo>
                    <a:lnTo>
                      <a:pt x="272" y="315"/>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5" name="Freeform 24"/>
              <p:cNvSpPr>
                <a:spLocks/>
              </p:cNvSpPr>
              <p:nvPr/>
            </p:nvSpPr>
            <p:spPr bwMode="auto">
              <a:xfrm>
                <a:off x="7020038" y="2269252"/>
                <a:ext cx="682625" cy="397255"/>
              </a:xfrm>
              <a:custGeom>
                <a:avLst/>
                <a:gdLst>
                  <a:gd name="T0" fmla="*/ 0 w 543"/>
                  <a:gd name="T1" fmla="*/ 158 h 316"/>
                  <a:gd name="T2" fmla="*/ 271 w 543"/>
                  <a:gd name="T3" fmla="*/ 316 h 316"/>
                  <a:gd name="T4" fmla="*/ 543 w 543"/>
                  <a:gd name="T5" fmla="*/ 158 h 316"/>
                  <a:gd name="T6" fmla="*/ 271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1" y="316"/>
                    </a:lnTo>
                    <a:lnTo>
                      <a:pt x="543" y="158"/>
                    </a:lnTo>
                    <a:lnTo>
                      <a:pt x="271" y="0"/>
                    </a:lnTo>
                    <a:lnTo>
                      <a:pt x="0" y="158"/>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6" name="Freeform 25"/>
              <p:cNvSpPr>
                <a:spLocks/>
              </p:cNvSpPr>
              <p:nvPr/>
            </p:nvSpPr>
            <p:spPr bwMode="auto">
              <a:xfrm>
                <a:off x="7360721" y="2070625"/>
                <a:ext cx="682625" cy="397255"/>
              </a:xfrm>
              <a:custGeom>
                <a:avLst/>
                <a:gdLst>
                  <a:gd name="T0" fmla="*/ 0 w 543"/>
                  <a:gd name="T1" fmla="*/ 158 h 316"/>
                  <a:gd name="T2" fmla="*/ 272 w 543"/>
                  <a:gd name="T3" fmla="*/ 316 h 316"/>
                  <a:gd name="T4" fmla="*/ 543 w 543"/>
                  <a:gd name="T5" fmla="*/ 158 h 316"/>
                  <a:gd name="T6" fmla="*/ 272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2" y="316"/>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7" name="Freeform 26"/>
              <p:cNvSpPr>
                <a:spLocks/>
              </p:cNvSpPr>
              <p:nvPr/>
            </p:nvSpPr>
            <p:spPr bwMode="auto">
              <a:xfrm>
                <a:off x="6337412" y="2269252"/>
                <a:ext cx="682625" cy="397255"/>
              </a:xfrm>
              <a:custGeom>
                <a:avLst/>
                <a:gdLst>
                  <a:gd name="T0" fmla="*/ 0 w 543"/>
                  <a:gd name="T1" fmla="*/ 158 h 316"/>
                  <a:gd name="T2" fmla="*/ 271 w 543"/>
                  <a:gd name="T3" fmla="*/ 316 h 316"/>
                  <a:gd name="T4" fmla="*/ 543 w 543"/>
                  <a:gd name="T5" fmla="*/ 158 h 316"/>
                  <a:gd name="T6" fmla="*/ 271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1" y="316"/>
                    </a:lnTo>
                    <a:lnTo>
                      <a:pt x="543" y="158"/>
                    </a:lnTo>
                    <a:lnTo>
                      <a:pt x="271"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8" name="Freeform 27"/>
              <p:cNvSpPr>
                <a:spLocks/>
              </p:cNvSpPr>
              <p:nvPr/>
            </p:nvSpPr>
            <p:spPr bwMode="auto">
              <a:xfrm>
                <a:off x="6678097" y="2070625"/>
                <a:ext cx="682625" cy="397255"/>
              </a:xfrm>
              <a:custGeom>
                <a:avLst/>
                <a:gdLst>
                  <a:gd name="T0" fmla="*/ 0 w 543"/>
                  <a:gd name="T1" fmla="*/ 158 h 316"/>
                  <a:gd name="T2" fmla="*/ 272 w 543"/>
                  <a:gd name="T3" fmla="*/ 316 h 316"/>
                  <a:gd name="T4" fmla="*/ 543 w 543"/>
                  <a:gd name="T5" fmla="*/ 158 h 316"/>
                  <a:gd name="T6" fmla="*/ 272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2" y="316"/>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9" name="Freeform 28"/>
              <p:cNvSpPr>
                <a:spLocks/>
              </p:cNvSpPr>
              <p:nvPr/>
            </p:nvSpPr>
            <p:spPr bwMode="auto">
              <a:xfrm>
                <a:off x="7020038" y="1873255"/>
                <a:ext cx="682625" cy="395998"/>
              </a:xfrm>
              <a:custGeom>
                <a:avLst/>
                <a:gdLst>
                  <a:gd name="T0" fmla="*/ 0 w 543"/>
                  <a:gd name="T1" fmla="*/ 157 h 315"/>
                  <a:gd name="T2" fmla="*/ 271 w 543"/>
                  <a:gd name="T3" fmla="*/ 315 h 315"/>
                  <a:gd name="T4" fmla="*/ 543 w 543"/>
                  <a:gd name="T5" fmla="*/ 157 h 315"/>
                  <a:gd name="T6" fmla="*/ 271 w 543"/>
                  <a:gd name="T7" fmla="*/ 0 h 315"/>
                  <a:gd name="T8" fmla="*/ 0 w 543"/>
                  <a:gd name="T9" fmla="*/ 157 h 315"/>
                </a:gdLst>
                <a:ahLst/>
                <a:cxnLst>
                  <a:cxn ang="0">
                    <a:pos x="T0" y="T1"/>
                  </a:cxn>
                  <a:cxn ang="0">
                    <a:pos x="T2" y="T3"/>
                  </a:cxn>
                  <a:cxn ang="0">
                    <a:pos x="T4" y="T5"/>
                  </a:cxn>
                  <a:cxn ang="0">
                    <a:pos x="T6" y="T7"/>
                  </a:cxn>
                  <a:cxn ang="0">
                    <a:pos x="T8" y="T9"/>
                  </a:cxn>
                </a:cxnLst>
                <a:rect l="0" t="0" r="r" b="b"/>
                <a:pathLst>
                  <a:path w="543" h="315">
                    <a:moveTo>
                      <a:pt x="0" y="157"/>
                    </a:moveTo>
                    <a:lnTo>
                      <a:pt x="271" y="315"/>
                    </a:lnTo>
                    <a:lnTo>
                      <a:pt x="543" y="157"/>
                    </a:lnTo>
                    <a:lnTo>
                      <a:pt x="271" y="0"/>
                    </a:lnTo>
                    <a:lnTo>
                      <a:pt x="0" y="157"/>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0" name="Freeform 29"/>
              <p:cNvSpPr>
                <a:spLocks/>
              </p:cNvSpPr>
              <p:nvPr/>
            </p:nvSpPr>
            <p:spPr bwMode="auto">
              <a:xfrm>
                <a:off x="5995471" y="2070625"/>
                <a:ext cx="682625" cy="397255"/>
              </a:xfrm>
              <a:custGeom>
                <a:avLst/>
                <a:gdLst>
                  <a:gd name="T0" fmla="*/ 0 w 543"/>
                  <a:gd name="T1" fmla="*/ 158 h 316"/>
                  <a:gd name="T2" fmla="*/ 272 w 543"/>
                  <a:gd name="T3" fmla="*/ 316 h 316"/>
                  <a:gd name="T4" fmla="*/ 543 w 543"/>
                  <a:gd name="T5" fmla="*/ 158 h 316"/>
                  <a:gd name="T6" fmla="*/ 272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2" y="316"/>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1" name="Freeform 30"/>
              <p:cNvSpPr>
                <a:spLocks/>
              </p:cNvSpPr>
              <p:nvPr/>
            </p:nvSpPr>
            <p:spPr bwMode="auto">
              <a:xfrm>
                <a:off x="6337412" y="1873255"/>
                <a:ext cx="682625" cy="395998"/>
              </a:xfrm>
              <a:custGeom>
                <a:avLst/>
                <a:gdLst>
                  <a:gd name="T0" fmla="*/ 0 w 543"/>
                  <a:gd name="T1" fmla="*/ 157 h 315"/>
                  <a:gd name="T2" fmla="*/ 271 w 543"/>
                  <a:gd name="T3" fmla="*/ 315 h 315"/>
                  <a:gd name="T4" fmla="*/ 543 w 543"/>
                  <a:gd name="T5" fmla="*/ 157 h 315"/>
                  <a:gd name="T6" fmla="*/ 271 w 543"/>
                  <a:gd name="T7" fmla="*/ 0 h 315"/>
                  <a:gd name="T8" fmla="*/ 0 w 543"/>
                  <a:gd name="T9" fmla="*/ 157 h 315"/>
                </a:gdLst>
                <a:ahLst/>
                <a:cxnLst>
                  <a:cxn ang="0">
                    <a:pos x="T0" y="T1"/>
                  </a:cxn>
                  <a:cxn ang="0">
                    <a:pos x="T2" y="T3"/>
                  </a:cxn>
                  <a:cxn ang="0">
                    <a:pos x="T4" y="T5"/>
                  </a:cxn>
                  <a:cxn ang="0">
                    <a:pos x="T6" y="T7"/>
                  </a:cxn>
                  <a:cxn ang="0">
                    <a:pos x="T8" y="T9"/>
                  </a:cxn>
                </a:cxnLst>
                <a:rect l="0" t="0" r="r" b="b"/>
                <a:pathLst>
                  <a:path w="543" h="315">
                    <a:moveTo>
                      <a:pt x="0" y="157"/>
                    </a:moveTo>
                    <a:lnTo>
                      <a:pt x="271" y="315"/>
                    </a:lnTo>
                    <a:lnTo>
                      <a:pt x="543" y="157"/>
                    </a:lnTo>
                    <a:lnTo>
                      <a:pt x="271" y="0"/>
                    </a:lnTo>
                    <a:lnTo>
                      <a:pt x="0" y="157"/>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2" name="Freeform 31"/>
              <p:cNvSpPr>
                <a:spLocks/>
              </p:cNvSpPr>
              <p:nvPr/>
            </p:nvSpPr>
            <p:spPr bwMode="auto">
              <a:xfrm>
                <a:off x="6678097" y="1674627"/>
                <a:ext cx="682625" cy="395998"/>
              </a:xfrm>
              <a:custGeom>
                <a:avLst/>
                <a:gdLst>
                  <a:gd name="T0" fmla="*/ 0 w 543"/>
                  <a:gd name="T1" fmla="*/ 158 h 315"/>
                  <a:gd name="T2" fmla="*/ 272 w 543"/>
                  <a:gd name="T3" fmla="*/ 315 h 315"/>
                  <a:gd name="T4" fmla="*/ 543 w 543"/>
                  <a:gd name="T5" fmla="*/ 158 h 315"/>
                  <a:gd name="T6" fmla="*/ 272 w 543"/>
                  <a:gd name="T7" fmla="*/ 0 h 315"/>
                  <a:gd name="T8" fmla="*/ 0 w 543"/>
                  <a:gd name="T9" fmla="*/ 158 h 315"/>
                </a:gdLst>
                <a:ahLst/>
                <a:cxnLst>
                  <a:cxn ang="0">
                    <a:pos x="T0" y="T1"/>
                  </a:cxn>
                  <a:cxn ang="0">
                    <a:pos x="T2" y="T3"/>
                  </a:cxn>
                  <a:cxn ang="0">
                    <a:pos x="T4" y="T5"/>
                  </a:cxn>
                  <a:cxn ang="0">
                    <a:pos x="T6" y="T7"/>
                  </a:cxn>
                  <a:cxn ang="0">
                    <a:pos x="T8" y="T9"/>
                  </a:cxn>
                </a:cxnLst>
                <a:rect l="0" t="0" r="r" b="b"/>
                <a:pathLst>
                  <a:path w="543" h="315">
                    <a:moveTo>
                      <a:pt x="0" y="158"/>
                    </a:moveTo>
                    <a:lnTo>
                      <a:pt x="272" y="315"/>
                    </a:lnTo>
                    <a:lnTo>
                      <a:pt x="543" y="158"/>
                    </a:lnTo>
                    <a:lnTo>
                      <a:pt x="272" y="0"/>
                    </a:lnTo>
                    <a:lnTo>
                      <a:pt x="0" y="158"/>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6" name="Freeform 43"/>
              <p:cNvSpPr>
                <a:spLocks/>
              </p:cNvSpPr>
              <p:nvPr/>
            </p:nvSpPr>
            <p:spPr bwMode="auto">
              <a:xfrm flipH="1">
                <a:off x="6350589" y="3070177"/>
                <a:ext cx="314325" cy="360363"/>
              </a:xfrm>
              <a:custGeom>
                <a:avLst/>
                <a:gdLst>
                  <a:gd name="T0" fmla="*/ 0 w 198"/>
                  <a:gd name="T1" fmla="*/ 0 h 227"/>
                  <a:gd name="T2" fmla="*/ 0 w 198"/>
                  <a:gd name="T3" fmla="*/ 227 h 227"/>
                  <a:gd name="T4" fmla="*/ 198 w 198"/>
                  <a:gd name="T5" fmla="*/ 112 h 227"/>
                  <a:gd name="T6" fmla="*/ 0 w 198"/>
                  <a:gd name="T7" fmla="*/ 0 h 227"/>
                </a:gdLst>
                <a:ahLst/>
                <a:cxnLst>
                  <a:cxn ang="0">
                    <a:pos x="T0" y="T1"/>
                  </a:cxn>
                  <a:cxn ang="0">
                    <a:pos x="T2" y="T3"/>
                  </a:cxn>
                  <a:cxn ang="0">
                    <a:pos x="T4" y="T5"/>
                  </a:cxn>
                  <a:cxn ang="0">
                    <a:pos x="T6" y="T7"/>
                  </a:cxn>
                </a:cxnLst>
                <a:rect l="0" t="0" r="r" b="b"/>
                <a:pathLst>
                  <a:path w="198" h="227">
                    <a:moveTo>
                      <a:pt x="0" y="0"/>
                    </a:moveTo>
                    <a:lnTo>
                      <a:pt x="0" y="227"/>
                    </a:lnTo>
                    <a:lnTo>
                      <a:pt x="198" y="112"/>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77" name="Freeform 44"/>
              <p:cNvSpPr>
                <a:spLocks/>
              </p:cNvSpPr>
              <p:nvPr/>
            </p:nvSpPr>
            <p:spPr bwMode="auto">
              <a:xfrm>
                <a:off x="6350591" y="3028951"/>
                <a:ext cx="314325" cy="360363"/>
              </a:xfrm>
              <a:custGeom>
                <a:avLst/>
                <a:gdLst>
                  <a:gd name="T0" fmla="*/ 0 w 198"/>
                  <a:gd name="T1" fmla="*/ 0 h 227"/>
                  <a:gd name="T2" fmla="*/ 0 w 198"/>
                  <a:gd name="T3" fmla="*/ 227 h 227"/>
                  <a:gd name="T4" fmla="*/ 198 w 198"/>
                  <a:gd name="T5" fmla="*/ 112 h 227"/>
                </a:gdLst>
                <a:ahLst/>
                <a:cxnLst>
                  <a:cxn ang="0">
                    <a:pos x="T0" y="T1"/>
                  </a:cxn>
                  <a:cxn ang="0">
                    <a:pos x="T2" y="T3"/>
                  </a:cxn>
                  <a:cxn ang="0">
                    <a:pos x="T4" y="T5"/>
                  </a:cxn>
                </a:cxnLst>
                <a:rect l="0" t="0" r="r" b="b"/>
                <a:pathLst>
                  <a:path w="198" h="227">
                    <a:moveTo>
                      <a:pt x="0" y="0"/>
                    </a:moveTo>
                    <a:lnTo>
                      <a:pt x="0" y="227"/>
                    </a:lnTo>
                    <a:lnTo>
                      <a:pt x="198"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3077" name="Straight Connector 3076"/>
              <p:cNvCxnSpPr>
                <a:stCxn id="16" idx="1"/>
                <a:endCxn id="20" idx="1"/>
              </p:cNvCxnSpPr>
              <p:nvPr/>
            </p:nvCxnSpPr>
            <p:spPr>
              <a:xfrm flipV="1">
                <a:off x="6337412" y="3057477"/>
                <a:ext cx="340685" cy="197371"/>
              </a:xfrm>
              <a:prstGeom prst="line">
                <a:avLst/>
              </a:prstGeom>
              <a:ln w="28575">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7173744" y="2896129"/>
              <a:ext cx="547688" cy="622301"/>
              <a:chOff x="4984750" y="4056063"/>
              <a:chExt cx="547688" cy="622301"/>
            </a:xfrm>
            <a:solidFill>
              <a:schemeClr val="accent4"/>
            </a:solidFill>
          </p:grpSpPr>
          <p:sp>
            <p:nvSpPr>
              <p:cNvPr id="75" name="Freeform 36"/>
              <p:cNvSpPr>
                <a:spLocks/>
              </p:cNvSpPr>
              <p:nvPr/>
            </p:nvSpPr>
            <p:spPr bwMode="auto">
              <a:xfrm>
                <a:off x="4984750" y="423227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37"/>
              <p:cNvSpPr>
                <a:spLocks/>
              </p:cNvSpPr>
              <p:nvPr/>
            </p:nvSpPr>
            <p:spPr bwMode="auto">
              <a:xfrm>
                <a:off x="5273675" y="423227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8"/>
              <p:cNvSpPr>
                <a:spLocks/>
              </p:cNvSpPr>
              <p:nvPr/>
            </p:nvSpPr>
            <p:spPr bwMode="auto">
              <a:xfrm>
                <a:off x="4999038" y="405606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p:cNvGrpSpPr/>
            <p:nvPr/>
          </p:nvGrpSpPr>
          <p:grpSpPr>
            <a:xfrm>
              <a:off x="8130103" y="5573628"/>
              <a:ext cx="547688" cy="622301"/>
              <a:chOff x="4984750" y="4056063"/>
              <a:chExt cx="547688" cy="622301"/>
            </a:xfrm>
            <a:solidFill>
              <a:schemeClr val="accent4"/>
            </a:solidFill>
          </p:grpSpPr>
          <p:sp>
            <p:nvSpPr>
              <p:cNvPr id="85" name="Freeform 36"/>
              <p:cNvSpPr>
                <a:spLocks/>
              </p:cNvSpPr>
              <p:nvPr/>
            </p:nvSpPr>
            <p:spPr bwMode="auto">
              <a:xfrm>
                <a:off x="4984750" y="423227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7"/>
              <p:cNvSpPr>
                <a:spLocks/>
              </p:cNvSpPr>
              <p:nvPr/>
            </p:nvSpPr>
            <p:spPr bwMode="auto">
              <a:xfrm>
                <a:off x="5273675" y="423227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8"/>
              <p:cNvSpPr>
                <a:spLocks/>
              </p:cNvSpPr>
              <p:nvPr/>
            </p:nvSpPr>
            <p:spPr bwMode="auto">
              <a:xfrm>
                <a:off x="4999038" y="405606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9" name="Rectangle 8"/>
          <p:cNvSpPr>
            <a:spLocks noChangeArrowheads="1"/>
          </p:cNvSpPr>
          <p:nvPr/>
        </p:nvSpPr>
        <p:spPr bwMode="auto">
          <a:xfrm>
            <a:off x="468672" y="3409293"/>
            <a:ext cx="4746520" cy="84638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p>
            <a:pPr>
              <a:spcAft>
                <a:spcPts val="600"/>
              </a:spcAft>
              <a:buFontTx/>
              <a:buNone/>
            </a:pPr>
            <a:r>
              <a:rPr lang="en-AU" altLang="en-US" sz="1600" b="1" dirty="0" smtClean="0">
                <a:solidFill>
                  <a:schemeClr val="accent2"/>
                </a:solidFill>
                <a:latin typeface="SimSun" panose="02010600030101010101" pitchFamily="2" charset="-122"/>
                <a:ea typeface="SimSun" panose="02010600030101010101" pitchFamily="2" charset="-122"/>
              </a:rPr>
              <a:t>A2</a:t>
            </a:r>
          </a:p>
          <a:p>
            <a:pPr>
              <a:buFontTx/>
              <a:buNone/>
            </a:pPr>
            <a:r>
              <a:rPr lang="zh-CN" altLang="en-US" sz="1400" dirty="0" smtClean="0">
                <a:solidFill>
                  <a:srgbClr val="0070C0"/>
                </a:solidFill>
                <a:latin typeface="SimSun" panose="02010600030101010101" pitchFamily="2" charset="-122"/>
                <a:ea typeface="SimSun" panose="02010600030101010101" pitchFamily="2" charset="-122"/>
              </a:rPr>
              <a:t>一个</a:t>
            </a:r>
            <a:r>
              <a:rPr lang="en-US" altLang="en-US" sz="1400" dirty="0" smtClean="0">
                <a:solidFill>
                  <a:srgbClr val="0070C0"/>
                </a:solidFill>
                <a:latin typeface="SimSun" panose="02010600030101010101" pitchFamily="2" charset="-122"/>
                <a:ea typeface="SimSun" panose="02010600030101010101" pitchFamily="2" charset="-122"/>
              </a:rPr>
              <a:t>CI</a:t>
            </a:r>
            <a:r>
              <a:rPr lang="zh-CN" altLang="en-US" sz="1400" dirty="0" smtClean="0">
                <a:solidFill>
                  <a:srgbClr val="0070C0"/>
                </a:solidFill>
                <a:latin typeface="SimSun" panose="02010600030101010101" pitchFamily="2" charset="-122"/>
                <a:ea typeface="SimSun" panose="02010600030101010101" pitchFamily="2" charset="-122"/>
              </a:rPr>
              <a:t>也可定义为需要配置控制的可交付产品。可以是可修改或不可修改。</a:t>
            </a:r>
            <a:endParaRPr lang="en-US" altLang="en-US" sz="1400" dirty="0">
              <a:solidFill>
                <a:srgbClr val="0070C0"/>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3092892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additive="base">
                                        <p:cTn id="7" dur="500" fill="hold"/>
                                        <p:tgtEl>
                                          <p:spTgt spid="82"/>
                                        </p:tgtEl>
                                        <p:attrNameLst>
                                          <p:attrName>ppt_x</p:attrName>
                                        </p:attrNameLst>
                                      </p:cBhvr>
                                      <p:tavLst>
                                        <p:tav tm="0">
                                          <p:val>
                                            <p:strVal val="#ppt_x"/>
                                          </p:val>
                                        </p:tav>
                                        <p:tav tm="100000">
                                          <p:val>
                                            <p:strVal val="#ppt_x"/>
                                          </p:val>
                                        </p:tav>
                                      </p:tavLst>
                                    </p:anim>
                                    <p:anim calcmode="lin" valueType="num">
                                      <p:cBhvr additive="base">
                                        <p:cTn id="8"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9"/>
                                        </p:tgtEl>
                                        <p:attrNameLst>
                                          <p:attrName>style.visibility</p:attrName>
                                        </p:attrNameLst>
                                      </p:cBhvr>
                                      <p:to>
                                        <p:strVal val="visible"/>
                                      </p:to>
                                    </p:set>
                                    <p:anim calcmode="lin" valueType="num">
                                      <p:cBhvr additive="base">
                                        <p:cTn id="13" dur="500" fill="hold"/>
                                        <p:tgtEl>
                                          <p:spTgt spid="89"/>
                                        </p:tgtEl>
                                        <p:attrNameLst>
                                          <p:attrName>ppt_x</p:attrName>
                                        </p:attrNameLst>
                                      </p:cBhvr>
                                      <p:tavLst>
                                        <p:tav tm="0">
                                          <p:val>
                                            <p:strVal val="#ppt_x"/>
                                          </p:val>
                                        </p:tav>
                                        <p:tav tm="100000">
                                          <p:val>
                                            <p:strVal val="#ppt_x"/>
                                          </p:val>
                                        </p:tav>
                                      </p:tavLst>
                                    </p:anim>
                                    <p:anim calcmode="lin" valueType="num">
                                      <p:cBhvr additive="base">
                                        <p:cTn id="14" dur="500" fill="hold"/>
                                        <p:tgtEl>
                                          <p:spTgt spid="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solidFill>
                  <a:srgbClr val="000000"/>
                </a:solidFill>
                <a:latin typeface="SimSun" panose="02010600030101010101" pitchFamily="2" charset="-122"/>
                <a:ea typeface="SimSun" panose="02010600030101010101" pitchFamily="2" charset="-122"/>
              </a:rPr>
              <a:t>可配置项目</a:t>
            </a:r>
            <a:endParaRPr lang="en-GB" dirty="0">
              <a:solidFill>
                <a:srgbClr val="000000"/>
              </a:solidFill>
              <a:latin typeface="SimSun" panose="02010600030101010101" pitchFamily="2" charset="-122"/>
              <a:ea typeface="SimSun" panose="02010600030101010101" pitchFamily="2" charset="-122"/>
            </a:endParaRPr>
          </a:p>
        </p:txBody>
      </p:sp>
      <p:sp>
        <p:nvSpPr>
          <p:cNvPr id="5" name="Text Placeholder 4"/>
          <p:cNvSpPr>
            <a:spLocks noGrp="1"/>
          </p:cNvSpPr>
          <p:nvPr>
            <p:ph type="body" sz="quarter" idx="10"/>
          </p:nvPr>
        </p:nvSpPr>
        <p:spPr>
          <a:xfrm>
            <a:off x="455613" y="1182021"/>
            <a:ext cx="7659687" cy="396000"/>
          </a:xfrm>
        </p:spPr>
        <p:txBody>
          <a:bodyPr/>
          <a:lstStyle/>
          <a:p>
            <a:r>
              <a:rPr lang="zh-CN" altLang="en-US" dirty="0" smtClean="0">
                <a:solidFill>
                  <a:srgbClr val="0070C0"/>
                </a:solidFill>
                <a:latin typeface="SimSun" panose="02010600030101010101" pitchFamily="2" charset="-122"/>
                <a:ea typeface="SimSun" panose="02010600030101010101" pitchFamily="2" charset="-122"/>
              </a:rPr>
              <a:t>可配置项目在软件交付周期中的哪些阶段是重要的？</a:t>
            </a:r>
            <a:endParaRPr lang="en-GB" dirty="0">
              <a:solidFill>
                <a:srgbClr val="0070C0"/>
              </a:solidFill>
              <a:latin typeface="SimSun" panose="02010600030101010101" pitchFamily="2" charset="-122"/>
              <a:ea typeface="SimSun" panose="02010600030101010101" pitchFamily="2" charset="-122"/>
            </a:endParaRPr>
          </a:p>
        </p:txBody>
      </p:sp>
      <p:sp>
        <p:nvSpPr>
          <p:cNvPr id="20" name="Footer Placeholder 4"/>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25" name="Slide Number Placeholder 5"/>
          <p:cNvSpPr>
            <a:spLocks noGrp="1"/>
          </p:cNvSpPr>
          <p:nvPr>
            <p:ph type="sldNum" sz="quarter" idx="12"/>
          </p:nvPr>
        </p:nvSpPr>
        <p:spPr>
          <a:xfrm>
            <a:off x="4297984" y="6575425"/>
            <a:ext cx="548033" cy="128588"/>
          </a:xfrm>
        </p:spPr>
        <p:txBody>
          <a:bodyPr/>
          <a:lstStyle/>
          <a:p>
            <a:r>
              <a:rPr lang="en-US" dirty="0" smtClean="0">
                <a:solidFill>
                  <a:srgbClr val="0070C0"/>
                </a:solidFill>
              </a:rPr>
              <a:t>Page </a:t>
            </a:r>
            <a:fld id="{90CBDC3A-D49F-4631-A8C7-55D59B33E5FA}" type="slidenum">
              <a:rPr lang="en-US" smtClean="0">
                <a:solidFill>
                  <a:srgbClr val="0070C0"/>
                </a:solidFill>
              </a:rPr>
              <a:pPr/>
              <a:t>24</a:t>
            </a:fld>
            <a:endParaRPr lang="en-US" dirty="0">
              <a:solidFill>
                <a:srgbClr val="0070C0"/>
              </a:solidFill>
            </a:endParaRPr>
          </a:p>
        </p:txBody>
      </p:sp>
      <p:sp>
        <p:nvSpPr>
          <p:cNvPr id="26" name="Rectangle 8"/>
          <p:cNvSpPr>
            <a:spLocks noChangeArrowheads="1"/>
          </p:cNvSpPr>
          <p:nvPr/>
        </p:nvSpPr>
        <p:spPr bwMode="auto">
          <a:xfrm>
            <a:off x="468672" y="2535175"/>
            <a:ext cx="4746520" cy="84638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p>
            <a:pPr>
              <a:spcAft>
                <a:spcPts val="600"/>
              </a:spcAft>
              <a:buFontTx/>
              <a:buNone/>
            </a:pPr>
            <a:r>
              <a:rPr lang="en-AU" altLang="en-US" sz="2400" b="1" dirty="0" smtClean="0">
                <a:solidFill>
                  <a:schemeClr val="accent2"/>
                </a:solidFill>
                <a:latin typeface="SimSun" panose="02010600030101010101" pitchFamily="2" charset="-122"/>
                <a:ea typeface="SimSun" panose="02010600030101010101" pitchFamily="2" charset="-122"/>
              </a:rPr>
              <a:t>A</a:t>
            </a:r>
            <a:endParaRPr lang="en-AU" altLang="en-US" sz="2400" b="1" dirty="0">
              <a:solidFill>
                <a:schemeClr val="accent2"/>
              </a:solidFill>
              <a:latin typeface="SimSun" panose="02010600030101010101" pitchFamily="2" charset="-122"/>
              <a:ea typeface="SimSun" panose="02010600030101010101" pitchFamily="2" charset="-122"/>
            </a:endParaRPr>
          </a:p>
          <a:p>
            <a:pPr>
              <a:buFontTx/>
              <a:buNone/>
            </a:pPr>
            <a:r>
              <a:rPr lang="zh-CN" altLang="en-US" sz="2000" b="1" dirty="0" smtClean="0">
                <a:solidFill>
                  <a:srgbClr val="0070C0"/>
                </a:solidFill>
                <a:latin typeface="SimSun" panose="02010600030101010101" pitchFamily="2" charset="-122"/>
                <a:ea typeface="SimSun" panose="02010600030101010101" pitchFamily="2" charset="-122"/>
              </a:rPr>
              <a:t>无处不在</a:t>
            </a:r>
            <a:r>
              <a:rPr lang="en-AU" altLang="en-US" sz="2000" b="1" dirty="0" smtClean="0">
                <a:solidFill>
                  <a:srgbClr val="0070C0"/>
                </a:solidFill>
                <a:latin typeface="SimSun" panose="02010600030101010101" pitchFamily="2" charset="-122"/>
                <a:ea typeface="SimSun" panose="02010600030101010101" pitchFamily="2" charset="-122"/>
              </a:rPr>
              <a:t>!</a:t>
            </a:r>
            <a:endParaRPr lang="en-AU" altLang="en-US" sz="2000" b="1" dirty="0">
              <a:solidFill>
                <a:srgbClr val="0070C0"/>
              </a:solidFill>
              <a:latin typeface="SimSun" panose="02010600030101010101" pitchFamily="2" charset="-122"/>
              <a:ea typeface="SimSun" panose="02010600030101010101" pitchFamily="2" charset="-122"/>
            </a:endParaRPr>
          </a:p>
        </p:txBody>
      </p:sp>
      <p:grpSp>
        <p:nvGrpSpPr>
          <p:cNvPr id="387095" name="Group 387094"/>
          <p:cNvGrpSpPr/>
          <p:nvPr/>
        </p:nvGrpSpPr>
        <p:grpSpPr>
          <a:xfrm>
            <a:off x="3240624" y="3339088"/>
            <a:ext cx="5369976" cy="2596038"/>
            <a:chOff x="3409950" y="2644281"/>
            <a:chExt cx="5369976" cy="2596038"/>
          </a:xfrm>
        </p:grpSpPr>
        <p:grpSp>
          <p:nvGrpSpPr>
            <p:cNvPr id="31" name="Group 30"/>
            <p:cNvGrpSpPr/>
            <p:nvPr/>
          </p:nvGrpSpPr>
          <p:grpSpPr>
            <a:xfrm>
              <a:off x="3409950" y="2644281"/>
              <a:ext cx="1283145" cy="1588581"/>
              <a:chOff x="3252788" y="2929903"/>
              <a:chExt cx="1273797" cy="1577010"/>
            </a:xfrm>
          </p:grpSpPr>
          <p:sp>
            <p:nvSpPr>
              <p:cNvPr id="40" name="Rectangle 39"/>
              <p:cNvSpPr/>
              <p:nvPr/>
            </p:nvSpPr>
            <p:spPr>
              <a:xfrm>
                <a:off x="3455022" y="2929903"/>
                <a:ext cx="1071563" cy="1376363"/>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30" name="Rectangle 29"/>
              <p:cNvSpPr/>
              <p:nvPr/>
            </p:nvSpPr>
            <p:spPr>
              <a:xfrm>
                <a:off x="3346452" y="3019533"/>
                <a:ext cx="1071563" cy="137636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7" name="Freeform 6"/>
              <p:cNvSpPr>
                <a:spLocks/>
              </p:cNvSpPr>
              <p:nvPr/>
            </p:nvSpPr>
            <p:spPr bwMode="auto">
              <a:xfrm>
                <a:off x="3252788" y="3130550"/>
                <a:ext cx="1071563" cy="1376363"/>
              </a:xfrm>
              <a:custGeom>
                <a:avLst/>
                <a:gdLst>
                  <a:gd name="T0" fmla="*/ 463 w 675"/>
                  <a:gd name="T1" fmla="*/ 0 h 867"/>
                  <a:gd name="T2" fmla="*/ 675 w 675"/>
                  <a:gd name="T3" fmla="*/ 212 h 867"/>
                  <a:gd name="T4" fmla="*/ 675 w 675"/>
                  <a:gd name="T5" fmla="*/ 867 h 867"/>
                  <a:gd name="T6" fmla="*/ 644 w 675"/>
                  <a:gd name="T7" fmla="*/ 867 h 867"/>
                  <a:gd name="T8" fmla="*/ 644 w 675"/>
                  <a:gd name="T9" fmla="*/ 867 h 867"/>
                  <a:gd name="T10" fmla="*/ 0 w 675"/>
                  <a:gd name="T11" fmla="*/ 867 h 867"/>
                  <a:gd name="T12" fmla="*/ 0 w 675"/>
                  <a:gd name="T13" fmla="*/ 0 h 867"/>
                  <a:gd name="T14" fmla="*/ 463 w 675"/>
                  <a:gd name="T15" fmla="*/ 0 h 8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5" h="867">
                    <a:moveTo>
                      <a:pt x="463" y="0"/>
                    </a:moveTo>
                    <a:lnTo>
                      <a:pt x="675" y="212"/>
                    </a:lnTo>
                    <a:lnTo>
                      <a:pt x="675" y="867"/>
                    </a:lnTo>
                    <a:lnTo>
                      <a:pt x="644" y="867"/>
                    </a:lnTo>
                    <a:lnTo>
                      <a:pt x="644" y="867"/>
                    </a:lnTo>
                    <a:lnTo>
                      <a:pt x="0" y="867"/>
                    </a:lnTo>
                    <a:lnTo>
                      <a:pt x="0" y="0"/>
                    </a:lnTo>
                    <a:lnTo>
                      <a:pt x="46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21" name="Freeform 7"/>
              <p:cNvSpPr>
                <a:spLocks/>
              </p:cNvSpPr>
              <p:nvPr/>
            </p:nvSpPr>
            <p:spPr bwMode="auto">
              <a:xfrm>
                <a:off x="3328988" y="3206750"/>
                <a:ext cx="919163" cy="1225550"/>
              </a:xfrm>
              <a:custGeom>
                <a:avLst/>
                <a:gdLst>
                  <a:gd name="T0" fmla="*/ 415 w 579"/>
                  <a:gd name="T1" fmla="*/ 164 h 772"/>
                  <a:gd name="T2" fmla="*/ 415 w 579"/>
                  <a:gd name="T3" fmla="*/ 0 h 772"/>
                  <a:gd name="T4" fmla="*/ 0 w 579"/>
                  <a:gd name="T5" fmla="*/ 0 h 772"/>
                  <a:gd name="T6" fmla="*/ 0 w 579"/>
                  <a:gd name="T7" fmla="*/ 772 h 772"/>
                  <a:gd name="T8" fmla="*/ 579 w 579"/>
                  <a:gd name="T9" fmla="*/ 772 h 772"/>
                  <a:gd name="T10" fmla="*/ 579 w 579"/>
                  <a:gd name="T11" fmla="*/ 164 h 772"/>
                  <a:gd name="T12" fmla="*/ 415 w 579"/>
                  <a:gd name="T13" fmla="*/ 164 h 772"/>
                </a:gdLst>
                <a:ahLst/>
                <a:cxnLst>
                  <a:cxn ang="0">
                    <a:pos x="T0" y="T1"/>
                  </a:cxn>
                  <a:cxn ang="0">
                    <a:pos x="T2" y="T3"/>
                  </a:cxn>
                  <a:cxn ang="0">
                    <a:pos x="T4" y="T5"/>
                  </a:cxn>
                  <a:cxn ang="0">
                    <a:pos x="T6" y="T7"/>
                  </a:cxn>
                  <a:cxn ang="0">
                    <a:pos x="T8" y="T9"/>
                  </a:cxn>
                  <a:cxn ang="0">
                    <a:pos x="T10" y="T11"/>
                  </a:cxn>
                  <a:cxn ang="0">
                    <a:pos x="T12" y="T13"/>
                  </a:cxn>
                </a:cxnLst>
                <a:rect l="0" t="0" r="r" b="b"/>
                <a:pathLst>
                  <a:path w="579" h="772">
                    <a:moveTo>
                      <a:pt x="415" y="164"/>
                    </a:moveTo>
                    <a:lnTo>
                      <a:pt x="415" y="0"/>
                    </a:lnTo>
                    <a:lnTo>
                      <a:pt x="0" y="0"/>
                    </a:lnTo>
                    <a:lnTo>
                      <a:pt x="0" y="772"/>
                    </a:lnTo>
                    <a:lnTo>
                      <a:pt x="579" y="772"/>
                    </a:lnTo>
                    <a:lnTo>
                      <a:pt x="579" y="164"/>
                    </a:lnTo>
                    <a:lnTo>
                      <a:pt x="415" y="16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23" name="Freeform 8"/>
              <p:cNvSpPr>
                <a:spLocks/>
              </p:cNvSpPr>
              <p:nvPr/>
            </p:nvSpPr>
            <p:spPr bwMode="auto">
              <a:xfrm>
                <a:off x="3924301" y="4038600"/>
                <a:ext cx="230188" cy="319088"/>
              </a:xfrm>
              <a:custGeom>
                <a:avLst/>
                <a:gdLst>
                  <a:gd name="T0" fmla="*/ 0 w 145"/>
                  <a:gd name="T1" fmla="*/ 0 h 201"/>
                  <a:gd name="T2" fmla="*/ 60 w 145"/>
                  <a:gd name="T3" fmla="*/ 0 h 201"/>
                  <a:gd name="T4" fmla="*/ 145 w 145"/>
                  <a:gd name="T5" fmla="*/ 100 h 201"/>
                  <a:gd name="T6" fmla="*/ 60 w 145"/>
                  <a:gd name="T7" fmla="*/ 201 h 201"/>
                  <a:gd name="T8" fmla="*/ 0 w 145"/>
                  <a:gd name="T9" fmla="*/ 201 h 201"/>
                  <a:gd name="T10" fmla="*/ 85 w 145"/>
                  <a:gd name="T11" fmla="*/ 100 h 201"/>
                  <a:gd name="T12" fmla="*/ 0 w 145"/>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145" h="201">
                    <a:moveTo>
                      <a:pt x="0" y="0"/>
                    </a:moveTo>
                    <a:lnTo>
                      <a:pt x="60" y="0"/>
                    </a:lnTo>
                    <a:lnTo>
                      <a:pt x="145" y="100"/>
                    </a:lnTo>
                    <a:lnTo>
                      <a:pt x="60" y="201"/>
                    </a:lnTo>
                    <a:lnTo>
                      <a:pt x="0" y="201"/>
                    </a:lnTo>
                    <a:lnTo>
                      <a:pt x="85" y="10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24" name="Freeform 9"/>
              <p:cNvSpPr>
                <a:spLocks/>
              </p:cNvSpPr>
              <p:nvPr/>
            </p:nvSpPr>
            <p:spPr bwMode="auto">
              <a:xfrm>
                <a:off x="3676651" y="3956050"/>
                <a:ext cx="230188" cy="441325"/>
              </a:xfrm>
              <a:custGeom>
                <a:avLst/>
                <a:gdLst>
                  <a:gd name="T0" fmla="*/ 95 w 145"/>
                  <a:gd name="T1" fmla="*/ 0 h 278"/>
                  <a:gd name="T2" fmla="*/ 145 w 145"/>
                  <a:gd name="T3" fmla="*/ 0 h 278"/>
                  <a:gd name="T4" fmla="*/ 50 w 145"/>
                  <a:gd name="T5" fmla="*/ 278 h 278"/>
                  <a:gd name="T6" fmla="*/ 0 w 145"/>
                  <a:gd name="T7" fmla="*/ 278 h 278"/>
                  <a:gd name="T8" fmla="*/ 95 w 145"/>
                  <a:gd name="T9" fmla="*/ 0 h 278"/>
                </a:gdLst>
                <a:ahLst/>
                <a:cxnLst>
                  <a:cxn ang="0">
                    <a:pos x="T0" y="T1"/>
                  </a:cxn>
                  <a:cxn ang="0">
                    <a:pos x="T2" y="T3"/>
                  </a:cxn>
                  <a:cxn ang="0">
                    <a:pos x="T4" y="T5"/>
                  </a:cxn>
                  <a:cxn ang="0">
                    <a:pos x="T6" y="T7"/>
                  </a:cxn>
                  <a:cxn ang="0">
                    <a:pos x="T8" y="T9"/>
                  </a:cxn>
                </a:cxnLst>
                <a:rect l="0" t="0" r="r" b="b"/>
                <a:pathLst>
                  <a:path w="145" h="278">
                    <a:moveTo>
                      <a:pt x="95" y="0"/>
                    </a:moveTo>
                    <a:lnTo>
                      <a:pt x="145" y="0"/>
                    </a:lnTo>
                    <a:lnTo>
                      <a:pt x="50" y="278"/>
                    </a:lnTo>
                    <a:lnTo>
                      <a:pt x="0" y="278"/>
                    </a:lnTo>
                    <a:lnTo>
                      <a:pt x="95"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27" name="Freeform 10"/>
              <p:cNvSpPr>
                <a:spLocks/>
              </p:cNvSpPr>
              <p:nvPr/>
            </p:nvSpPr>
            <p:spPr bwMode="auto">
              <a:xfrm>
                <a:off x="3430588" y="4038600"/>
                <a:ext cx="231775" cy="319088"/>
              </a:xfrm>
              <a:custGeom>
                <a:avLst/>
                <a:gdLst>
                  <a:gd name="T0" fmla="*/ 146 w 146"/>
                  <a:gd name="T1" fmla="*/ 0 h 201"/>
                  <a:gd name="T2" fmla="*/ 59 w 146"/>
                  <a:gd name="T3" fmla="*/ 100 h 201"/>
                  <a:gd name="T4" fmla="*/ 146 w 146"/>
                  <a:gd name="T5" fmla="*/ 201 h 201"/>
                  <a:gd name="T6" fmla="*/ 85 w 146"/>
                  <a:gd name="T7" fmla="*/ 201 h 201"/>
                  <a:gd name="T8" fmla="*/ 0 w 146"/>
                  <a:gd name="T9" fmla="*/ 100 h 201"/>
                  <a:gd name="T10" fmla="*/ 85 w 146"/>
                  <a:gd name="T11" fmla="*/ 0 h 201"/>
                  <a:gd name="T12" fmla="*/ 146 w 146"/>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146" h="201">
                    <a:moveTo>
                      <a:pt x="146" y="0"/>
                    </a:moveTo>
                    <a:lnTo>
                      <a:pt x="59" y="100"/>
                    </a:lnTo>
                    <a:lnTo>
                      <a:pt x="146" y="201"/>
                    </a:lnTo>
                    <a:lnTo>
                      <a:pt x="85" y="201"/>
                    </a:lnTo>
                    <a:lnTo>
                      <a:pt x="0" y="100"/>
                    </a:lnTo>
                    <a:lnTo>
                      <a:pt x="85" y="0"/>
                    </a:lnTo>
                    <a:lnTo>
                      <a:pt x="146"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28" name="Rectangle 27"/>
              <p:cNvSpPr/>
              <p:nvPr/>
            </p:nvSpPr>
            <p:spPr>
              <a:xfrm>
                <a:off x="3359151" y="3417980"/>
                <a:ext cx="726625" cy="728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36" name="Rectangle 35"/>
              <p:cNvSpPr/>
              <p:nvPr/>
            </p:nvSpPr>
            <p:spPr>
              <a:xfrm>
                <a:off x="3359151" y="3564030"/>
                <a:ext cx="726625" cy="728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37" name="Rectangle 36"/>
              <p:cNvSpPr/>
              <p:nvPr/>
            </p:nvSpPr>
            <p:spPr>
              <a:xfrm>
                <a:off x="3359152" y="3710080"/>
                <a:ext cx="547688" cy="728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grpSp>
        <p:cxnSp>
          <p:nvCxnSpPr>
            <p:cNvPr id="387073" name="Straight Arrow Connector 387072"/>
            <p:cNvCxnSpPr/>
            <p:nvPr/>
          </p:nvCxnSpPr>
          <p:spPr>
            <a:xfrm>
              <a:off x="4820617" y="3124616"/>
              <a:ext cx="1090516"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8" name="Freeform 15"/>
            <p:cNvSpPr>
              <a:spLocks/>
            </p:cNvSpPr>
            <p:nvPr/>
          </p:nvSpPr>
          <p:spPr bwMode="auto">
            <a:xfrm>
              <a:off x="5993245" y="4080897"/>
              <a:ext cx="989012" cy="770003"/>
            </a:xfrm>
            <a:custGeom>
              <a:avLst/>
              <a:gdLst>
                <a:gd name="T0" fmla="*/ 998 w 998"/>
                <a:gd name="T1" fmla="*/ 244 h 777"/>
                <a:gd name="T2" fmla="*/ 754 w 998"/>
                <a:gd name="T3" fmla="*/ 0 h 777"/>
                <a:gd name="T4" fmla="*/ 1 w 998"/>
                <a:gd name="T5" fmla="*/ 0 h 777"/>
                <a:gd name="T6" fmla="*/ 1 w 998"/>
                <a:gd name="T7" fmla="*/ 34 h 777"/>
                <a:gd name="T8" fmla="*/ 0 w 998"/>
                <a:gd name="T9" fmla="*/ 34 h 777"/>
                <a:gd name="T10" fmla="*/ 0 w 998"/>
                <a:gd name="T11" fmla="*/ 777 h 777"/>
                <a:gd name="T12" fmla="*/ 998 w 998"/>
                <a:gd name="T13" fmla="*/ 777 h 777"/>
                <a:gd name="T14" fmla="*/ 998 w 998"/>
                <a:gd name="T15" fmla="*/ 244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8" h="777">
                  <a:moveTo>
                    <a:pt x="998" y="244"/>
                  </a:moveTo>
                  <a:lnTo>
                    <a:pt x="754" y="0"/>
                  </a:lnTo>
                  <a:lnTo>
                    <a:pt x="1" y="0"/>
                  </a:lnTo>
                  <a:lnTo>
                    <a:pt x="1" y="34"/>
                  </a:lnTo>
                  <a:lnTo>
                    <a:pt x="0" y="34"/>
                  </a:lnTo>
                  <a:lnTo>
                    <a:pt x="0" y="777"/>
                  </a:lnTo>
                  <a:lnTo>
                    <a:pt x="998" y="777"/>
                  </a:lnTo>
                  <a:lnTo>
                    <a:pt x="998" y="24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grpSp>
          <p:nvGrpSpPr>
            <p:cNvPr id="387088" name="Group 387087"/>
            <p:cNvGrpSpPr/>
            <p:nvPr/>
          </p:nvGrpSpPr>
          <p:grpSpPr>
            <a:xfrm>
              <a:off x="5993245" y="2739615"/>
              <a:ext cx="989012" cy="770003"/>
              <a:chOff x="5307445" y="3088929"/>
              <a:chExt cx="989012" cy="770003"/>
            </a:xfrm>
          </p:grpSpPr>
          <p:sp>
            <p:nvSpPr>
              <p:cNvPr id="387081" name="Freeform 15"/>
              <p:cNvSpPr>
                <a:spLocks/>
              </p:cNvSpPr>
              <p:nvPr/>
            </p:nvSpPr>
            <p:spPr bwMode="auto">
              <a:xfrm>
                <a:off x="5307445" y="3088929"/>
                <a:ext cx="989012" cy="770003"/>
              </a:xfrm>
              <a:custGeom>
                <a:avLst/>
                <a:gdLst>
                  <a:gd name="T0" fmla="*/ 998 w 998"/>
                  <a:gd name="T1" fmla="*/ 244 h 777"/>
                  <a:gd name="T2" fmla="*/ 754 w 998"/>
                  <a:gd name="T3" fmla="*/ 0 h 777"/>
                  <a:gd name="T4" fmla="*/ 1 w 998"/>
                  <a:gd name="T5" fmla="*/ 0 h 777"/>
                  <a:gd name="T6" fmla="*/ 1 w 998"/>
                  <a:gd name="T7" fmla="*/ 34 h 777"/>
                  <a:gd name="T8" fmla="*/ 0 w 998"/>
                  <a:gd name="T9" fmla="*/ 34 h 777"/>
                  <a:gd name="T10" fmla="*/ 0 w 998"/>
                  <a:gd name="T11" fmla="*/ 777 h 777"/>
                  <a:gd name="T12" fmla="*/ 998 w 998"/>
                  <a:gd name="T13" fmla="*/ 777 h 777"/>
                  <a:gd name="T14" fmla="*/ 998 w 998"/>
                  <a:gd name="T15" fmla="*/ 244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8" h="777">
                    <a:moveTo>
                      <a:pt x="998" y="244"/>
                    </a:moveTo>
                    <a:lnTo>
                      <a:pt x="754" y="0"/>
                    </a:lnTo>
                    <a:lnTo>
                      <a:pt x="1" y="0"/>
                    </a:lnTo>
                    <a:lnTo>
                      <a:pt x="1" y="34"/>
                    </a:lnTo>
                    <a:lnTo>
                      <a:pt x="0" y="34"/>
                    </a:lnTo>
                    <a:lnTo>
                      <a:pt x="0" y="777"/>
                    </a:lnTo>
                    <a:lnTo>
                      <a:pt x="998" y="777"/>
                    </a:lnTo>
                    <a:lnTo>
                      <a:pt x="998" y="24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grpSp>
            <p:nvGrpSpPr>
              <p:cNvPr id="387087" name="Group 387086"/>
              <p:cNvGrpSpPr/>
              <p:nvPr/>
            </p:nvGrpSpPr>
            <p:grpSpPr>
              <a:xfrm>
                <a:off x="5470294" y="3223600"/>
                <a:ext cx="617594" cy="531140"/>
                <a:chOff x="596900" y="4240213"/>
                <a:chExt cx="1814513" cy="1560513"/>
              </a:xfrm>
              <a:solidFill>
                <a:schemeClr val="accent4"/>
              </a:solidFill>
            </p:grpSpPr>
            <p:sp>
              <p:nvSpPr>
                <p:cNvPr id="387084" name="Freeform 20"/>
                <p:cNvSpPr>
                  <a:spLocks/>
                </p:cNvSpPr>
                <p:nvPr/>
              </p:nvSpPr>
              <p:spPr bwMode="auto">
                <a:xfrm>
                  <a:off x="596900" y="4240213"/>
                  <a:ext cx="930275" cy="906463"/>
                </a:xfrm>
                <a:custGeom>
                  <a:avLst/>
                  <a:gdLst>
                    <a:gd name="T0" fmla="*/ 1213 w 1639"/>
                    <a:gd name="T1" fmla="*/ 844 h 1599"/>
                    <a:gd name="T2" fmla="*/ 1438 w 1639"/>
                    <a:gd name="T3" fmla="*/ 618 h 1599"/>
                    <a:gd name="T4" fmla="*/ 1302 w 1639"/>
                    <a:gd name="T5" fmla="*/ 482 h 1599"/>
                    <a:gd name="T6" fmla="*/ 1639 w 1639"/>
                    <a:gd name="T7" fmla="*/ 145 h 1599"/>
                    <a:gd name="T8" fmla="*/ 1605 w 1639"/>
                    <a:gd name="T9" fmla="*/ 111 h 1599"/>
                    <a:gd name="T10" fmla="*/ 1032 w 1639"/>
                    <a:gd name="T11" fmla="*/ 212 h 1599"/>
                    <a:gd name="T12" fmla="*/ 981 w 1639"/>
                    <a:gd name="T13" fmla="*/ 160 h 1599"/>
                    <a:gd name="T14" fmla="*/ 279 w 1639"/>
                    <a:gd name="T15" fmla="*/ 862 h 1599"/>
                    <a:gd name="T16" fmla="*/ 349 w 1639"/>
                    <a:gd name="T17" fmla="*/ 932 h 1599"/>
                    <a:gd name="T18" fmla="*/ 295 w 1639"/>
                    <a:gd name="T19" fmla="*/ 985 h 1599"/>
                    <a:gd name="T20" fmla="*/ 284 w 1639"/>
                    <a:gd name="T21" fmla="*/ 975 h 1599"/>
                    <a:gd name="T22" fmla="*/ 161 w 1639"/>
                    <a:gd name="T23" fmla="*/ 980 h 1599"/>
                    <a:gd name="T24" fmla="*/ 38 w 1639"/>
                    <a:gd name="T25" fmla="*/ 1103 h 1599"/>
                    <a:gd name="T26" fmla="*/ 32 w 1639"/>
                    <a:gd name="T27" fmla="*/ 1227 h 1599"/>
                    <a:gd name="T28" fmla="*/ 372 w 1639"/>
                    <a:gd name="T29" fmla="*/ 1567 h 1599"/>
                    <a:gd name="T30" fmla="*/ 495 w 1639"/>
                    <a:gd name="T31" fmla="*/ 1561 h 1599"/>
                    <a:gd name="T32" fmla="*/ 619 w 1639"/>
                    <a:gd name="T33" fmla="*/ 1438 h 1599"/>
                    <a:gd name="T34" fmla="*/ 624 w 1639"/>
                    <a:gd name="T35" fmla="*/ 1315 h 1599"/>
                    <a:gd name="T36" fmla="*/ 613 w 1639"/>
                    <a:gd name="T37" fmla="*/ 1304 h 1599"/>
                    <a:gd name="T38" fmla="*/ 667 w 1639"/>
                    <a:gd name="T39" fmla="*/ 1250 h 1599"/>
                    <a:gd name="T40" fmla="*/ 737 w 1639"/>
                    <a:gd name="T41" fmla="*/ 1320 h 1599"/>
                    <a:gd name="T42" fmla="*/ 934 w 1639"/>
                    <a:gd name="T43" fmla="*/ 1123 h 1599"/>
                    <a:gd name="T44" fmla="*/ 1271 w 1639"/>
                    <a:gd name="T45" fmla="*/ 1460 h 1599"/>
                    <a:gd name="T46" fmla="*/ 1550 w 1639"/>
                    <a:gd name="T47" fmla="*/ 1181 h 1599"/>
                    <a:gd name="T48" fmla="*/ 1213 w 1639"/>
                    <a:gd name="T49" fmla="*/ 844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9" h="1599">
                      <a:moveTo>
                        <a:pt x="1213" y="844"/>
                      </a:moveTo>
                      <a:cubicBezTo>
                        <a:pt x="1438" y="618"/>
                        <a:pt x="1438" y="618"/>
                        <a:pt x="1438" y="618"/>
                      </a:cubicBezTo>
                      <a:cubicBezTo>
                        <a:pt x="1302" y="482"/>
                        <a:pt x="1302" y="482"/>
                        <a:pt x="1302" y="482"/>
                      </a:cubicBezTo>
                      <a:cubicBezTo>
                        <a:pt x="1639" y="145"/>
                        <a:pt x="1639" y="145"/>
                        <a:pt x="1639" y="145"/>
                      </a:cubicBezTo>
                      <a:cubicBezTo>
                        <a:pt x="1605" y="111"/>
                        <a:pt x="1605" y="111"/>
                        <a:pt x="1605" y="111"/>
                      </a:cubicBezTo>
                      <a:cubicBezTo>
                        <a:pt x="1494" y="0"/>
                        <a:pt x="1282" y="38"/>
                        <a:pt x="1032" y="212"/>
                      </a:cubicBezTo>
                      <a:cubicBezTo>
                        <a:pt x="981" y="160"/>
                        <a:pt x="981" y="160"/>
                        <a:pt x="981" y="160"/>
                      </a:cubicBezTo>
                      <a:cubicBezTo>
                        <a:pt x="279" y="862"/>
                        <a:pt x="279" y="862"/>
                        <a:pt x="279" y="862"/>
                      </a:cubicBezTo>
                      <a:cubicBezTo>
                        <a:pt x="349" y="932"/>
                        <a:pt x="349" y="932"/>
                        <a:pt x="349" y="932"/>
                      </a:cubicBezTo>
                      <a:cubicBezTo>
                        <a:pt x="295" y="985"/>
                        <a:pt x="295" y="985"/>
                        <a:pt x="295" y="985"/>
                      </a:cubicBezTo>
                      <a:cubicBezTo>
                        <a:pt x="284" y="975"/>
                        <a:pt x="284" y="975"/>
                        <a:pt x="284" y="975"/>
                      </a:cubicBezTo>
                      <a:cubicBezTo>
                        <a:pt x="252" y="942"/>
                        <a:pt x="197" y="945"/>
                        <a:pt x="161" y="980"/>
                      </a:cubicBezTo>
                      <a:cubicBezTo>
                        <a:pt x="38" y="1103"/>
                        <a:pt x="38" y="1103"/>
                        <a:pt x="38" y="1103"/>
                      </a:cubicBezTo>
                      <a:cubicBezTo>
                        <a:pt x="2" y="1139"/>
                        <a:pt x="0" y="1194"/>
                        <a:pt x="32" y="1227"/>
                      </a:cubicBezTo>
                      <a:cubicBezTo>
                        <a:pt x="372" y="1567"/>
                        <a:pt x="372" y="1567"/>
                        <a:pt x="372" y="1567"/>
                      </a:cubicBezTo>
                      <a:cubicBezTo>
                        <a:pt x="405" y="1599"/>
                        <a:pt x="460" y="1597"/>
                        <a:pt x="495" y="1561"/>
                      </a:cubicBezTo>
                      <a:cubicBezTo>
                        <a:pt x="619" y="1438"/>
                        <a:pt x="619" y="1438"/>
                        <a:pt x="619" y="1438"/>
                      </a:cubicBezTo>
                      <a:cubicBezTo>
                        <a:pt x="654" y="1402"/>
                        <a:pt x="657" y="1347"/>
                        <a:pt x="624" y="1315"/>
                      </a:cubicBezTo>
                      <a:cubicBezTo>
                        <a:pt x="613" y="1304"/>
                        <a:pt x="613" y="1304"/>
                        <a:pt x="613" y="1304"/>
                      </a:cubicBezTo>
                      <a:cubicBezTo>
                        <a:pt x="667" y="1250"/>
                        <a:pt x="667" y="1250"/>
                        <a:pt x="667" y="1250"/>
                      </a:cubicBezTo>
                      <a:cubicBezTo>
                        <a:pt x="737" y="1320"/>
                        <a:pt x="737" y="1320"/>
                        <a:pt x="737" y="1320"/>
                      </a:cubicBezTo>
                      <a:cubicBezTo>
                        <a:pt x="934" y="1123"/>
                        <a:pt x="934" y="1123"/>
                        <a:pt x="934" y="1123"/>
                      </a:cubicBezTo>
                      <a:cubicBezTo>
                        <a:pt x="1271" y="1460"/>
                        <a:pt x="1271" y="1460"/>
                        <a:pt x="1271" y="1460"/>
                      </a:cubicBezTo>
                      <a:cubicBezTo>
                        <a:pt x="1550" y="1181"/>
                        <a:pt x="1550" y="1181"/>
                        <a:pt x="1550" y="1181"/>
                      </a:cubicBezTo>
                      <a:lnTo>
                        <a:pt x="1213" y="8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387085" name="Freeform 21"/>
                <p:cNvSpPr>
                  <a:spLocks/>
                </p:cNvSpPr>
                <p:nvPr/>
              </p:nvSpPr>
              <p:spPr bwMode="auto">
                <a:xfrm>
                  <a:off x="1554163" y="5148263"/>
                  <a:ext cx="655638" cy="652463"/>
                </a:xfrm>
                <a:custGeom>
                  <a:avLst/>
                  <a:gdLst>
                    <a:gd name="T0" fmla="*/ 0 w 1155"/>
                    <a:gd name="T1" fmla="*/ 409 h 1152"/>
                    <a:gd name="T2" fmla="*/ 684 w 1155"/>
                    <a:gd name="T3" fmla="*/ 1133 h 1152"/>
                    <a:gd name="T4" fmla="*/ 764 w 1155"/>
                    <a:gd name="T5" fmla="*/ 1119 h 1152"/>
                    <a:gd name="T6" fmla="*/ 1123 w 1155"/>
                    <a:gd name="T7" fmla="*/ 761 h 1152"/>
                    <a:gd name="T8" fmla="*/ 1136 w 1155"/>
                    <a:gd name="T9" fmla="*/ 680 h 1152"/>
                    <a:gd name="T10" fmla="*/ 410 w 1155"/>
                    <a:gd name="T11" fmla="*/ 0 h 1152"/>
                    <a:gd name="T12" fmla="*/ 360 w 1155"/>
                    <a:gd name="T13" fmla="*/ 50 h 1152"/>
                    <a:gd name="T14" fmla="*/ 0 w 1155"/>
                    <a:gd name="T15" fmla="*/ 409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5" h="1152">
                      <a:moveTo>
                        <a:pt x="0" y="409"/>
                      </a:moveTo>
                      <a:cubicBezTo>
                        <a:pt x="684" y="1133"/>
                        <a:pt x="684" y="1133"/>
                        <a:pt x="684" y="1133"/>
                      </a:cubicBezTo>
                      <a:cubicBezTo>
                        <a:pt x="701" y="1152"/>
                        <a:pt x="738" y="1146"/>
                        <a:pt x="764" y="1119"/>
                      </a:cubicBezTo>
                      <a:cubicBezTo>
                        <a:pt x="1123" y="761"/>
                        <a:pt x="1123" y="761"/>
                        <a:pt x="1123" y="761"/>
                      </a:cubicBezTo>
                      <a:cubicBezTo>
                        <a:pt x="1149" y="734"/>
                        <a:pt x="1155" y="698"/>
                        <a:pt x="1136" y="680"/>
                      </a:cubicBezTo>
                      <a:cubicBezTo>
                        <a:pt x="410" y="0"/>
                        <a:pt x="410" y="0"/>
                        <a:pt x="410" y="0"/>
                      </a:cubicBezTo>
                      <a:cubicBezTo>
                        <a:pt x="360" y="50"/>
                        <a:pt x="360" y="50"/>
                        <a:pt x="360" y="50"/>
                      </a:cubicBezTo>
                      <a:lnTo>
                        <a:pt x="0" y="4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387086" name="Freeform 22"/>
                <p:cNvSpPr>
                  <a:spLocks noEditPoints="1"/>
                </p:cNvSpPr>
                <p:nvPr/>
              </p:nvSpPr>
              <p:spPr bwMode="auto">
                <a:xfrm>
                  <a:off x="855663" y="4273551"/>
                  <a:ext cx="1555750" cy="1517650"/>
                </a:xfrm>
                <a:custGeom>
                  <a:avLst/>
                  <a:gdLst>
                    <a:gd name="T0" fmla="*/ 2203 w 2744"/>
                    <a:gd name="T1" fmla="*/ 817 h 2678"/>
                    <a:gd name="T2" fmla="*/ 1883 w 2744"/>
                    <a:gd name="T3" fmla="*/ 498 h 2678"/>
                    <a:gd name="T4" fmla="*/ 2303 w 2744"/>
                    <a:gd name="T5" fmla="*/ 78 h 2678"/>
                    <a:gd name="T6" fmla="*/ 2043 w 2744"/>
                    <a:gd name="T7" fmla="*/ 0 h 2678"/>
                    <a:gd name="T8" fmla="*/ 1711 w 2744"/>
                    <a:gd name="T9" fmla="*/ 138 h 2678"/>
                    <a:gd name="T10" fmla="*/ 1523 w 2744"/>
                    <a:gd name="T11" fmla="*/ 326 h 2678"/>
                    <a:gd name="T12" fmla="*/ 1464 w 2744"/>
                    <a:gd name="T13" fmla="*/ 918 h 2678"/>
                    <a:gd name="T14" fmla="*/ 1190 w 2744"/>
                    <a:gd name="T15" fmla="*/ 1192 h 2678"/>
                    <a:gd name="T16" fmla="*/ 89 w 2744"/>
                    <a:gd name="T17" fmla="*/ 2293 h 2678"/>
                    <a:gd name="T18" fmla="*/ 89 w 2744"/>
                    <a:gd name="T19" fmla="*/ 2612 h 2678"/>
                    <a:gd name="T20" fmla="*/ 248 w 2744"/>
                    <a:gd name="T21" fmla="*/ 2678 h 2678"/>
                    <a:gd name="T22" fmla="*/ 408 w 2744"/>
                    <a:gd name="T23" fmla="*/ 2612 h 2678"/>
                    <a:gd name="T24" fmla="*/ 1509 w 2744"/>
                    <a:gd name="T25" fmla="*/ 1511 h 2678"/>
                    <a:gd name="T26" fmla="*/ 1783 w 2744"/>
                    <a:gd name="T27" fmla="*/ 1237 h 2678"/>
                    <a:gd name="T28" fmla="*/ 2043 w 2744"/>
                    <a:gd name="T29" fmla="*/ 1315 h 2678"/>
                    <a:gd name="T30" fmla="*/ 2375 w 2744"/>
                    <a:gd name="T31" fmla="*/ 1178 h 2678"/>
                    <a:gd name="T32" fmla="*/ 2563 w 2744"/>
                    <a:gd name="T33" fmla="*/ 990 h 2678"/>
                    <a:gd name="T34" fmla="*/ 2622 w 2744"/>
                    <a:gd name="T35" fmla="*/ 398 h 2678"/>
                    <a:gd name="T36" fmla="*/ 2203 w 2744"/>
                    <a:gd name="T37" fmla="*/ 817 h 2678"/>
                    <a:gd name="T38" fmla="*/ 328 w 2744"/>
                    <a:gd name="T39" fmla="*/ 2532 h 2678"/>
                    <a:gd name="T40" fmla="*/ 248 w 2744"/>
                    <a:gd name="T41" fmla="*/ 2565 h 2678"/>
                    <a:gd name="T42" fmla="*/ 169 w 2744"/>
                    <a:gd name="T43" fmla="*/ 2532 h 2678"/>
                    <a:gd name="T44" fmla="*/ 169 w 2744"/>
                    <a:gd name="T45" fmla="*/ 2373 h 2678"/>
                    <a:gd name="T46" fmla="*/ 248 w 2744"/>
                    <a:gd name="T47" fmla="*/ 2339 h 2678"/>
                    <a:gd name="T48" fmla="*/ 328 w 2744"/>
                    <a:gd name="T49" fmla="*/ 2373 h 2678"/>
                    <a:gd name="T50" fmla="*/ 328 w 2744"/>
                    <a:gd name="T51" fmla="*/ 2532 h 2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44" h="2678">
                      <a:moveTo>
                        <a:pt x="2203" y="817"/>
                      </a:moveTo>
                      <a:cubicBezTo>
                        <a:pt x="1883" y="498"/>
                        <a:pt x="1883" y="498"/>
                        <a:pt x="1883" y="498"/>
                      </a:cubicBezTo>
                      <a:cubicBezTo>
                        <a:pt x="2303" y="78"/>
                        <a:pt x="2303" y="78"/>
                        <a:pt x="2303" y="78"/>
                      </a:cubicBezTo>
                      <a:cubicBezTo>
                        <a:pt x="2224" y="26"/>
                        <a:pt x="2134" y="0"/>
                        <a:pt x="2043" y="0"/>
                      </a:cubicBezTo>
                      <a:cubicBezTo>
                        <a:pt x="1923" y="0"/>
                        <a:pt x="1803" y="46"/>
                        <a:pt x="1711" y="138"/>
                      </a:cubicBezTo>
                      <a:cubicBezTo>
                        <a:pt x="1523" y="326"/>
                        <a:pt x="1523" y="326"/>
                        <a:pt x="1523" y="326"/>
                      </a:cubicBezTo>
                      <a:cubicBezTo>
                        <a:pt x="1362" y="487"/>
                        <a:pt x="1342" y="735"/>
                        <a:pt x="1464" y="918"/>
                      </a:cubicBezTo>
                      <a:cubicBezTo>
                        <a:pt x="1190" y="1192"/>
                        <a:pt x="1190" y="1192"/>
                        <a:pt x="1190" y="1192"/>
                      </a:cubicBezTo>
                      <a:cubicBezTo>
                        <a:pt x="89" y="2293"/>
                        <a:pt x="89" y="2293"/>
                        <a:pt x="89" y="2293"/>
                      </a:cubicBezTo>
                      <a:cubicBezTo>
                        <a:pt x="0" y="2381"/>
                        <a:pt x="0" y="2524"/>
                        <a:pt x="89" y="2612"/>
                      </a:cubicBezTo>
                      <a:cubicBezTo>
                        <a:pt x="133" y="2656"/>
                        <a:pt x="191" y="2678"/>
                        <a:pt x="248" y="2678"/>
                      </a:cubicBezTo>
                      <a:cubicBezTo>
                        <a:pt x="306" y="2678"/>
                        <a:pt x="364" y="2656"/>
                        <a:pt x="408" y="2612"/>
                      </a:cubicBezTo>
                      <a:cubicBezTo>
                        <a:pt x="1509" y="1511"/>
                        <a:pt x="1509" y="1511"/>
                        <a:pt x="1509" y="1511"/>
                      </a:cubicBezTo>
                      <a:cubicBezTo>
                        <a:pt x="1783" y="1237"/>
                        <a:pt x="1783" y="1237"/>
                        <a:pt x="1783" y="1237"/>
                      </a:cubicBezTo>
                      <a:cubicBezTo>
                        <a:pt x="1862" y="1289"/>
                        <a:pt x="1952" y="1315"/>
                        <a:pt x="2043" y="1315"/>
                      </a:cubicBezTo>
                      <a:cubicBezTo>
                        <a:pt x="2163" y="1315"/>
                        <a:pt x="2283" y="1270"/>
                        <a:pt x="2375" y="1178"/>
                      </a:cubicBezTo>
                      <a:cubicBezTo>
                        <a:pt x="2563" y="990"/>
                        <a:pt x="2563" y="990"/>
                        <a:pt x="2563" y="990"/>
                      </a:cubicBezTo>
                      <a:cubicBezTo>
                        <a:pt x="2724" y="829"/>
                        <a:pt x="2744" y="580"/>
                        <a:pt x="2622" y="398"/>
                      </a:cubicBezTo>
                      <a:lnTo>
                        <a:pt x="2203" y="817"/>
                      </a:lnTo>
                      <a:close/>
                      <a:moveTo>
                        <a:pt x="328" y="2532"/>
                      </a:moveTo>
                      <a:cubicBezTo>
                        <a:pt x="306" y="2554"/>
                        <a:pt x="277" y="2565"/>
                        <a:pt x="248" y="2565"/>
                      </a:cubicBezTo>
                      <a:cubicBezTo>
                        <a:pt x="220" y="2565"/>
                        <a:pt x="191" y="2554"/>
                        <a:pt x="169" y="2532"/>
                      </a:cubicBezTo>
                      <a:cubicBezTo>
                        <a:pt x="124" y="2488"/>
                        <a:pt x="124" y="2417"/>
                        <a:pt x="169" y="2373"/>
                      </a:cubicBezTo>
                      <a:cubicBezTo>
                        <a:pt x="191" y="2350"/>
                        <a:pt x="220" y="2339"/>
                        <a:pt x="248" y="2339"/>
                      </a:cubicBezTo>
                      <a:cubicBezTo>
                        <a:pt x="277" y="2339"/>
                        <a:pt x="306" y="2350"/>
                        <a:pt x="328" y="2373"/>
                      </a:cubicBezTo>
                      <a:cubicBezTo>
                        <a:pt x="372" y="2417"/>
                        <a:pt x="372" y="2488"/>
                        <a:pt x="328" y="253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grpSp>
        </p:grpSp>
        <p:grpSp>
          <p:nvGrpSpPr>
            <p:cNvPr id="387089" name="Group 387088"/>
            <p:cNvGrpSpPr/>
            <p:nvPr/>
          </p:nvGrpSpPr>
          <p:grpSpPr>
            <a:xfrm>
              <a:off x="6122609" y="4232300"/>
              <a:ext cx="672884" cy="545650"/>
              <a:chOff x="5251039" y="4246599"/>
              <a:chExt cx="1075948" cy="872503"/>
            </a:xfrm>
          </p:grpSpPr>
          <p:sp>
            <p:nvSpPr>
              <p:cNvPr id="57" name="Freeform 13"/>
              <p:cNvSpPr>
                <a:spLocks noEditPoints="1"/>
              </p:cNvSpPr>
              <p:nvPr/>
            </p:nvSpPr>
            <p:spPr bwMode="auto">
              <a:xfrm>
                <a:off x="5251039" y="4447946"/>
                <a:ext cx="669059" cy="671156"/>
              </a:xfrm>
              <a:custGeom>
                <a:avLst/>
                <a:gdLst>
                  <a:gd name="T0" fmla="*/ 285 w 285"/>
                  <a:gd name="T1" fmla="*/ 167 h 286"/>
                  <a:gd name="T2" fmla="*/ 285 w 285"/>
                  <a:gd name="T3" fmla="*/ 120 h 286"/>
                  <a:gd name="T4" fmla="*/ 256 w 285"/>
                  <a:gd name="T5" fmla="*/ 113 h 286"/>
                  <a:gd name="T6" fmla="*/ 244 w 285"/>
                  <a:gd name="T7" fmla="*/ 85 h 286"/>
                  <a:gd name="T8" fmla="*/ 260 w 285"/>
                  <a:gd name="T9" fmla="*/ 59 h 286"/>
                  <a:gd name="T10" fmla="*/ 227 w 285"/>
                  <a:gd name="T11" fmla="*/ 26 h 286"/>
                  <a:gd name="T12" fmla="*/ 201 w 285"/>
                  <a:gd name="T13" fmla="*/ 42 h 286"/>
                  <a:gd name="T14" fmla="*/ 173 w 285"/>
                  <a:gd name="T15" fmla="*/ 30 h 286"/>
                  <a:gd name="T16" fmla="*/ 166 w 285"/>
                  <a:gd name="T17" fmla="*/ 0 h 286"/>
                  <a:gd name="T18" fmla="*/ 119 w 285"/>
                  <a:gd name="T19" fmla="*/ 0 h 286"/>
                  <a:gd name="T20" fmla="*/ 112 w 285"/>
                  <a:gd name="T21" fmla="*/ 30 h 286"/>
                  <a:gd name="T22" fmla="*/ 84 w 285"/>
                  <a:gd name="T23" fmla="*/ 42 h 286"/>
                  <a:gd name="T24" fmla="*/ 58 w 285"/>
                  <a:gd name="T25" fmla="*/ 26 h 286"/>
                  <a:gd name="T26" fmla="*/ 25 w 285"/>
                  <a:gd name="T27" fmla="*/ 59 h 286"/>
                  <a:gd name="T28" fmla="*/ 41 w 285"/>
                  <a:gd name="T29" fmla="*/ 85 h 286"/>
                  <a:gd name="T30" fmla="*/ 30 w 285"/>
                  <a:gd name="T31" fmla="*/ 113 h 286"/>
                  <a:gd name="T32" fmla="*/ 0 w 285"/>
                  <a:gd name="T33" fmla="*/ 120 h 286"/>
                  <a:gd name="T34" fmla="*/ 0 w 285"/>
                  <a:gd name="T35" fmla="*/ 167 h 286"/>
                  <a:gd name="T36" fmla="*/ 30 w 285"/>
                  <a:gd name="T37" fmla="*/ 174 h 286"/>
                  <a:gd name="T38" fmla="*/ 41 w 285"/>
                  <a:gd name="T39" fmla="*/ 202 h 286"/>
                  <a:gd name="T40" fmla="*/ 25 w 285"/>
                  <a:gd name="T41" fmla="*/ 228 h 286"/>
                  <a:gd name="T42" fmla="*/ 58 w 285"/>
                  <a:gd name="T43" fmla="*/ 261 h 286"/>
                  <a:gd name="T44" fmla="*/ 84 w 285"/>
                  <a:gd name="T45" fmla="*/ 245 h 286"/>
                  <a:gd name="T46" fmla="*/ 112 w 285"/>
                  <a:gd name="T47" fmla="*/ 256 h 286"/>
                  <a:gd name="T48" fmla="*/ 119 w 285"/>
                  <a:gd name="T49" fmla="*/ 286 h 286"/>
                  <a:gd name="T50" fmla="*/ 166 w 285"/>
                  <a:gd name="T51" fmla="*/ 286 h 286"/>
                  <a:gd name="T52" fmla="*/ 173 w 285"/>
                  <a:gd name="T53" fmla="*/ 256 h 286"/>
                  <a:gd name="T54" fmla="*/ 201 w 285"/>
                  <a:gd name="T55" fmla="*/ 245 h 286"/>
                  <a:gd name="T56" fmla="*/ 227 w 285"/>
                  <a:gd name="T57" fmla="*/ 261 h 286"/>
                  <a:gd name="T58" fmla="*/ 260 w 285"/>
                  <a:gd name="T59" fmla="*/ 228 h 286"/>
                  <a:gd name="T60" fmla="*/ 244 w 285"/>
                  <a:gd name="T61" fmla="*/ 202 h 286"/>
                  <a:gd name="T62" fmla="*/ 256 w 285"/>
                  <a:gd name="T63" fmla="*/ 174 h 286"/>
                  <a:gd name="T64" fmla="*/ 285 w 285"/>
                  <a:gd name="T65" fmla="*/ 167 h 286"/>
                  <a:gd name="T66" fmla="*/ 143 w 285"/>
                  <a:gd name="T67" fmla="*/ 223 h 286"/>
                  <a:gd name="T68" fmla="*/ 63 w 285"/>
                  <a:gd name="T69" fmla="*/ 143 h 286"/>
                  <a:gd name="T70" fmla="*/ 143 w 285"/>
                  <a:gd name="T71" fmla="*/ 63 h 286"/>
                  <a:gd name="T72" fmla="*/ 223 w 285"/>
                  <a:gd name="T73" fmla="*/ 143 h 286"/>
                  <a:gd name="T74" fmla="*/ 143 w 285"/>
                  <a:gd name="T75" fmla="*/ 2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5" h="286">
                    <a:moveTo>
                      <a:pt x="285" y="167"/>
                    </a:moveTo>
                    <a:cubicBezTo>
                      <a:pt x="285" y="120"/>
                      <a:pt x="285" y="120"/>
                      <a:pt x="285" y="120"/>
                    </a:cubicBezTo>
                    <a:cubicBezTo>
                      <a:pt x="256" y="113"/>
                      <a:pt x="256" y="113"/>
                      <a:pt x="256" y="113"/>
                    </a:cubicBezTo>
                    <a:cubicBezTo>
                      <a:pt x="253" y="103"/>
                      <a:pt x="249" y="94"/>
                      <a:pt x="244" y="85"/>
                    </a:cubicBezTo>
                    <a:cubicBezTo>
                      <a:pt x="260" y="59"/>
                      <a:pt x="260" y="59"/>
                      <a:pt x="260" y="59"/>
                    </a:cubicBezTo>
                    <a:cubicBezTo>
                      <a:pt x="227" y="26"/>
                      <a:pt x="227" y="26"/>
                      <a:pt x="227" y="26"/>
                    </a:cubicBezTo>
                    <a:cubicBezTo>
                      <a:pt x="201" y="42"/>
                      <a:pt x="201" y="42"/>
                      <a:pt x="201" y="42"/>
                    </a:cubicBezTo>
                    <a:cubicBezTo>
                      <a:pt x="192" y="37"/>
                      <a:pt x="183" y="33"/>
                      <a:pt x="173" y="30"/>
                    </a:cubicBezTo>
                    <a:cubicBezTo>
                      <a:pt x="166" y="0"/>
                      <a:pt x="166" y="0"/>
                      <a:pt x="166" y="0"/>
                    </a:cubicBezTo>
                    <a:cubicBezTo>
                      <a:pt x="119" y="0"/>
                      <a:pt x="119" y="0"/>
                      <a:pt x="119" y="0"/>
                    </a:cubicBezTo>
                    <a:cubicBezTo>
                      <a:pt x="112" y="30"/>
                      <a:pt x="112" y="30"/>
                      <a:pt x="112" y="30"/>
                    </a:cubicBezTo>
                    <a:cubicBezTo>
                      <a:pt x="102" y="33"/>
                      <a:pt x="93" y="37"/>
                      <a:pt x="84" y="42"/>
                    </a:cubicBezTo>
                    <a:cubicBezTo>
                      <a:pt x="58" y="26"/>
                      <a:pt x="58" y="26"/>
                      <a:pt x="58" y="26"/>
                    </a:cubicBezTo>
                    <a:cubicBezTo>
                      <a:pt x="25" y="59"/>
                      <a:pt x="25" y="59"/>
                      <a:pt x="25" y="59"/>
                    </a:cubicBezTo>
                    <a:cubicBezTo>
                      <a:pt x="41" y="85"/>
                      <a:pt x="41" y="85"/>
                      <a:pt x="41" y="85"/>
                    </a:cubicBezTo>
                    <a:cubicBezTo>
                      <a:pt x="36" y="94"/>
                      <a:pt x="32" y="103"/>
                      <a:pt x="30" y="113"/>
                    </a:cubicBezTo>
                    <a:cubicBezTo>
                      <a:pt x="0" y="120"/>
                      <a:pt x="0" y="120"/>
                      <a:pt x="0" y="120"/>
                    </a:cubicBezTo>
                    <a:cubicBezTo>
                      <a:pt x="0" y="167"/>
                      <a:pt x="0" y="167"/>
                      <a:pt x="0" y="167"/>
                    </a:cubicBezTo>
                    <a:cubicBezTo>
                      <a:pt x="30" y="174"/>
                      <a:pt x="30" y="174"/>
                      <a:pt x="30" y="174"/>
                    </a:cubicBezTo>
                    <a:cubicBezTo>
                      <a:pt x="32" y="184"/>
                      <a:pt x="36" y="193"/>
                      <a:pt x="41" y="202"/>
                    </a:cubicBezTo>
                    <a:cubicBezTo>
                      <a:pt x="25" y="228"/>
                      <a:pt x="25" y="228"/>
                      <a:pt x="25" y="228"/>
                    </a:cubicBezTo>
                    <a:cubicBezTo>
                      <a:pt x="58" y="261"/>
                      <a:pt x="58" y="261"/>
                      <a:pt x="58" y="261"/>
                    </a:cubicBezTo>
                    <a:cubicBezTo>
                      <a:pt x="84" y="245"/>
                      <a:pt x="84" y="245"/>
                      <a:pt x="84" y="245"/>
                    </a:cubicBezTo>
                    <a:cubicBezTo>
                      <a:pt x="93" y="250"/>
                      <a:pt x="102" y="254"/>
                      <a:pt x="112" y="256"/>
                    </a:cubicBezTo>
                    <a:cubicBezTo>
                      <a:pt x="119" y="286"/>
                      <a:pt x="119" y="286"/>
                      <a:pt x="119" y="286"/>
                    </a:cubicBezTo>
                    <a:cubicBezTo>
                      <a:pt x="166" y="286"/>
                      <a:pt x="166" y="286"/>
                      <a:pt x="166" y="286"/>
                    </a:cubicBezTo>
                    <a:cubicBezTo>
                      <a:pt x="173" y="256"/>
                      <a:pt x="173" y="256"/>
                      <a:pt x="173" y="256"/>
                    </a:cubicBezTo>
                    <a:cubicBezTo>
                      <a:pt x="183" y="254"/>
                      <a:pt x="192" y="250"/>
                      <a:pt x="201" y="245"/>
                    </a:cubicBezTo>
                    <a:cubicBezTo>
                      <a:pt x="227" y="261"/>
                      <a:pt x="227" y="261"/>
                      <a:pt x="227" y="261"/>
                    </a:cubicBezTo>
                    <a:cubicBezTo>
                      <a:pt x="260" y="228"/>
                      <a:pt x="260" y="228"/>
                      <a:pt x="260" y="228"/>
                    </a:cubicBezTo>
                    <a:cubicBezTo>
                      <a:pt x="244" y="202"/>
                      <a:pt x="244" y="202"/>
                      <a:pt x="244" y="202"/>
                    </a:cubicBezTo>
                    <a:cubicBezTo>
                      <a:pt x="249" y="193"/>
                      <a:pt x="253" y="184"/>
                      <a:pt x="256" y="174"/>
                    </a:cubicBezTo>
                    <a:lnTo>
                      <a:pt x="285" y="167"/>
                    </a:lnTo>
                    <a:close/>
                    <a:moveTo>
                      <a:pt x="143" y="223"/>
                    </a:moveTo>
                    <a:cubicBezTo>
                      <a:pt x="99" y="223"/>
                      <a:pt x="63" y="187"/>
                      <a:pt x="63" y="143"/>
                    </a:cubicBezTo>
                    <a:cubicBezTo>
                      <a:pt x="63" y="99"/>
                      <a:pt x="99" y="63"/>
                      <a:pt x="143" y="63"/>
                    </a:cubicBezTo>
                    <a:cubicBezTo>
                      <a:pt x="187" y="63"/>
                      <a:pt x="223" y="99"/>
                      <a:pt x="223" y="143"/>
                    </a:cubicBezTo>
                    <a:cubicBezTo>
                      <a:pt x="223" y="187"/>
                      <a:pt x="187" y="223"/>
                      <a:pt x="143" y="22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sp>
            <p:nvSpPr>
              <p:cNvPr id="58" name="Freeform 14"/>
              <p:cNvSpPr>
                <a:spLocks noEditPoints="1"/>
              </p:cNvSpPr>
              <p:nvPr/>
            </p:nvSpPr>
            <p:spPr bwMode="auto">
              <a:xfrm>
                <a:off x="5848788" y="4246599"/>
                <a:ext cx="478199" cy="476101"/>
              </a:xfrm>
              <a:custGeom>
                <a:avLst/>
                <a:gdLst>
                  <a:gd name="T0" fmla="*/ 203 w 203"/>
                  <a:gd name="T1" fmla="*/ 116 h 203"/>
                  <a:gd name="T2" fmla="*/ 203 w 203"/>
                  <a:gd name="T3" fmla="*/ 87 h 203"/>
                  <a:gd name="T4" fmla="*/ 183 w 203"/>
                  <a:gd name="T5" fmla="*/ 82 h 203"/>
                  <a:gd name="T6" fmla="*/ 173 w 203"/>
                  <a:gd name="T7" fmla="*/ 58 h 203"/>
                  <a:gd name="T8" fmla="*/ 184 w 203"/>
                  <a:gd name="T9" fmla="*/ 40 h 203"/>
                  <a:gd name="T10" fmla="*/ 163 w 203"/>
                  <a:gd name="T11" fmla="*/ 19 h 203"/>
                  <a:gd name="T12" fmla="*/ 145 w 203"/>
                  <a:gd name="T13" fmla="*/ 30 h 203"/>
                  <a:gd name="T14" fmla="*/ 121 w 203"/>
                  <a:gd name="T15" fmla="*/ 20 h 203"/>
                  <a:gd name="T16" fmla="*/ 116 w 203"/>
                  <a:gd name="T17" fmla="*/ 0 h 203"/>
                  <a:gd name="T18" fmla="*/ 87 w 203"/>
                  <a:gd name="T19" fmla="*/ 0 h 203"/>
                  <a:gd name="T20" fmla="*/ 82 w 203"/>
                  <a:gd name="T21" fmla="*/ 20 h 203"/>
                  <a:gd name="T22" fmla="*/ 58 w 203"/>
                  <a:gd name="T23" fmla="*/ 30 h 203"/>
                  <a:gd name="T24" fmla="*/ 40 w 203"/>
                  <a:gd name="T25" fmla="*/ 19 h 203"/>
                  <a:gd name="T26" fmla="*/ 19 w 203"/>
                  <a:gd name="T27" fmla="*/ 40 h 203"/>
                  <a:gd name="T28" fmla="*/ 30 w 203"/>
                  <a:gd name="T29" fmla="*/ 58 h 203"/>
                  <a:gd name="T30" fmla="*/ 21 w 203"/>
                  <a:gd name="T31" fmla="*/ 82 h 203"/>
                  <a:gd name="T32" fmla="*/ 0 w 203"/>
                  <a:gd name="T33" fmla="*/ 87 h 203"/>
                  <a:gd name="T34" fmla="*/ 0 w 203"/>
                  <a:gd name="T35" fmla="*/ 116 h 203"/>
                  <a:gd name="T36" fmla="*/ 21 w 203"/>
                  <a:gd name="T37" fmla="*/ 121 h 203"/>
                  <a:gd name="T38" fmla="*/ 30 w 203"/>
                  <a:gd name="T39" fmla="*/ 145 h 203"/>
                  <a:gd name="T40" fmla="*/ 19 w 203"/>
                  <a:gd name="T41" fmla="*/ 163 h 203"/>
                  <a:gd name="T42" fmla="*/ 40 w 203"/>
                  <a:gd name="T43" fmla="*/ 184 h 203"/>
                  <a:gd name="T44" fmla="*/ 58 w 203"/>
                  <a:gd name="T45" fmla="*/ 173 h 203"/>
                  <a:gd name="T46" fmla="*/ 82 w 203"/>
                  <a:gd name="T47" fmla="*/ 182 h 203"/>
                  <a:gd name="T48" fmla="*/ 87 w 203"/>
                  <a:gd name="T49" fmla="*/ 203 h 203"/>
                  <a:gd name="T50" fmla="*/ 116 w 203"/>
                  <a:gd name="T51" fmla="*/ 203 h 203"/>
                  <a:gd name="T52" fmla="*/ 121 w 203"/>
                  <a:gd name="T53" fmla="*/ 182 h 203"/>
                  <a:gd name="T54" fmla="*/ 145 w 203"/>
                  <a:gd name="T55" fmla="*/ 173 h 203"/>
                  <a:gd name="T56" fmla="*/ 163 w 203"/>
                  <a:gd name="T57" fmla="*/ 184 h 203"/>
                  <a:gd name="T58" fmla="*/ 184 w 203"/>
                  <a:gd name="T59" fmla="*/ 163 h 203"/>
                  <a:gd name="T60" fmla="*/ 173 w 203"/>
                  <a:gd name="T61" fmla="*/ 145 h 203"/>
                  <a:gd name="T62" fmla="*/ 183 w 203"/>
                  <a:gd name="T63" fmla="*/ 121 h 203"/>
                  <a:gd name="T64" fmla="*/ 203 w 203"/>
                  <a:gd name="T65" fmla="*/ 116 h 203"/>
                  <a:gd name="T66" fmla="*/ 102 w 203"/>
                  <a:gd name="T67" fmla="*/ 150 h 203"/>
                  <a:gd name="T68" fmla="*/ 53 w 203"/>
                  <a:gd name="T69" fmla="*/ 101 h 203"/>
                  <a:gd name="T70" fmla="*/ 102 w 203"/>
                  <a:gd name="T71" fmla="*/ 53 h 203"/>
                  <a:gd name="T72" fmla="*/ 150 w 203"/>
                  <a:gd name="T73" fmla="*/ 101 h 203"/>
                  <a:gd name="T74" fmla="*/ 102 w 203"/>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3">
                    <a:moveTo>
                      <a:pt x="203" y="116"/>
                    </a:moveTo>
                    <a:cubicBezTo>
                      <a:pt x="203" y="87"/>
                      <a:pt x="203" y="87"/>
                      <a:pt x="203" y="87"/>
                    </a:cubicBezTo>
                    <a:cubicBezTo>
                      <a:pt x="183" y="82"/>
                      <a:pt x="183" y="82"/>
                      <a:pt x="183" y="82"/>
                    </a:cubicBezTo>
                    <a:cubicBezTo>
                      <a:pt x="181" y="73"/>
                      <a:pt x="177" y="65"/>
                      <a:pt x="173" y="58"/>
                    </a:cubicBezTo>
                    <a:cubicBezTo>
                      <a:pt x="184" y="40"/>
                      <a:pt x="184" y="40"/>
                      <a:pt x="184" y="40"/>
                    </a:cubicBezTo>
                    <a:cubicBezTo>
                      <a:pt x="163" y="19"/>
                      <a:pt x="163" y="19"/>
                      <a:pt x="163" y="19"/>
                    </a:cubicBezTo>
                    <a:cubicBezTo>
                      <a:pt x="145" y="30"/>
                      <a:pt x="145" y="30"/>
                      <a:pt x="145" y="30"/>
                    </a:cubicBezTo>
                    <a:cubicBezTo>
                      <a:pt x="138" y="26"/>
                      <a:pt x="130" y="22"/>
                      <a:pt x="121" y="20"/>
                    </a:cubicBezTo>
                    <a:cubicBezTo>
                      <a:pt x="116" y="0"/>
                      <a:pt x="116" y="0"/>
                      <a:pt x="116" y="0"/>
                    </a:cubicBezTo>
                    <a:cubicBezTo>
                      <a:pt x="87" y="0"/>
                      <a:pt x="87" y="0"/>
                      <a:pt x="87" y="0"/>
                    </a:cubicBezTo>
                    <a:cubicBezTo>
                      <a:pt x="82" y="20"/>
                      <a:pt x="82" y="20"/>
                      <a:pt x="82" y="20"/>
                    </a:cubicBezTo>
                    <a:cubicBezTo>
                      <a:pt x="73" y="22"/>
                      <a:pt x="65" y="26"/>
                      <a:pt x="58" y="30"/>
                    </a:cubicBezTo>
                    <a:cubicBezTo>
                      <a:pt x="40" y="19"/>
                      <a:pt x="40" y="19"/>
                      <a:pt x="40" y="19"/>
                    </a:cubicBezTo>
                    <a:cubicBezTo>
                      <a:pt x="19" y="40"/>
                      <a:pt x="19" y="40"/>
                      <a:pt x="19" y="40"/>
                    </a:cubicBezTo>
                    <a:cubicBezTo>
                      <a:pt x="30" y="58"/>
                      <a:pt x="30" y="58"/>
                      <a:pt x="30" y="58"/>
                    </a:cubicBezTo>
                    <a:cubicBezTo>
                      <a:pt x="26" y="65"/>
                      <a:pt x="23" y="73"/>
                      <a:pt x="21" y="82"/>
                    </a:cubicBezTo>
                    <a:cubicBezTo>
                      <a:pt x="0" y="87"/>
                      <a:pt x="0" y="87"/>
                      <a:pt x="0" y="87"/>
                    </a:cubicBezTo>
                    <a:cubicBezTo>
                      <a:pt x="0" y="116"/>
                      <a:pt x="0" y="116"/>
                      <a:pt x="0" y="116"/>
                    </a:cubicBezTo>
                    <a:cubicBezTo>
                      <a:pt x="21" y="121"/>
                      <a:pt x="21" y="121"/>
                      <a:pt x="21" y="121"/>
                    </a:cubicBezTo>
                    <a:cubicBezTo>
                      <a:pt x="23" y="129"/>
                      <a:pt x="26" y="137"/>
                      <a:pt x="30" y="145"/>
                    </a:cubicBezTo>
                    <a:cubicBezTo>
                      <a:pt x="19" y="163"/>
                      <a:pt x="19" y="163"/>
                      <a:pt x="19" y="163"/>
                    </a:cubicBezTo>
                    <a:cubicBezTo>
                      <a:pt x="40" y="184"/>
                      <a:pt x="40" y="184"/>
                      <a:pt x="40" y="184"/>
                    </a:cubicBezTo>
                    <a:cubicBezTo>
                      <a:pt x="58" y="173"/>
                      <a:pt x="58" y="173"/>
                      <a:pt x="58" y="173"/>
                    </a:cubicBezTo>
                    <a:cubicBezTo>
                      <a:pt x="65" y="177"/>
                      <a:pt x="73" y="180"/>
                      <a:pt x="82" y="182"/>
                    </a:cubicBezTo>
                    <a:cubicBezTo>
                      <a:pt x="87" y="203"/>
                      <a:pt x="87" y="203"/>
                      <a:pt x="87" y="203"/>
                    </a:cubicBezTo>
                    <a:cubicBezTo>
                      <a:pt x="116" y="203"/>
                      <a:pt x="116" y="203"/>
                      <a:pt x="116" y="203"/>
                    </a:cubicBezTo>
                    <a:cubicBezTo>
                      <a:pt x="121" y="182"/>
                      <a:pt x="121" y="182"/>
                      <a:pt x="121" y="182"/>
                    </a:cubicBezTo>
                    <a:cubicBezTo>
                      <a:pt x="130" y="180"/>
                      <a:pt x="138" y="177"/>
                      <a:pt x="145" y="173"/>
                    </a:cubicBezTo>
                    <a:cubicBezTo>
                      <a:pt x="163" y="184"/>
                      <a:pt x="163" y="184"/>
                      <a:pt x="163" y="184"/>
                    </a:cubicBezTo>
                    <a:cubicBezTo>
                      <a:pt x="184" y="163"/>
                      <a:pt x="184" y="163"/>
                      <a:pt x="184" y="163"/>
                    </a:cubicBezTo>
                    <a:cubicBezTo>
                      <a:pt x="173" y="145"/>
                      <a:pt x="173" y="145"/>
                      <a:pt x="173" y="145"/>
                    </a:cubicBezTo>
                    <a:cubicBezTo>
                      <a:pt x="177" y="137"/>
                      <a:pt x="181" y="129"/>
                      <a:pt x="183" y="121"/>
                    </a:cubicBezTo>
                    <a:lnTo>
                      <a:pt x="203" y="116"/>
                    </a:lnTo>
                    <a:close/>
                    <a:moveTo>
                      <a:pt x="102" y="150"/>
                    </a:moveTo>
                    <a:cubicBezTo>
                      <a:pt x="75" y="150"/>
                      <a:pt x="53" y="128"/>
                      <a:pt x="53" y="101"/>
                    </a:cubicBezTo>
                    <a:cubicBezTo>
                      <a:pt x="53" y="75"/>
                      <a:pt x="75" y="53"/>
                      <a:pt x="102" y="53"/>
                    </a:cubicBezTo>
                    <a:cubicBezTo>
                      <a:pt x="128" y="53"/>
                      <a:pt x="150" y="75"/>
                      <a:pt x="150" y="101"/>
                    </a:cubicBezTo>
                    <a:cubicBezTo>
                      <a:pt x="150" y="128"/>
                      <a:pt x="128" y="150"/>
                      <a:pt x="102" y="15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70C0"/>
                  </a:solidFill>
                </a:endParaRPr>
              </a:p>
            </p:txBody>
          </p:sp>
        </p:grpSp>
        <p:sp>
          <p:nvSpPr>
            <p:cNvPr id="387090" name="TextBox 387089"/>
            <p:cNvSpPr txBox="1"/>
            <p:nvPr/>
          </p:nvSpPr>
          <p:spPr>
            <a:xfrm>
              <a:off x="3430366" y="4236898"/>
              <a:ext cx="1176001" cy="369332"/>
            </a:xfrm>
            <a:prstGeom prst="rect">
              <a:avLst/>
            </a:prstGeom>
            <a:noFill/>
          </p:spPr>
          <p:txBody>
            <a:bodyPr wrap="square" rtlCol="0">
              <a:spAutoFit/>
            </a:bodyPr>
            <a:lstStyle/>
            <a:p>
              <a:pPr algn="ctr"/>
              <a:r>
                <a:rPr lang="zh-CN" altLang="en-US" dirty="0" smtClean="0">
                  <a:solidFill>
                    <a:srgbClr val="0070C0"/>
                  </a:solidFill>
                  <a:latin typeface="SimSun" panose="02010600030101010101" pitchFamily="2" charset="-122"/>
                  <a:ea typeface="SimSun" panose="02010600030101010101" pitchFamily="2" charset="-122"/>
                </a:rPr>
                <a:t>源代码</a:t>
              </a:r>
              <a:endParaRPr lang="en-US" dirty="0">
                <a:solidFill>
                  <a:srgbClr val="0070C0"/>
                </a:solidFill>
                <a:latin typeface="SimSun" panose="02010600030101010101" pitchFamily="2" charset="-122"/>
                <a:ea typeface="SimSun" panose="02010600030101010101" pitchFamily="2" charset="-122"/>
              </a:endParaRPr>
            </a:p>
          </p:txBody>
        </p:sp>
        <p:sp>
          <p:nvSpPr>
            <p:cNvPr id="61" name="TextBox 60"/>
            <p:cNvSpPr txBox="1"/>
            <p:nvPr/>
          </p:nvSpPr>
          <p:spPr>
            <a:xfrm>
              <a:off x="5797214" y="3530906"/>
              <a:ext cx="1369393" cy="369332"/>
            </a:xfrm>
            <a:prstGeom prst="rect">
              <a:avLst/>
            </a:prstGeom>
            <a:noFill/>
          </p:spPr>
          <p:txBody>
            <a:bodyPr wrap="square" rtlCol="0">
              <a:spAutoFit/>
            </a:bodyPr>
            <a:lstStyle/>
            <a:p>
              <a:pPr algn="ctr"/>
              <a:r>
                <a:rPr lang="zh-CN" altLang="en-US" dirty="0" smtClean="0">
                  <a:solidFill>
                    <a:srgbClr val="0070C0"/>
                  </a:solidFill>
                  <a:latin typeface="SimSun" panose="02010600030101010101" pitchFamily="2" charset="-122"/>
                  <a:ea typeface="SimSun" panose="02010600030101010101" pitchFamily="2" charset="-122"/>
                </a:rPr>
                <a:t>构建脚本</a:t>
              </a:r>
              <a:endParaRPr lang="en-US" dirty="0">
                <a:solidFill>
                  <a:srgbClr val="0070C0"/>
                </a:solidFill>
                <a:latin typeface="SimSun" panose="02010600030101010101" pitchFamily="2" charset="-122"/>
                <a:ea typeface="SimSun" panose="02010600030101010101" pitchFamily="2" charset="-122"/>
              </a:endParaRPr>
            </a:p>
          </p:txBody>
        </p:sp>
        <p:sp>
          <p:nvSpPr>
            <p:cNvPr id="62" name="TextBox 61"/>
            <p:cNvSpPr txBox="1"/>
            <p:nvPr/>
          </p:nvSpPr>
          <p:spPr>
            <a:xfrm>
              <a:off x="5993245" y="4858520"/>
              <a:ext cx="989012" cy="381799"/>
            </a:xfrm>
            <a:prstGeom prst="rect">
              <a:avLst/>
            </a:prstGeom>
            <a:noFill/>
          </p:spPr>
          <p:txBody>
            <a:bodyPr wrap="square" rtlCol="0">
              <a:spAutoFit/>
            </a:bodyPr>
            <a:lstStyle/>
            <a:p>
              <a:pPr algn="ctr"/>
              <a:r>
                <a:rPr lang="zh-CN" altLang="en-US" dirty="0">
                  <a:solidFill>
                    <a:srgbClr val="0070C0"/>
                  </a:solidFill>
                  <a:latin typeface="SimSun" panose="02010600030101010101" pitchFamily="2" charset="-122"/>
                  <a:ea typeface="SimSun" panose="02010600030101010101" pitchFamily="2" charset="-122"/>
                </a:rPr>
                <a:t>配置</a:t>
              </a:r>
              <a:endParaRPr lang="en-US" dirty="0">
                <a:solidFill>
                  <a:srgbClr val="0070C0"/>
                </a:solidFill>
                <a:latin typeface="SimSun" panose="02010600030101010101" pitchFamily="2" charset="-122"/>
                <a:ea typeface="SimSun" panose="02010600030101010101" pitchFamily="2" charset="-122"/>
              </a:endParaRPr>
            </a:p>
          </p:txBody>
        </p:sp>
        <p:sp>
          <p:nvSpPr>
            <p:cNvPr id="387091" name="Oval 387090"/>
            <p:cNvSpPr/>
            <p:nvPr/>
          </p:nvSpPr>
          <p:spPr>
            <a:xfrm>
              <a:off x="7761270" y="3430182"/>
              <a:ext cx="891101" cy="891101"/>
            </a:xfrm>
            <a:prstGeom prst="ellipse">
              <a:avLst/>
            </a:prstGeom>
            <a:solidFill>
              <a:schemeClr val="accent2"/>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cxnSp>
          <p:nvCxnSpPr>
            <p:cNvPr id="387093" name="Straight Arrow Connector 387092"/>
            <p:cNvCxnSpPr/>
            <p:nvPr/>
          </p:nvCxnSpPr>
          <p:spPr>
            <a:xfrm>
              <a:off x="7077075" y="3124616"/>
              <a:ext cx="622560" cy="378939"/>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V="1">
              <a:off x="7077075" y="4151107"/>
              <a:ext cx="622560" cy="378939"/>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87094" name="Isosceles Triangle 387093"/>
            <p:cNvSpPr/>
            <p:nvPr/>
          </p:nvSpPr>
          <p:spPr>
            <a:xfrm rot="5400000">
              <a:off x="7991835" y="3686359"/>
              <a:ext cx="577792" cy="412088"/>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0C0"/>
                </a:solidFill>
              </a:endParaRPr>
            </a:p>
          </p:txBody>
        </p:sp>
        <p:sp>
          <p:nvSpPr>
            <p:cNvPr id="68" name="TextBox 67"/>
            <p:cNvSpPr txBox="1"/>
            <p:nvPr/>
          </p:nvSpPr>
          <p:spPr>
            <a:xfrm>
              <a:off x="7633714" y="4321283"/>
              <a:ext cx="1146212" cy="369332"/>
            </a:xfrm>
            <a:prstGeom prst="rect">
              <a:avLst/>
            </a:prstGeom>
            <a:noFill/>
          </p:spPr>
          <p:txBody>
            <a:bodyPr wrap="square" rtlCol="0">
              <a:spAutoFit/>
            </a:bodyPr>
            <a:lstStyle/>
            <a:p>
              <a:pPr algn="ctr"/>
              <a:r>
                <a:rPr lang="zh-CN" altLang="en-US" dirty="0" smtClean="0">
                  <a:solidFill>
                    <a:srgbClr val="0070C0"/>
                  </a:solidFill>
                  <a:latin typeface="SimSun" panose="02010600030101010101" pitchFamily="2" charset="-122"/>
                  <a:ea typeface="SimSun" panose="02010600030101010101" pitchFamily="2" charset="-122"/>
                </a:rPr>
                <a:t>发行计划</a:t>
              </a:r>
              <a:endParaRPr lang="en-US" dirty="0">
                <a:solidFill>
                  <a:srgbClr val="0070C0"/>
                </a:solidFill>
                <a:latin typeface="SimSun" panose="02010600030101010101" pitchFamily="2" charset="-122"/>
                <a:ea typeface="SimSun" panose="02010600030101010101" pitchFamily="2" charset="-122"/>
              </a:endParaRPr>
            </a:p>
          </p:txBody>
        </p:sp>
      </p:grpSp>
      <p:sp>
        <p:nvSpPr>
          <p:cNvPr id="69" name="TextBox 68"/>
          <p:cNvSpPr txBox="1"/>
          <p:nvPr/>
        </p:nvSpPr>
        <p:spPr>
          <a:xfrm>
            <a:off x="3058700" y="2535175"/>
            <a:ext cx="3492280" cy="369332"/>
          </a:xfrm>
          <a:prstGeom prst="rect">
            <a:avLst/>
          </a:prstGeom>
          <a:noFill/>
        </p:spPr>
        <p:txBody>
          <a:bodyPr wrap="square" rtlCol="0">
            <a:spAutoFit/>
          </a:bodyPr>
          <a:lstStyle/>
          <a:p>
            <a:r>
              <a:rPr lang="zh-CN" altLang="en-US" dirty="0" smtClean="0">
                <a:solidFill>
                  <a:schemeClr val="accent2"/>
                </a:solidFill>
                <a:latin typeface="SimSun" panose="02010600030101010101" pitchFamily="2" charset="-122"/>
                <a:ea typeface="SimSun" panose="02010600030101010101" pitchFamily="2" charset="-122"/>
              </a:rPr>
              <a:t>可配置项目</a:t>
            </a:r>
            <a:endParaRPr lang="en-US" dirty="0">
              <a:solidFill>
                <a:schemeClr val="accent2"/>
              </a:solidFill>
              <a:latin typeface="SimSun" panose="02010600030101010101" pitchFamily="2" charset="-122"/>
              <a:ea typeface="SimSun" panose="02010600030101010101" pitchFamily="2" charset="-122"/>
            </a:endParaRPr>
          </a:p>
        </p:txBody>
      </p:sp>
      <p:sp>
        <p:nvSpPr>
          <p:cNvPr id="387096" name="Rectangle 387095"/>
          <p:cNvSpPr/>
          <p:nvPr/>
        </p:nvSpPr>
        <p:spPr>
          <a:xfrm>
            <a:off x="3055938" y="2535175"/>
            <a:ext cx="5632450" cy="3476158"/>
          </a:xfrm>
          <a:prstGeom prst="rect">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40067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软件配置管理</a:t>
            </a:r>
            <a:endParaRPr lang="en-GB" dirty="0">
              <a:latin typeface="SimSun" panose="02010600030101010101" pitchFamily="2" charset="-122"/>
              <a:ea typeface="SimSun" panose="02010600030101010101" pitchFamily="2" charset="-122"/>
            </a:endParaRPr>
          </a:p>
        </p:txBody>
      </p:sp>
      <p:sp>
        <p:nvSpPr>
          <p:cNvPr id="6" name="Text Placeholder 5"/>
          <p:cNvSpPr>
            <a:spLocks noGrp="1"/>
          </p:cNvSpPr>
          <p:nvPr>
            <p:ph type="body" sz="quarter" idx="10"/>
          </p:nvPr>
        </p:nvSpPr>
        <p:spPr/>
        <p:txBody>
          <a:bodyPr/>
          <a:lstStyle/>
          <a:p>
            <a:r>
              <a:rPr lang="en-GB" altLang="ja-JP" dirty="0">
                <a:latin typeface="SimSun" panose="02010600030101010101" pitchFamily="2" charset="-122"/>
                <a:ea typeface="SimSun" panose="02010600030101010101" pitchFamily="2" charset="-122"/>
              </a:rPr>
              <a:t>SCM</a:t>
            </a:r>
            <a:r>
              <a:rPr lang="zh-CN" altLang="en-US" dirty="0" smtClean="0">
                <a:latin typeface="SimSun" panose="02010600030101010101" pitchFamily="2" charset="-122"/>
                <a:ea typeface="SimSun" panose="02010600030101010101" pitchFamily="2" charset="-122"/>
              </a:rPr>
              <a:t>和</a:t>
            </a:r>
            <a:r>
              <a:rPr lang="en-GB" altLang="ja-JP" dirty="0" smtClean="0">
                <a:latin typeface="SimSun" panose="02010600030101010101" pitchFamily="2" charset="-122"/>
                <a:ea typeface="SimSun" panose="02010600030101010101" pitchFamily="2" charset="-122"/>
              </a:rPr>
              <a:t>SCM</a:t>
            </a:r>
            <a:r>
              <a:rPr lang="zh-CN" altLang="en-US" dirty="0" smtClean="0">
                <a:latin typeface="SimSun" panose="02010600030101010101" pitchFamily="2" charset="-122"/>
                <a:ea typeface="SimSun" panose="02010600030101010101" pitchFamily="2" charset="-122"/>
              </a:rPr>
              <a:t>工具介绍</a:t>
            </a:r>
            <a:endParaRPr lang="en-GB" dirty="0">
              <a:latin typeface="SimSun" panose="02010600030101010101" pitchFamily="2" charset="-122"/>
              <a:ea typeface="SimSun" panose="02010600030101010101" pitchFamily="2" charset="-122"/>
            </a:endParaRPr>
          </a:p>
        </p:txBody>
      </p:sp>
      <p:sp>
        <p:nvSpPr>
          <p:cNvPr id="18" name="Footer Placeholder 17"/>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grpSp>
        <p:nvGrpSpPr>
          <p:cNvPr id="10" name="Group 9"/>
          <p:cNvGrpSpPr/>
          <p:nvPr/>
        </p:nvGrpSpPr>
        <p:grpSpPr>
          <a:xfrm>
            <a:off x="3963486" y="1879200"/>
            <a:ext cx="1220202" cy="1220199"/>
            <a:chOff x="3963486" y="1832293"/>
            <a:chExt cx="1220202" cy="1220199"/>
          </a:xfrm>
        </p:grpSpPr>
        <p:sp>
          <p:nvSpPr>
            <p:cNvPr id="22" name="Oval 21"/>
            <p:cNvSpPr/>
            <p:nvPr/>
          </p:nvSpPr>
          <p:spPr>
            <a:xfrm>
              <a:off x="3963486"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 name="Group 1"/>
            <p:cNvGrpSpPr/>
            <p:nvPr/>
          </p:nvGrpSpPr>
          <p:grpSpPr>
            <a:xfrm>
              <a:off x="4167710" y="2095500"/>
              <a:ext cx="774175" cy="665802"/>
              <a:chOff x="6156094" y="2874286"/>
              <a:chExt cx="617594" cy="531140"/>
            </a:xfrm>
            <a:solidFill>
              <a:schemeClr val="accent1"/>
            </a:solidFill>
          </p:grpSpPr>
          <p:sp>
            <p:nvSpPr>
              <p:cNvPr id="17" name="Freeform 20"/>
              <p:cNvSpPr>
                <a:spLocks/>
              </p:cNvSpPr>
              <p:nvPr/>
            </p:nvSpPr>
            <p:spPr bwMode="auto">
              <a:xfrm>
                <a:off x="6156094" y="2874286"/>
                <a:ext cx="316632" cy="308526"/>
              </a:xfrm>
              <a:custGeom>
                <a:avLst/>
                <a:gdLst>
                  <a:gd name="T0" fmla="*/ 1213 w 1639"/>
                  <a:gd name="T1" fmla="*/ 844 h 1599"/>
                  <a:gd name="T2" fmla="*/ 1438 w 1639"/>
                  <a:gd name="T3" fmla="*/ 618 h 1599"/>
                  <a:gd name="T4" fmla="*/ 1302 w 1639"/>
                  <a:gd name="T5" fmla="*/ 482 h 1599"/>
                  <a:gd name="T6" fmla="*/ 1639 w 1639"/>
                  <a:gd name="T7" fmla="*/ 145 h 1599"/>
                  <a:gd name="T8" fmla="*/ 1605 w 1639"/>
                  <a:gd name="T9" fmla="*/ 111 h 1599"/>
                  <a:gd name="T10" fmla="*/ 1032 w 1639"/>
                  <a:gd name="T11" fmla="*/ 212 h 1599"/>
                  <a:gd name="T12" fmla="*/ 981 w 1639"/>
                  <a:gd name="T13" fmla="*/ 160 h 1599"/>
                  <a:gd name="T14" fmla="*/ 279 w 1639"/>
                  <a:gd name="T15" fmla="*/ 862 h 1599"/>
                  <a:gd name="T16" fmla="*/ 349 w 1639"/>
                  <a:gd name="T17" fmla="*/ 932 h 1599"/>
                  <a:gd name="T18" fmla="*/ 295 w 1639"/>
                  <a:gd name="T19" fmla="*/ 985 h 1599"/>
                  <a:gd name="T20" fmla="*/ 284 w 1639"/>
                  <a:gd name="T21" fmla="*/ 975 h 1599"/>
                  <a:gd name="T22" fmla="*/ 161 w 1639"/>
                  <a:gd name="T23" fmla="*/ 980 h 1599"/>
                  <a:gd name="T24" fmla="*/ 38 w 1639"/>
                  <a:gd name="T25" fmla="*/ 1103 h 1599"/>
                  <a:gd name="T26" fmla="*/ 32 w 1639"/>
                  <a:gd name="T27" fmla="*/ 1227 h 1599"/>
                  <a:gd name="T28" fmla="*/ 372 w 1639"/>
                  <a:gd name="T29" fmla="*/ 1567 h 1599"/>
                  <a:gd name="T30" fmla="*/ 495 w 1639"/>
                  <a:gd name="T31" fmla="*/ 1561 h 1599"/>
                  <a:gd name="T32" fmla="*/ 619 w 1639"/>
                  <a:gd name="T33" fmla="*/ 1438 h 1599"/>
                  <a:gd name="T34" fmla="*/ 624 w 1639"/>
                  <a:gd name="T35" fmla="*/ 1315 h 1599"/>
                  <a:gd name="T36" fmla="*/ 613 w 1639"/>
                  <a:gd name="T37" fmla="*/ 1304 h 1599"/>
                  <a:gd name="T38" fmla="*/ 667 w 1639"/>
                  <a:gd name="T39" fmla="*/ 1250 h 1599"/>
                  <a:gd name="T40" fmla="*/ 737 w 1639"/>
                  <a:gd name="T41" fmla="*/ 1320 h 1599"/>
                  <a:gd name="T42" fmla="*/ 934 w 1639"/>
                  <a:gd name="T43" fmla="*/ 1123 h 1599"/>
                  <a:gd name="T44" fmla="*/ 1271 w 1639"/>
                  <a:gd name="T45" fmla="*/ 1460 h 1599"/>
                  <a:gd name="T46" fmla="*/ 1550 w 1639"/>
                  <a:gd name="T47" fmla="*/ 1181 h 1599"/>
                  <a:gd name="T48" fmla="*/ 1213 w 1639"/>
                  <a:gd name="T49" fmla="*/ 844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9" h="1599">
                    <a:moveTo>
                      <a:pt x="1213" y="844"/>
                    </a:moveTo>
                    <a:cubicBezTo>
                      <a:pt x="1438" y="618"/>
                      <a:pt x="1438" y="618"/>
                      <a:pt x="1438" y="618"/>
                    </a:cubicBezTo>
                    <a:cubicBezTo>
                      <a:pt x="1302" y="482"/>
                      <a:pt x="1302" y="482"/>
                      <a:pt x="1302" y="482"/>
                    </a:cubicBezTo>
                    <a:cubicBezTo>
                      <a:pt x="1639" y="145"/>
                      <a:pt x="1639" y="145"/>
                      <a:pt x="1639" y="145"/>
                    </a:cubicBezTo>
                    <a:cubicBezTo>
                      <a:pt x="1605" y="111"/>
                      <a:pt x="1605" y="111"/>
                      <a:pt x="1605" y="111"/>
                    </a:cubicBezTo>
                    <a:cubicBezTo>
                      <a:pt x="1494" y="0"/>
                      <a:pt x="1282" y="38"/>
                      <a:pt x="1032" y="212"/>
                    </a:cubicBezTo>
                    <a:cubicBezTo>
                      <a:pt x="981" y="160"/>
                      <a:pt x="981" y="160"/>
                      <a:pt x="981" y="160"/>
                    </a:cubicBezTo>
                    <a:cubicBezTo>
                      <a:pt x="279" y="862"/>
                      <a:pt x="279" y="862"/>
                      <a:pt x="279" y="862"/>
                    </a:cubicBezTo>
                    <a:cubicBezTo>
                      <a:pt x="349" y="932"/>
                      <a:pt x="349" y="932"/>
                      <a:pt x="349" y="932"/>
                    </a:cubicBezTo>
                    <a:cubicBezTo>
                      <a:pt x="295" y="985"/>
                      <a:pt x="295" y="985"/>
                      <a:pt x="295" y="985"/>
                    </a:cubicBezTo>
                    <a:cubicBezTo>
                      <a:pt x="284" y="975"/>
                      <a:pt x="284" y="975"/>
                      <a:pt x="284" y="975"/>
                    </a:cubicBezTo>
                    <a:cubicBezTo>
                      <a:pt x="252" y="942"/>
                      <a:pt x="197" y="945"/>
                      <a:pt x="161" y="980"/>
                    </a:cubicBezTo>
                    <a:cubicBezTo>
                      <a:pt x="38" y="1103"/>
                      <a:pt x="38" y="1103"/>
                      <a:pt x="38" y="1103"/>
                    </a:cubicBezTo>
                    <a:cubicBezTo>
                      <a:pt x="2" y="1139"/>
                      <a:pt x="0" y="1194"/>
                      <a:pt x="32" y="1227"/>
                    </a:cubicBezTo>
                    <a:cubicBezTo>
                      <a:pt x="372" y="1567"/>
                      <a:pt x="372" y="1567"/>
                      <a:pt x="372" y="1567"/>
                    </a:cubicBezTo>
                    <a:cubicBezTo>
                      <a:pt x="405" y="1599"/>
                      <a:pt x="460" y="1597"/>
                      <a:pt x="495" y="1561"/>
                    </a:cubicBezTo>
                    <a:cubicBezTo>
                      <a:pt x="619" y="1438"/>
                      <a:pt x="619" y="1438"/>
                      <a:pt x="619" y="1438"/>
                    </a:cubicBezTo>
                    <a:cubicBezTo>
                      <a:pt x="654" y="1402"/>
                      <a:pt x="657" y="1347"/>
                      <a:pt x="624" y="1315"/>
                    </a:cubicBezTo>
                    <a:cubicBezTo>
                      <a:pt x="613" y="1304"/>
                      <a:pt x="613" y="1304"/>
                      <a:pt x="613" y="1304"/>
                    </a:cubicBezTo>
                    <a:cubicBezTo>
                      <a:pt x="667" y="1250"/>
                      <a:pt x="667" y="1250"/>
                      <a:pt x="667" y="1250"/>
                    </a:cubicBezTo>
                    <a:cubicBezTo>
                      <a:pt x="737" y="1320"/>
                      <a:pt x="737" y="1320"/>
                      <a:pt x="737" y="1320"/>
                    </a:cubicBezTo>
                    <a:cubicBezTo>
                      <a:pt x="934" y="1123"/>
                      <a:pt x="934" y="1123"/>
                      <a:pt x="934" y="1123"/>
                    </a:cubicBezTo>
                    <a:cubicBezTo>
                      <a:pt x="1271" y="1460"/>
                      <a:pt x="1271" y="1460"/>
                      <a:pt x="1271" y="1460"/>
                    </a:cubicBezTo>
                    <a:cubicBezTo>
                      <a:pt x="1550" y="1181"/>
                      <a:pt x="1550" y="1181"/>
                      <a:pt x="1550" y="1181"/>
                    </a:cubicBezTo>
                    <a:lnTo>
                      <a:pt x="1213" y="8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p:cNvSpPr>
              <p:nvPr/>
            </p:nvSpPr>
            <p:spPr bwMode="auto">
              <a:xfrm>
                <a:off x="6481911" y="3183352"/>
                <a:ext cx="223155" cy="222074"/>
              </a:xfrm>
              <a:custGeom>
                <a:avLst/>
                <a:gdLst>
                  <a:gd name="T0" fmla="*/ 0 w 1155"/>
                  <a:gd name="T1" fmla="*/ 409 h 1152"/>
                  <a:gd name="T2" fmla="*/ 684 w 1155"/>
                  <a:gd name="T3" fmla="*/ 1133 h 1152"/>
                  <a:gd name="T4" fmla="*/ 764 w 1155"/>
                  <a:gd name="T5" fmla="*/ 1119 h 1152"/>
                  <a:gd name="T6" fmla="*/ 1123 w 1155"/>
                  <a:gd name="T7" fmla="*/ 761 h 1152"/>
                  <a:gd name="T8" fmla="*/ 1136 w 1155"/>
                  <a:gd name="T9" fmla="*/ 680 h 1152"/>
                  <a:gd name="T10" fmla="*/ 410 w 1155"/>
                  <a:gd name="T11" fmla="*/ 0 h 1152"/>
                  <a:gd name="T12" fmla="*/ 360 w 1155"/>
                  <a:gd name="T13" fmla="*/ 50 h 1152"/>
                  <a:gd name="T14" fmla="*/ 0 w 1155"/>
                  <a:gd name="T15" fmla="*/ 409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5" h="1152">
                    <a:moveTo>
                      <a:pt x="0" y="409"/>
                    </a:moveTo>
                    <a:cubicBezTo>
                      <a:pt x="684" y="1133"/>
                      <a:pt x="684" y="1133"/>
                      <a:pt x="684" y="1133"/>
                    </a:cubicBezTo>
                    <a:cubicBezTo>
                      <a:pt x="701" y="1152"/>
                      <a:pt x="738" y="1146"/>
                      <a:pt x="764" y="1119"/>
                    </a:cubicBezTo>
                    <a:cubicBezTo>
                      <a:pt x="1123" y="761"/>
                      <a:pt x="1123" y="761"/>
                      <a:pt x="1123" y="761"/>
                    </a:cubicBezTo>
                    <a:cubicBezTo>
                      <a:pt x="1149" y="734"/>
                      <a:pt x="1155" y="698"/>
                      <a:pt x="1136" y="680"/>
                    </a:cubicBezTo>
                    <a:cubicBezTo>
                      <a:pt x="410" y="0"/>
                      <a:pt x="410" y="0"/>
                      <a:pt x="410" y="0"/>
                    </a:cubicBezTo>
                    <a:cubicBezTo>
                      <a:pt x="360" y="50"/>
                      <a:pt x="360" y="50"/>
                      <a:pt x="360" y="50"/>
                    </a:cubicBezTo>
                    <a:lnTo>
                      <a:pt x="0" y="4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noEditPoints="1"/>
              </p:cNvSpPr>
              <p:nvPr/>
            </p:nvSpPr>
            <p:spPr bwMode="auto">
              <a:xfrm>
                <a:off x="6244167" y="2885633"/>
                <a:ext cx="529521" cy="516551"/>
              </a:xfrm>
              <a:custGeom>
                <a:avLst/>
                <a:gdLst>
                  <a:gd name="T0" fmla="*/ 2203 w 2744"/>
                  <a:gd name="T1" fmla="*/ 817 h 2678"/>
                  <a:gd name="T2" fmla="*/ 1883 w 2744"/>
                  <a:gd name="T3" fmla="*/ 498 h 2678"/>
                  <a:gd name="T4" fmla="*/ 2303 w 2744"/>
                  <a:gd name="T5" fmla="*/ 78 h 2678"/>
                  <a:gd name="T6" fmla="*/ 2043 w 2744"/>
                  <a:gd name="T7" fmla="*/ 0 h 2678"/>
                  <a:gd name="T8" fmla="*/ 1711 w 2744"/>
                  <a:gd name="T9" fmla="*/ 138 h 2678"/>
                  <a:gd name="T10" fmla="*/ 1523 w 2744"/>
                  <a:gd name="T11" fmla="*/ 326 h 2678"/>
                  <a:gd name="T12" fmla="*/ 1464 w 2744"/>
                  <a:gd name="T13" fmla="*/ 918 h 2678"/>
                  <a:gd name="T14" fmla="*/ 1190 w 2744"/>
                  <a:gd name="T15" fmla="*/ 1192 h 2678"/>
                  <a:gd name="T16" fmla="*/ 89 w 2744"/>
                  <a:gd name="T17" fmla="*/ 2293 h 2678"/>
                  <a:gd name="T18" fmla="*/ 89 w 2744"/>
                  <a:gd name="T19" fmla="*/ 2612 h 2678"/>
                  <a:gd name="T20" fmla="*/ 248 w 2744"/>
                  <a:gd name="T21" fmla="*/ 2678 h 2678"/>
                  <a:gd name="T22" fmla="*/ 408 w 2744"/>
                  <a:gd name="T23" fmla="*/ 2612 h 2678"/>
                  <a:gd name="T24" fmla="*/ 1509 w 2744"/>
                  <a:gd name="T25" fmla="*/ 1511 h 2678"/>
                  <a:gd name="T26" fmla="*/ 1783 w 2744"/>
                  <a:gd name="T27" fmla="*/ 1237 h 2678"/>
                  <a:gd name="T28" fmla="*/ 2043 w 2744"/>
                  <a:gd name="T29" fmla="*/ 1315 h 2678"/>
                  <a:gd name="T30" fmla="*/ 2375 w 2744"/>
                  <a:gd name="T31" fmla="*/ 1178 h 2678"/>
                  <a:gd name="T32" fmla="*/ 2563 w 2744"/>
                  <a:gd name="T33" fmla="*/ 990 h 2678"/>
                  <a:gd name="T34" fmla="*/ 2622 w 2744"/>
                  <a:gd name="T35" fmla="*/ 398 h 2678"/>
                  <a:gd name="T36" fmla="*/ 2203 w 2744"/>
                  <a:gd name="T37" fmla="*/ 817 h 2678"/>
                  <a:gd name="T38" fmla="*/ 328 w 2744"/>
                  <a:gd name="T39" fmla="*/ 2532 h 2678"/>
                  <a:gd name="T40" fmla="*/ 248 w 2744"/>
                  <a:gd name="T41" fmla="*/ 2565 h 2678"/>
                  <a:gd name="T42" fmla="*/ 169 w 2744"/>
                  <a:gd name="T43" fmla="*/ 2532 h 2678"/>
                  <a:gd name="T44" fmla="*/ 169 w 2744"/>
                  <a:gd name="T45" fmla="*/ 2373 h 2678"/>
                  <a:gd name="T46" fmla="*/ 248 w 2744"/>
                  <a:gd name="T47" fmla="*/ 2339 h 2678"/>
                  <a:gd name="T48" fmla="*/ 328 w 2744"/>
                  <a:gd name="T49" fmla="*/ 2373 h 2678"/>
                  <a:gd name="T50" fmla="*/ 328 w 2744"/>
                  <a:gd name="T51" fmla="*/ 2532 h 2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44" h="2678">
                    <a:moveTo>
                      <a:pt x="2203" y="817"/>
                    </a:moveTo>
                    <a:cubicBezTo>
                      <a:pt x="1883" y="498"/>
                      <a:pt x="1883" y="498"/>
                      <a:pt x="1883" y="498"/>
                    </a:cubicBezTo>
                    <a:cubicBezTo>
                      <a:pt x="2303" y="78"/>
                      <a:pt x="2303" y="78"/>
                      <a:pt x="2303" y="78"/>
                    </a:cubicBezTo>
                    <a:cubicBezTo>
                      <a:pt x="2224" y="26"/>
                      <a:pt x="2134" y="0"/>
                      <a:pt x="2043" y="0"/>
                    </a:cubicBezTo>
                    <a:cubicBezTo>
                      <a:pt x="1923" y="0"/>
                      <a:pt x="1803" y="46"/>
                      <a:pt x="1711" y="138"/>
                    </a:cubicBezTo>
                    <a:cubicBezTo>
                      <a:pt x="1523" y="326"/>
                      <a:pt x="1523" y="326"/>
                      <a:pt x="1523" y="326"/>
                    </a:cubicBezTo>
                    <a:cubicBezTo>
                      <a:pt x="1362" y="487"/>
                      <a:pt x="1342" y="735"/>
                      <a:pt x="1464" y="918"/>
                    </a:cubicBezTo>
                    <a:cubicBezTo>
                      <a:pt x="1190" y="1192"/>
                      <a:pt x="1190" y="1192"/>
                      <a:pt x="1190" y="1192"/>
                    </a:cubicBezTo>
                    <a:cubicBezTo>
                      <a:pt x="89" y="2293"/>
                      <a:pt x="89" y="2293"/>
                      <a:pt x="89" y="2293"/>
                    </a:cubicBezTo>
                    <a:cubicBezTo>
                      <a:pt x="0" y="2381"/>
                      <a:pt x="0" y="2524"/>
                      <a:pt x="89" y="2612"/>
                    </a:cubicBezTo>
                    <a:cubicBezTo>
                      <a:pt x="133" y="2656"/>
                      <a:pt x="191" y="2678"/>
                      <a:pt x="248" y="2678"/>
                    </a:cubicBezTo>
                    <a:cubicBezTo>
                      <a:pt x="306" y="2678"/>
                      <a:pt x="364" y="2656"/>
                      <a:pt x="408" y="2612"/>
                    </a:cubicBezTo>
                    <a:cubicBezTo>
                      <a:pt x="1509" y="1511"/>
                      <a:pt x="1509" y="1511"/>
                      <a:pt x="1509" y="1511"/>
                    </a:cubicBezTo>
                    <a:cubicBezTo>
                      <a:pt x="1783" y="1237"/>
                      <a:pt x="1783" y="1237"/>
                      <a:pt x="1783" y="1237"/>
                    </a:cubicBezTo>
                    <a:cubicBezTo>
                      <a:pt x="1862" y="1289"/>
                      <a:pt x="1952" y="1315"/>
                      <a:pt x="2043" y="1315"/>
                    </a:cubicBezTo>
                    <a:cubicBezTo>
                      <a:pt x="2163" y="1315"/>
                      <a:pt x="2283" y="1270"/>
                      <a:pt x="2375" y="1178"/>
                    </a:cubicBezTo>
                    <a:cubicBezTo>
                      <a:pt x="2563" y="990"/>
                      <a:pt x="2563" y="990"/>
                      <a:pt x="2563" y="990"/>
                    </a:cubicBezTo>
                    <a:cubicBezTo>
                      <a:pt x="2724" y="829"/>
                      <a:pt x="2744" y="580"/>
                      <a:pt x="2622" y="398"/>
                    </a:cubicBezTo>
                    <a:lnTo>
                      <a:pt x="2203" y="817"/>
                    </a:lnTo>
                    <a:close/>
                    <a:moveTo>
                      <a:pt x="328" y="2532"/>
                    </a:moveTo>
                    <a:cubicBezTo>
                      <a:pt x="306" y="2554"/>
                      <a:pt x="277" y="2565"/>
                      <a:pt x="248" y="2565"/>
                    </a:cubicBezTo>
                    <a:cubicBezTo>
                      <a:pt x="220" y="2565"/>
                      <a:pt x="191" y="2554"/>
                      <a:pt x="169" y="2532"/>
                    </a:cubicBezTo>
                    <a:cubicBezTo>
                      <a:pt x="124" y="2488"/>
                      <a:pt x="124" y="2417"/>
                      <a:pt x="169" y="2373"/>
                    </a:cubicBezTo>
                    <a:cubicBezTo>
                      <a:pt x="191" y="2350"/>
                      <a:pt x="220" y="2339"/>
                      <a:pt x="248" y="2339"/>
                    </a:cubicBezTo>
                    <a:cubicBezTo>
                      <a:pt x="277" y="2339"/>
                      <a:pt x="306" y="2350"/>
                      <a:pt x="328" y="2373"/>
                    </a:cubicBezTo>
                    <a:cubicBezTo>
                      <a:pt x="372" y="2417"/>
                      <a:pt x="372" y="2488"/>
                      <a:pt x="328" y="253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6777331" y="1879200"/>
            <a:ext cx="1220202" cy="1220199"/>
            <a:chOff x="6777331" y="1832293"/>
            <a:chExt cx="1220202" cy="1220199"/>
          </a:xfrm>
        </p:grpSpPr>
        <p:sp>
          <p:nvSpPr>
            <p:cNvPr id="31" name="Oval 30"/>
            <p:cNvSpPr/>
            <p:nvPr/>
          </p:nvSpPr>
          <p:spPr>
            <a:xfrm>
              <a:off x="6777331"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 name="Group 5"/>
            <p:cNvGrpSpPr>
              <a:grpSpLocks noChangeAspect="1"/>
            </p:cNvGrpSpPr>
            <p:nvPr/>
          </p:nvGrpSpPr>
          <p:grpSpPr bwMode="auto">
            <a:xfrm>
              <a:off x="7015798" y="2067579"/>
              <a:ext cx="756602" cy="649317"/>
              <a:chOff x="2407" y="1754"/>
              <a:chExt cx="945" cy="811"/>
            </a:xfrm>
            <a:solidFill>
              <a:schemeClr val="accent1"/>
            </a:solidFill>
          </p:grpSpPr>
          <p:sp>
            <p:nvSpPr>
              <p:cNvPr id="7" name="Freeform 6"/>
              <p:cNvSpPr>
                <a:spLocks/>
              </p:cNvSpPr>
              <p:nvPr/>
            </p:nvSpPr>
            <p:spPr bwMode="auto">
              <a:xfrm>
                <a:off x="2740" y="1754"/>
                <a:ext cx="283" cy="130"/>
              </a:xfrm>
              <a:custGeom>
                <a:avLst/>
                <a:gdLst>
                  <a:gd name="T0" fmla="*/ 24 w 120"/>
                  <a:gd name="T1" fmla="*/ 24 h 55"/>
                  <a:gd name="T2" fmla="*/ 96 w 120"/>
                  <a:gd name="T3" fmla="*/ 24 h 55"/>
                  <a:gd name="T4" fmla="*/ 96 w 120"/>
                  <a:gd name="T5" fmla="*/ 55 h 55"/>
                  <a:gd name="T6" fmla="*/ 120 w 120"/>
                  <a:gd name="T7" fmla="*/ 55 h 55"/>
                  <a:gd name="T8" fmla="*/ 120 w 120"/>
                  <a:gd name="T9" fmla="*/ 16 h 55"/>
                  <a:gd name="T10" fmla="*/ 104 w 120"/>
                  <a:gd name="T11" fmla="*/ 0 h 55"/>
                  <a:gd name="T12" fmla="*/ 16 w 120"/>
                  <a:gd name="T13" fmla="*/ 0 h 55"/>
                  <a:gd name="T14" fmla="*/ 0 w 120"/>
                  <a:gd name="T15" fmla="*/ 16 h 55"/>
                  <a:gd name="T16" fmla="*/ 0 w 120"/>
                  <a:gd name="T17" fmla="*/ 55 h 55"/>
                  <a:gd name="T18" fmla="*/ 24 w 120"/>
                  <a:gd name="T19" fmla="*/ 55 h 55"/>
                  <a:gd name="T20" fmla="*/ 24 w 120"/>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55">
                    <a:moveTo>
                      <a:pt x="24" y="24"/>
                    </a:moveTo>
                    <a:cubicBezTo>
                      <a:pt x="96" y="24"/>
                      <a:pt x="96" y="24"/>
                      <a:pt x="96" y="24"/>
                    </a:cubicBezTo>
                    <a:cubicBezTo>
                      <a:pt x="96" y="55"/>
                      <a:pt x="96" y="55"/>
                      <a:pt x="96" y="55"/>
                    </a:cubicBezTo>
                    <a:cubicBezTo>
                      <a:pt x="120" y="55"/>
                      <a:pt x="120" y="55"/>
                      <a:pt x="120" y="55"/>
                    </a:cubicBezTo>
                    <a:cubicBezTo>
                      <a:pt x="120" y="16"/>
                      <a:pt x="120" y="16"/>
                      <a:pt x="120" y="16"/>
                    </a:cubicBezTo>
                    <a:cubicBezTo>
                      <a:pt x="120" y="7"/>
                      <a:pt x="113" y="0"/>
                      <a:pt x="104" y="0"/>
                    </a:cubicBezTo>
                    <a:cubicBezTo>
                      <a:pt x="16" y="0"/>
                      <a:pt x="16" y="0"/>
                      <a:pt x="16" y="0"/>
                    </a:cubicBezTo>
                    <a:cubicBezTo>
                      <a:pt x="7" y="0"/>
                      <a:pt x="0" y="7"/>
                      <a:pt x="0" y="16"/>
                    </a:cubicBezTo>
                    <a:cubicBezTo>
                      <a:pt x="0" y="55"/>
                      <a:pt x="0" y="55"/>
                      <a:pt x="0" y="55"/>
                    </a:cubicBezTo>
                    <a:cubicBezTo>
                      <a:pt x="24" y="55"/>
                      <a:pt x="24" y="55"/>
                      <a:pt x="24" y="55"/>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2691" y="2432"/>
                <a:ext cx="44" cy="40"/>
              </a:xfrm>
              <a:custGeom>
                <a:avLst/>
                <a:gdLst>
                  <a:gd name="T0" fmla="*/ 9 w 19"/>
                  <a:gd name="T1" fmla="*/ 0 h 17"/>
                  <a:gd name="T2" fmla="*/ 3 w 19"/>
                  <a:gd name="T3" fmla="*/ 2 h 17"/>
                  <a:gd name="T4" fmla="*/ 3 w 19"/>
                  <a:gd name="T5" fmla="*/ 14 h 17"/>
                  <a:gd name="T6" fmla="*/ 9 w 19"/>
                  <a:gd name="T7" fmla="*/ 17 h 17"/>
                  <a:gd name="T8" fmla="*/ 15 w 19"/>
                  <a:gd name="T9" fmla="*/ 14 h 17"/>
                  <a:gd name="T10" fmla="*/ 15 w 19"/>
                  <a:gd name="T11" fmla="*/ 2 h 17"/>
                  <a:gd name="T12" fmla="*/ 9 w 1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9" h="17">
                    <a:moveTo>
                      <a:pt x="9" y="0"/>
                    </a:moveTo>
                    <a:cubicBezTo>
                      <a:pt x="7" y="0"/>
                      <a:pt x="5" y="1"/>
                      <a:pt x="3" y="2"/>
                    </a:cubicBezTo>
                    <a:cubicBezTo>
                      <a:pt x="0" y="6"/>
                      <a:pt x="0" y="11"/>
                      <a:pt x="3" y="14"/>
                    </a:cubicBezTo>
                    <a:cubicBezTo>
                      <a:pt x="5" y="16"/>
                      <a:pt x="7" y="17"/>
                      <a:pt x="9" y="17"/>
                    </a:cubicBezTo>
                    <a:cubicBezTo>
                      <a:pt x="12" y="17"/>
                      <a:pt x="14" y="16"/>
                      <a:pt x="15" y="14"/>
                    </a:cubicBezTo>
                    <a:cubicBezTo>
                      <a:pt x="19" y="11"/>
                      <a:pt x="19" y="6"/>
                      <a:pt x="15" y="2"/>
                    </a:cubicBezTo>
                    <a:cubicBezTo>
                      <a:pt x="14" y="1"/>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auto">
              <a:xfrm>
                <a:off x="2407" y="1941"/>
                <a:ext cx="945" cy="624"/>
              </a:xfrm>
              <a:custGeom>
                <a:avLst/>
                <a:gdLst>
                  <a:gd name="T0" fmla="*/ 32 w 400"/>
                  <a:gd name="T1" fmla="*/ 0 h 264"/>
                  <a:gd name="T2" fmla="*/ 0 w 400"/>
                  <a:gd name="T3" fmla="*/ 80 h 264"/>
                  <a:gd name="T4" fmla="*/ 0 w 400"/>
                  <a:gd name="T5" fmla="*/ 121 h 264"/>
                  <a:gd name="T6" fmla="*/ 32 w 400"/>
                  <a:gd name="T7" fmla="*/ 264 h 264"/>
                  <a:gd name="T8" fmla="*/ 240 w 400"/>
                  <a:gd name="T9" fmla="*/ 264 h 264"/>
                  <a:gd name="T10" fmla="*/ 336 w 400"/>
                  <a:gd name="T11" fmla="*/ 264 h 264"/>
                  <a:gd name="T12" fmla="*/ 400 w 400"/>
                  <a:gd name="T13" fmla="*/ 232 h 264"/>
                  <a:gd name="T14" fmla="*/ 400 w 400"/>
                  <a:gd name="T15" fmla="*/ 97 h 264"/>
                  <a:gd name="T16" fmla="*/ 400 w 400"/>
                  <a:gd name="T17" fmla="*/ 32 h 264"/>
                  <a:gd name="T18" fmla="*/ 104 w 400"/>
                  <a:gd name="T19" fmla="*/ 145 h 264"/>
                  <a:gd name="T20" fmla="*/ 79 w 400"/>
                  <a:gd name="T21" fmla="*/ 109 h 264"/>
                  <a:gd name="T22" fmla="*/ 98 w 400"/>
                  <a:gd name="T23" fmla="*/ 100 h 264"/>
                  <a:gd name="T24" fmla="*/ 102 w 400"/>
                  <a:gd name="T25" fmla="*/ 96 h 264"/>
                  <a:gd name="T26" fmla="*/ 151 w 400"/>
                  <a:gd name="T27" fmla="*/ 38 h 264"/>
                  <a:gd name="T28" fmla="*/ 198 w 400"/>
                  <a:gd name="T29" fmla="*/ 34 h 264"/>
                  <a:gd name="T30" fmla="*/ 175 w 400"/>
                  <a:gd name="T31" fmla="*/ 62 h 264"/>
                  <a:gd name="T32" fmla="*/ 168 w 400"/>
                  <a:gd name="T33" fmla="*/ 90 h 264"/>
                  <a:gd name="T34" fmla="*/ 173 w 400"/>
                  <a:gd name="T35" fmla="*/ 137 h 264"/>
                  <a:gd name="T36" fmla="*/ 132 w 400"/>
                  <a:gd name="T37" fmla="*/ 126 h 264"/>
                  <a:gd name="T38" fmla="*/ 123 w 400"/>
                  <a:gd name="T39" fmla="*/ 125 h 264"/>
                  <a:gd name="T40" fmla="*/ 123 w 400"/>
                  <a:gd name="T41" fmla="*/ 135 h 264"/>
                  <a:gd name="T42" fmla="*/ 104 w 400"/>
                  <a:gd name="T43" fmla="*/ 145 h 264"/>
                  <a:gd name="T44" fmla="*/ 263 w 400"/>
                  <a:gd name="T45" fmla="*/ 233 h 264"/>
                  <a:gd name="T46" fmla="*/ 205 w 400"/>
                  <a:gd name="T47" fmla="*/ 178 h 264"/>
                  <a:gd name="T48" fmla="*/ 236 w 400"/>
                  <a:gd name="T49" fmla="*/ 147 h 264"/>
                  <a:gd name="T50" fmla="*/ 290 w 400"/>
                  <a:gd name="T51" fmla="*/ 205 h 264"/>
                  <a:gd name="T52" fmla="*/ 292 w 400"/>
                  <a:gd name="T53" fmla="*/ 119 h 264"/>
                  <a:gd name="T54" fmla="*/ 246 w 400"/>
                  <a:gd name="T55" fmla="*/ 124 h 264"/>
                  <a:gd name="T56" fmla="*/ 142 w 400"/>
                  <a:gd name="T57" fmla="*/ 229 h 264"/>
                  <a:gd name="T58" fmla="*/ 117 w 400"/>
                  <a:gd name="T59" fmla="*/ 229 h 264"/>
                  <a:gd name="T60" fmla="*/ 201 w 400"/>
                  <a:gd name="T61" fmla="*/ 120 h 264"/>
                  <a:gd name="T62" fmla="*/ 227 w 400"/>
                  <a:gd name="T63" fmla="*/ 54 h 264"/>
                  <a:gd name="T64" fmla="*/ 266 w 400"/>
                  <a:gd name="T65" fmla="*/ 30 h 264"/>
                  <a:gd name="T66" fmla="*/ 254 w 400"/>
                  <a:gd name="T67" fmla="*/ 68 h 264"/>
                  <a:gd name="T68" fmla="*/ 310 w 400"/>
                  <a:gd name="T69" fmla="*/ 6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0" h="264">
                    <a:moveTo>
                      <a:pt x="368" y="0"/>
                    </a:moveTo>
                    <a:cubicBezTo>
                      <a:pt x="32" y="0"/>
                      <a:pt x="32" y="0"/>
                      <a:pt x="32" y="0"/>
                    </a:cubicBezTo>
                    <a:cubicBezTo>
                      <a:pt x="15" y="0"/>
                      <a:pt x="0" y="14"/>
                      <a:pt x="0" y="32"/>
                    </a:cubicBezTo>
                    <a:cubicBezTo>
                      <a:pt x="0" y="80"/>
                      <a:pt x="0" y="80"/>
                      <a:pt x="0" y="80"/>
                    </a:cubicBezTo>
                    <a:cubicBezTo>
                      <a:pt x="0" y="97"/>
                      <a:pt x="0" y="97"/>
                      <a:pt x="0" y="97"/>
                    </a:cubicBezTo>
                    <a:cubicBezTo>
                      <a:pt x="0" y="121"/>
                      <a:pt x="0" y="121"/>
                      <a:pt x="0" y="121"/>
                    </a:cubicBezTo>
                    <a:cubicBezTo>
                      <a:pt x="0" y="232"/>
                      <a:pt x="0" y="232"/>
                      <a:pt x="0" y="232"/>
                    </a:cubicBezTo>
                    <a:cubicBezTo>
                      <a:pt x="0" y="249"/>
                      <a:pt x="15" y="264"/>
                      <a:pt x="32" y="264"/>
                    </a:cubicBezTo>
                    <a:cubicBezTo>
                      <a:pt x="134" y="264"/>
                      <a:pt x="134" y="264"/>
                      <a:pt x="134" y="264"/>
                    </a:cubicBezTo>
                    <a:cubicBezTo>
                      <a:pt x="240" y="264"/>
                      <a:pt x="240" y="264"/>
                      <a:pt x="240" y="264"/>
                    </a:cubicBezTo>
                    <a:cubicBezTo>
                      <a:pt x="302" y="264"/>
                      <a:pt x="302" y="264"/>
                      <a:pt x="302" y="264"/>
                    </a:cubicBezTo>
                    <a:cubicBezTo>
                      <a:pt x="336" y="264"/>
                      <a:pt x="336" y="264"/>
                      <a:pt x="336" y="264"/>
                    </a:cubicBezTo>
                    <a:cubicBezTo>
                      <a:pt x="368" y="264"/>
                      <a:pt x="368" y="264"/>
                      <a:pt x="368" y="264"/>
                    </a:cubicBezTo>
                    <a:cubicBezTo>
                      <a:pt x="386" y="264"/>
                      <a:pt x="400" y="249"/>
                      <a:pt x="400" y="232"/>
                    </a:cubicBezTo>
                    <a:cubicBezTo>
                      <a:pt x="400" y="121"/>
                      <a:pt x="400" y="121"/>
                      <a:pt x="400" y="121"/>
                    </a:cubicBezTo>
                    <a:cubicBezTo>
                      <a:pt x="400" y="97"/>
                      <a:pt x="400" y="97"/>
                      <a:pt x="400" y="97"/>
                    </a:cubicBezTo>
                    <a:cubicBezTo>
                      <a:pt x="400" y="80"/>
                      <a:pt x="400" y="80"/>
                      <a:pt x="400" y="80"/>
                    </a:cubicBezTo>
                    <a:cubicBezTo>
                      <a:pt x="400" y="32"/>
                      <a:pt x="400" y="32"/>
                      <a:pt x="400" y="32"/>
                    </a:cubicBezTo>
                    <a:cubicBezTo>
                      <a:pt x="400" y="14"/>
                      <a:pt x="386" y="0"/>
                      <a:pt x="368" y="0"/>
                    </a:cubicBezTo>
                    <a:close/>
                    <a:moveTo>
                      <a:pt x="104" y="145"/>
                    </a:moveTo>
                    <a:cubicBezTo>
                      <a:pt x="104" y="145"/>
                      <a:pt x="104" y="145"/>
                      <a:pt x="78" y="119"/>
                    </a:cubicBezTo>
                    <a:cubicBezTo>
                      <a:pt x="76" y="116"/>
                      <a:pt x="76" y="112"/>
                      <a:pt x="79" y="109"/>
                    </a:cubicBezTo>
                    <a:cubicBezTo>
                      <a:pt x="79" y="109"/>
                      <a:pt x="79" y="109"/>
                      <a:pt x="88" y="100"/>
                    </a:cubicBezTo>
                    <a:cubicBezTo>
                      <a:pt x="91" y="97"/>
                      <a:pt x="95" y="97"/>
                      <a:pt x="98" y="100"/>
                    </a:cubicBezTo>
                    <a:cubicBezTo>
                      <a:pt x="98" y="100"/>
                      <a:pt x="98" y="100"/>
                      <a:pt x="98" y="100"/>
                    </a:cubicBezTo>
                    <a:cubicBezTo>
                      <a:pt x="98" y="100"/>
                      <a:pt x="98" y="100"/>
                      <a:pt x="102" y="96"/>
                    </a:cubicBezTo>
                    <a:cubicBezTo>
                      <a:pt x="102" y="96"/>
                      <a:pt x="102" y="96"/>
                      <a:pt x="97" y="91"/>
                    </a:cubicBezTo>
                    <a:cubicBezTo>
                      <a:pt x="97" y="91"/>
                      <a:pt x="97" y="91"/>
                      <a:pt x="151" y="38"/>
                    </a:cubicBezTo>
                    <a:cubicBezTo>
                      <a:pt x="151" y="38"/>
                      <a:pt x="151" y="38"/>
                      <a:pt x="154" y="41"/>
                    </a:cubicBezTo>
                    <a:cubicBezTo>
                      <a:pt x="174" y="28"/>
                      <a:pt x="190" y="25"/>
                      <a:pt x="198" y="34"/>
                    </a:cubicBezTo>
                    <a:cubicBezTo>
                      <a:pt x="198" y="34"/>
                      <a:pt x="198" y="34"/>
                      <a:pt x="201" y="36"/>
                    </a:cubicBezTo>
                    <a:cubicBezTo>
                      <a:pt x="201" y="36"/>
                      <a:pt x="201" y="36"/>
                      <a:pt x="175" y="62"/>
                    </a:cubicBezTo>
                    <a:cubicBezTo>
                      <a:pt x="175" y="62"/>
                      <a:pt x="175" y="62"/>
                      <a:pt x="185" y="72"/>
                    </a:cubicBezTo>
                    <a:cubicBezTo>
                      <a:pt x="185" y="72"/>
                      <a:pt x="185" y="72"/>
                      <a:pt x="168" y="90"/>
                    </a:cubicBezTo>
                    <a:cubicBezTo>
                      <a:pt x="194" y="115"/>
                      <a:pt x="194" y="115"/>
                      <a:pt x="194" y="115"/>
                    </a:cubicBezTo>
                    <a:cubicBezTo>
                      <a:pt x="194" y="115"/>
                      <a:pt x="194" y="115"/>
                      <a:pt x="173" y="137"/>
                    </a:cubicBezTo>
                    <a:cubicBezTo>
                      <a:pt x="173" y="137"/>
                      <a:pt x="173" y="137"/>
                      <a:pt x="147" y="111"/>
                    </a:cubicBezTo>
                    <a:cubicBezTo>
                      <a:pt x="147" y="111"/>
                      <a:pt x="147" y="111"/>
                      <a:pt x="132" y="126"/>
                    </a:cubicBezTo>
                    <a:cubicBezTo>
                      <a:pt x="132" y="126"/>
                      <a:pt x="132" y="126"/>
                      <a:pt x="127" y="121"/>
                    </a:cubicBezTo>
                    <a:cubicBezTo>
                      <a:pt x="127" y="121"/>
                      <a:pt x="127" y="121"/>
                      <a:pt x="123" y="125"/>
                    </a:cubicBezTo>
                    <a:cubicBezTo>
                      <a:pt x="123" y="125"/>
                      <a:pt x="123" y="125"/>
                      <a:pt x="123" y="126"/>
                    </a:cubicBezTo>
                    <a:cubicBezTo>
                      <a:pt x="126" y="128"/>
                      <a:pt x="126" y="132"/>
                      <a:pt x="123" y="135"/>
                    </a:cubicBezTo>
                    <a:cubicBezTo>
                      <a:pt x="123" y="135"/>
                      <a:pt x="123" y="135"/>
                      <a:pt x="114" y="144"/>
                    </a:cubicBezTo>
                    <a:cubicBezTo>
                      <a:pt x="111" y="147"/>
                      <a:pt x="107" y="147"/>
                      <a:pt x="104" y="145"/>
                    </a:cubicBezTo>
                    <a:close/>
                    <a:moveTo>
                      <a:pt x="290" y="205"/>
                    </a:moveTo>
                    <a:cubicBezTo>
                      <a:pt x="290" y="205"/>
                      <a:pt x="290" y="205"/>
                      <a:pt x="263" y="233"/>
                    </a:cubicBezTo>
                    <a:cubicBezTo>
                      <a:pt x="261" y="235"/>
                      <a:pt x="258" y="235"/>
                      <a:pt x="257" y="234"/>
                    </a:cubicBezTo>
                    <a:cubicBezTo>
                      <a:pt x="257" y="234"/>
                      <a:pt x="257" y="234"/>
                      <a:pt x="205" y="178"/>
                    </a:cubicBezTo>
                    <a:cubicBezTo>
                      <a:pt x="232" y="151"/>
                      <a:pt x="232" y="151"/>
                      <a:pt x="232" y="151"/>
                    </a:cubicBezTo>
                    <a:cubicBezTo>
                      <a:pt x="232" y="151"/>
                      <a:pt x="232" y="151"/>
                      <a:pt x="236" y="147"/>
                    </a:cubicBezTo>
                    <a:cubicBezTo>
                      <a:pt x="236" y="147"/>
                      <a:pt x="236" y="147"/>
                      <a:pt x="291" y="199"/>
                    </a:cubicBezTo>
                    <a:cubicBezTo>
                      <a:pt x="292" y="200"/>
                      <a:pt x="292" y="203"/>
                      <a:pt x="290" y="205"/>
                    </a:cubicBezTo>
                    <a:close/>
                    <a:moveTo>
                      <a:pt x="306" y="105"/>
                    </a:moveTo>
                    <a:cubicBezTo>
                      <a:pt x="306" y="105"/>
                      <a:pt x="306" y="105"/>
                      <a:pt x="292" y="119"/>
                    </a:cubicBezTo>
                    <a:cubicBezTo>
                      <a:pt x="285" y="126"/>
                      <a:pt x="275" y="130"/>
                      <a:pt x="266" y="130"/>
                    </a:cubicBezTo>
                    <a:cubicBezTo>
                      <a:pt x="259" y="130"/>
                      <a:pt x="252" y="128"/>
                      <a:pt x="246" y="124"/>
                    </a:cubicBezTo>
                    <a:cubicBezTo>
                      <a:pt x="246" y="124"/>
                      <a:pt x="246" y="124"/>
                      <a:pt x="226" y="145"/>
                    </a:cubicBezTo>
                    <a:cubicBezTo>
                      <a:pt x="226" y="145"/>
                      <a:pt x="226" y="145"/>
                      <a:pt x="142" y="229"/>
                    </a:cubicBezTo>
                    <a:cubicBezTo>
                      <a:pt x="138" y="232"/>
                      <a:pt x="134" y="234"/>
                      <a:pt x="129" y="234"/>
                    </a:cubicBezTo>
                    <a:cubicBezTo>
                      <a:pt x="125" y="234"/>
                      <a:pt x="121" y="232"/>
                      <a:pt x="117" y="229"/>
                    </a:cubicBezTo>
                    <a:cubicBezTo>
                      <a:pt x="110" y="222"/>
                      <a:pt x="110" y="211"/>
                      <a:pt x="117" y="204"/>
                    </a:cubicBezTo>
                    <a:cubicBezTo>
                      <a:pt x="117" y="204"/>
                      <a:pt x="117" y="204"/>
                      <a:pt x="201" y="120"/>
                    </a:cubicBezTo>
                    <a:cubicBezTo>
                      <a:pt x="201" y="120"/>
                      <a:pt x="201" y="120"/>
                      <a:pt x="222" y="100"/>
                    </a:cubicBezTo>
                    <a:cubicBezTo>
                      <a:pt x="213" y="86"/>
                      <a:pt x="214" y="67"/>
                      <a:pt x="227" y="54"/>
                    </a:cubicBezTo>
                    <a:cubicBezTo>
                      <a:pt x="227" y="54"/>
                      <a:pt x="227" y="54"/>
                      <a:pt x="241" y="40"/>
                    </a:cubicBezTo>
                    <a:cubicBezTo>
                      <a:pt x="248" y="33"/>
                      <a:pt x="257" y="30"/>
                      <a:pt x="266" y="30"/>
                    </a:cubicBezTo>
                    <a:cubicBezTo>
                      <a:pt x="273" y="30"/>
                      <a:pt x="280" y="32"/>
                      <a:pt x="286" y="36"/>
                    </a:cubicBezTo>
                    <a:cubicBezTo>
                      <a:pt x="286" y="36"/>
                      <a:pt x="286" y="36"/>
                      <a:pt x="254" y="68"/>
                    </a:cubicBezTo>
                    <a:cubicBezTo>
                      <a:pt x="254" y="68"/>
                      <a:pt x="254" y="68"/>
                      <a:pt x="278" y="92"/>
                    </a:cubicBezTo>
                    <a:cubicBezTo>
                      <a:pt x="310" y="60"/>
                      <a:pt x="310" y="60"/>
                      <a:pt x="310" y="60"/>
                    </a:cubicBezTo>
                    <a:cubicBezTo>
                      <a:pt x="320" y="74"/>
                      <a:pt x="318" y="93"/>
                      <a:pt x="30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p:cNvGrpSpPr/>
          <p:nvPr/>
        </p:nvGrpSpPr>
        <p:grpSpPr>
          <a:xfrm>
            <a:off x="1153968" y="1879200"/>
            <a:ext cx="1220202" cy="1220199"/>
            <a:chOff x="1153968" y="1832293"/>
            <a:chExt cx="1220202" cy="1220199"/>
          </a:xfrm>
        </p:grpSpPr>
        <p:sp>
          <p:nvSpPr>
            <p:cNvPr id="41" name="Oval 40"/>
            <p:cNvSpPr/>
            <p:nvPr/>
          </p:nvSpPr>
          <p:spPr>
            <a:xfrm>
              <a:off x="1153968"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reeform 13"/>
            <p:cNvSpPr>
              <a:spLocks noEditPoints="1"/>
            </p:cNvSpPr>
            <p:nvPr/>
          </p:nvSpPr>
          <p:spPr bwMode="auto">
            <a:xfrm>
              <a:off x="1354480" y="2032771"/>
              <a:ext cx="819179" cy="819243"/>
            </a:xfrm>
            <a:custGeom>
              <a:avLst/>
              <a:gdLst>
                <a:gd name="T0" fmla="*/ 10873 w 10935"/>
                <a:gd name="T1" fmla="*/ 4636 h 10936"/>
                <a:gd name="T2" fmla="*/ 5468 w 10935"/>
                <a:gd name="T3" fmla="*/ 0 h 10936"/>
                <a:gd name="T4" fmla="*/ 2556 w 10935"/>
                <a:gd name="T5" fmla="*/ 839 h 10936"/>
                <a:gd name="T6" fmla="*/ 0 w 10935"/>
                <a:gd name="T7" fmla="*/ 5468 h 10936"/>
                <a:gd name="T8" fmla="*/ 5468 w 10935"/>
                <a:gd name="T9" fmla="*/ 10936 h 10936"/>
                <a:gd name="T10" fmla="*/ 10935 w 10935"/>
                <a:gd name="T11" fmla="*/ 5468 h 10936"/>
                <a:gd name="T12" fmla="*/ 10873 w 10935"/>
                <a:gd name="T13" fmla="*/ 4636 h 10936"/>
                <a:gd name="T14" fmla="*/ 1182 w 10935"/>
                <a:gd name="T15" fmla="*/ 6048 h 10936"/>
                <a:gd name="T16" fmla="*/ 1306 w 10935"/>
                <a:gd name="T17" fmla="*/ 4433 h 10936"/>
                <a:gd name="T18" fmla="*/ 2297 w 10935"/>
                <a:gd name="T19" fmla="*/ 2629 h 10936"/>
                <a:gd name="T20" fmla="*/ 3323 w 10935"/>
                <a:gd name="T21" fmla="*/ 1809 h 10936"/>
                <a:gd name="T22" fmla="*/ 5456 w 10935"/>
                <a:gd name="T23" fmla="*/ 1228 h 10936"/>
                <a:gd name="T24" fmla="*/ 5460 w 10935"/>
                <a:gd name="T25" fmla="*/ 1228 h 10936"/>
                <a:gd name="T26" fmla="*/ 6558 w 10935"/>
                <a:gd name="T27" fmla="*/ 2399 h 10936"/>
                <a:gd name="T28" fmla="*/ 5454 w 10935"/>
                <a:gd name="T29" fmla="*/ 3576 h 10936"/>
                <a:gd name="T30" fmla="*/ 5454 w 10935"/>
                <a:gd name="T31" fmla="*/ 3576 h 10936"/>
                <a:gd name="T32" fmla="*/ 4073 w 10935"/>
                <a:gd name="T33" fmla="*/ 4168 h 10936"/>
                <a:gd name="T34" fmla="*/ 3737 w 10935"/>
                <a:gd name="T35" fmla="*/ 4624 h 10936"/>
                <a:gd name="T36" fmla="*/ 3503 w 10935"/>
                <a:gd name="T37" fmla="*/ 5561 h 10936"/>
                <a:gd name="T38" fmla="*/ 3667 w 10935"/>
                <a:gd name="T39" fmla="*/ 6350 h 10936"/>
                <a:gd name="T40" fmla="*/ 2187 w 10935"/>
                <a:gd name="T41" fmla="*/ 5993 h 10936"/>
                <a:gd name="T42" fmla="*/ 2131 w 10935"/>
                <a:gd name="T43" fmla="*/ 5979 h 10936"/>
                <a:gd name="T44" fmla="*/ 2095 w 10935"/>
                <a:gd name="T45" fmla="*/ 5971 h 10936"/>
                <a:gd name="T46" fmla="*/ 2084 w 10935"/>
                <a:gd name="T47" fmla="*/ 6006 h 10936"/>
                <a:gd name="T48" fmla="*/ 2066 w 10935"/>
                <a:gd name="T49" fmla="*/ 6061 h 10936"/>
                <a:gd name="T50" fmla="*/ 1618 w 10935"/>
                <a:gd name="T51" fmla="*/ 7505 h 10936"/>
                <a:gd name="T52" fmla="*/ 1182 w 10935"/>
                <a:gd name="T53" fmla="*/ 6048 h 10936"/>
                <a:gd name="T54" fmla="*/ 7613 w 10935"/>
                <a:gd name="T55" fmla="*/ 9336 h 10936"/>
                <a:gd name="T56" fmla="*/ 5485 w 10935"/>
                <a:gd name="T57" fmla="*/ 9893 h 10936"/>
                <a:gd name="T58" fmla="*/ 3323 w 10935"/>
                <a:gd name="T59" fmla="*/ 9312 h 10936"/>
                <a:gd name="T60" fmla="*/ 1753 w 10935"/>
                <a:gd name="T61" fmla="*/ 7753 h 10936"/>
                <a:gd name="T62" fmla="*/ 2232 w 10935"/>
                <a:gd name="T63" fmla="*/ 6212 h 10936"/>
                <a:gd name="T64" fmla="*/ 3790 w 10935"/>
                <a:gd name="T65" fmla="*/ 6588 h 10936"/>
                <a:gd name="T66" fmla="*/ 3794 w 10935"/>
                <a:gd name="T67" fmla="*/ 6596 h 10936"/>
                <a:gd name="T68" fmla="*/ 4503 w 10935"/>
                <a:gd name="T69" fmla="*/ 7284 h 10936"/>
                <a:gd name="T70" fmla="*/ 5489 w 10935"/>
                <a:gd name="T71" fmla="*/ 7546 h 10936"/>
                <a:gd name="T72" fmla="*/ 6495 w 10935"/>
                <a:gd name="T73" fmla="*/ 7272 h 10936"/>
                <a:gd name="T74" fmla="*/ 7087 w 10935"/>
                <a:gd name="T75" fmla="*/ 6739 h 10936"/>
                <a:gd name="T76" fmla="*/ 7522 w 10935"/>
                <a:gd name="T77" fmla="*/ 8212 h 10936"/>
                <a:gd name="T78" fmla="*/ 7538 w 10935"/>
                <a:gd name="T79" fmla="*/ 8267 h 10936"/>
                <a:gd name="T80" fmla="*/ 7548 w 10935"/>
                <a:gd name="T81" fmla="*/ 8303 h 10936"/>
                <a:gd name="T82" fmla="*/ 7585 w 10935"/>
                <a:gd name="T83" fmla="*/ 8295 h 10936"/>
                <a:gd name="T84" fmla="*/ 7641 w 10935"/>
                <a:gd name="T85" fmla="*/ 8282 h 10936"/>
                <a:gd name="T86" fmla="*/ 9101 w 10935"/>
                <a:gd name="T87" fmla="*/ 7951 h 10936"/>
                <a:gd name="T88" fmla="*/ 7613 w 10935"/>
                <a:gd name="T89" fmla="*/ 9336 h 10936"/>
                <a:gd name="T90" fmla="*/ 9253 w 10935"/>
                <a:gd name="T91" fmla="*/ 7705 h 10936"/>
                <a:gd name="T92" fmla="*/ 9250 w 10935"/>
                <a:gd name="T93" fmla="*/ 7710 h 10936"/>
                <a:gd name="T94" fmla="*/ 7689 w 10935"/>
                <a:gd name="T95" fmla="*/ 8063 h 10936"/>
                <a:gd name="T96" fmla="*/ 7231 w 10935"/>
                <a:gd name="T97" fmla="*/ 6512 h 10936"/>
                <a:gd name="T98" fmla="*/ 7369 w 10935"/>
                <a:gd name="T99" fmla="*/ 6198 h 10936"/>
                <a:gd name="T100" fmla="*/ 7474 w 10935"/>
                <a:gd name="T101" fmla="*/ 5561 h 10936"/>
                <a:gd name="T102" fmla="*/ 5719 w 10935"/>
                <a:gd name="T103" fmla="*/ 3589 h 10936"/>
                <a:gd name="T104" fmla="*/ 6770 w 10935"/>
                <a:gd name="T105" fmla="*/ 2468 h 10936"/>
                <a:gd name="T106" fmla="*/ 6810 w 10935"/>
                <a:gd name="T107" fmla="*/ 2426 h 10936"/>
                <a:gd name="T108" fmla="*/ 6835 w 10935"/>
                <a:gd name="T109" fmla="*/ 2399 h 10936"/>
                <a:gd name="T110" fmla="*/ 6810 w 10935"/>
                <a:gd name="T111" fmla="*/ 2372 h 10936"/>
                <a:gd name="T112" fmla="*/ 6770 w 10935"/>
                <a:gd name="T113" fmla="*/ 2329 h 10936"/>
                <a:gd name="T114" fmla="*/ 5745 w 10935"/>
                <a:gd name="T115" fmla="*/ 1236 h 10936"/>
                <a:gd name="T116" fmla="*/ 7222 w 10935"/>
                <a:gd name="T117" fmla="*/ 1588 h 10936"/>
                <a:gd name="T118" fmla="*/ 8557 w 10935"/>
                <a:gd name="T119" fmla="*/ 2502 h 10936"/>
                <a:gd name="T120" fmla="*/ 9821 w 10935"/>
                <a:gd name="T121" fmla="*/ 5560 h 10936"/>
                <a:gd name="T122" fmla="*/ 9803 w 10935"/>
                <a:gd name="T123" fmla="*/ 5977 h 10936"/>
                <a:gd name="T124" fmla="*/ 9253 w 10935"/>
                <a:gd name="T125" fmla="*/ 7705 h 10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35" h="10936">
                  <a:moveTo>
                    <a:pt x="10873" y="4636"/>
                  </a:moveTo>
                  <a:cubicBezTo>
                    <a:pt x="10472" y="2011"/>
                    <a:pt x="8205" y="0"/>
                    <a:pt x="5468" y="0"/>
                  </a:cubicBezTo>
                  <a:cubicBezTo>
                    <a:pt x="4397" y="0"/>
                    <a:pt x="3399" y="307"/>
                    <a:pt x="2556" y="839"/>
                  </a:cubicBezTo>
                  <a:cubicBezTo>
                    <a:pt x="1020" y="1807"/>
                    <a:pt x="0" y="3518"/>
                    <a:pt x="0" y="5468"/>
                  </a:cubicBezTo>
                  <a:cubicBezTo>
                    <a:pt x="0" y="8488"/>
                    <a:pt x="2448" y="10936"/>
                    <a:pt x="5468" y="10936"/>
                  </a:cubicBezTo>
                  <a:cubicBezTo>
                    <a:pt x="8487" y="10936"/>
                    <a:pt x="10935" y="8488"/>
                    <a:pt x="10935" y="5468"/>
                  </a:cubicBezTo>
                  <a:cubicBezTo>
                    <a:pt x="10935" y="5185"/>
                    <a:pt x="10914" y="4907"/>
                    <a:pt x="10873" y="4636"/>
                  </a:cubicBezTo>
                  <a:close/>
                  <a:moveTo>
                    <a:pt x="1182" y="6048"/>
                  </a:moveTo>
                  <a:cubicBezTo>
                    <a:pt x="1121" y="5508"/>
                    <a:pt x="1163" y="4965"/>
                    <a:pt x="1306" y="4433"/>
                  </a:cubicBezTo>
                  <a:cubicBezTo>
                    <a:pt x="1490" y="3750"/>
                    <a:pt x="1830" y="3135"/>
                    <a:pt x="2297" y="2629"/>
                  </a:cubicBezTo>
                  <a:cubicBezTo>
                    <a:pt x="2591" y="2309"/>
                    <a:pt x="2936" y="2032"/>
                    <a:pt x="3323" y="1809"/>
                  </a:cubicBezTo>
                  <a:cubicBezTo>
                    <a:pt x="4000" y="1418"/>
                    <a:pt x="4678" y="1233"/>
                    <a:pt x="5456" y="1228"/>
                  </a:cubicBezTo>
                  <a:cubicBezTo>
                    <a:pt x="5460" y="1228"/>
                    <a:pt x="5460" y="1228"/>
                    <a:pt x="5460" y="1228"/>
                  </a:cubicBezTo>
                  <a:cubicBezTo>
                    <a:pt x="6558" y="2399"/>
                    <a:pt x="6558" y="2399"/>
                    <a:pt x="6558" y="2399"/>
                  </a:cubicBezTo>
                  <a:cubicBezTo>
                    <a:pt x="5454" y="3576"/>
                    <a:pt x="5454" y="3576"/>
                    <a:pt x="5454" y="3576"/>
                  </a:cubicBezTo>
                  <a:cubicBezTo>
                    <a:pt x="5454" y="3576"/>
                    <a:pt x="5454" y="3576"/>
                    <a:pt x="5454" y="3576"/>
                  </a:cubicBezTo>
                  <a:cubicBezTo>
                    <a:pt x="4931" y="3585"/>
                    <a:pt x="4441" y="3795"/>
                    <a:pt x="4073" y="4168"/>
                  </a:cubicBezTo>
                  <a:cubicBezTo>
                    <a:pt x="3938" y="4306"/>
                    <a:pt x="3826" y="4459"/>
                    <a:pt x="3737" y="4624"/>
                  </a:cubicBezTo>
                  <a:cubicBezTo>
                    <a:pt x="3584" y="4909"/>
                    <a:pt x="3503" y="5229"/>
                    <a:pt x="3503" y="5561"/>
                  </a:cubicBezTo>
                  <a:cubicBezTo>
                    <a:pt x="3503" y="5831"/>
                    <a:pt x="3560" y="6102"/>
                    <a:pt x="3667" y="6350"/>
                  </a:cubicBezTo>
                  <a:cubicBezTo>
                    <a:pt x="2187" y="5993"/>
                    <a:pt x="2187" y="5993"/>
                    <a:pt x="2187" y="5993"/>
                  </a:cubicBezTo>
                  <a:cubicBezTo>
                    <a:pt x="2131" y="5979"/>
                    <a:pt x="2131" y="5979"/>
                    <a:pt x="2131" y="5979"/>
                  </a:cubicBezTo>
                  <a:cubicBezTo>
                    <a:pt x="2095" y="5971"/>
                    <a:pt x="2095" y="5971"/>
                    <a:pt x="2095" y="5971"/>
                  </a:cubicBezTo>
                  <a:cubicBezTo>
                    <a:pt x="2084" y="6006"/>
                    <a:pt x="2084" y="6006"/>
                    <a:pt x="2084" y="6006"/>
                  </a:cubicBezTo>
                  <a:cubicBezTo>
                    <a:pt x="2066" y="6061"/>
                    <a:pt x="2066" y="6061"/>
                    <a:pt x="2066" y="6061"/>
                  </a:cubicBezTo>
                  <a:cubicBezTo>
                    <a:pt x="1618" y="7505"/>
                    <a:pt x="1618" y="7505"/>
                    <a:pt x="1618" y="7505"/>
                  </a:cubicBezTo>
                  <a:cubicBezTo>
                    <a:pt x="1386" y="7045"/>
                    <a:pt x="1240" y="6556"/>
                    <a:pt x="1182" y="6048"/>
                  </a:cubicBezTo>
                  <a:close/>
                  <a:moveTo>
                    <a:pt x="7613" y="9336"/>
                  </a:moveTo>
                  <a:cubicBezTo>
                    <a:pt x="6965" y="9701"/>
                    <a:pt x="6229" y="9893"/>
                    <a:pt x="5485" y="9893"/>
                  </a:cubicBezTo>
                  <a:cubicBezTo>
                    <a:pt x="4729" y="9893"/>
                    <a:pt x="3981" y="9692"/>
                    <a:pt x="3323" y="9312"/>
                  </a:cubicBezTo>
                  <a:cubicBezTo>
                    <a:pt x="2646" y="8921"/>
                    <a:pt x="2147" y="8425"/>
                    <a:pt x="1753" y="7753"/>
                  </a:cubicBezTo>
                  <a:cubicBezTo>
                    <a:pt x="2232" y="6212"/>
                    <a:pt x="2232" y="6212"/>
                    <a:pt x="2232" y="6212"/>
                  </a:cubicBezTo>
                  <a:cubicBezTo>
                    <a:pt x="3790" y="6588"/>
                    <a:pt x="3790" y="6588"/>
                    <a:pt x="3790" y="6588"/>
                  </a:cubicBezTo>
                  <a:cubicBezTo>
                    <a:pt x="3794" y="6596"/>
                    <a:pt x="3794" y="6596"/>
                    <a:pt x="3794" y="6596"/>
                  </a:cubicBezTo>
                  <a:cubicBezTo>
                    <a:pt x="3969" y="6881"/>
                    <a:pt x="4214" y="7119"/>
                    <a:pt x="4503" y="7284"/>
                  </a:cubicBezTo>
                  <a:cubicBezTo>
                    <a:pt x="4802" y="7455"/>
                    <a:pt x="5143" y="7546"/>
                    <a:pt x="5489" y="7546"/>
                  </a:cubicBezTo>
                  <a:cubicBezTo>
                    <a:pt x="5843" y="7546"/>
                    <a:pt x="6191" y="7451"/>
                    <a:pt x="6495" y="7272"/>
                  </a:cubicBezTo>
                  <a:cubicBezTo>
                    <a:pt x="6725" y="7137"/>
                    <a:pt x="6928" y="6953"/>
                    <a:pt x="7087" y="6739"/>
                  </a:cubicBezTo>
                  <a:cubicBezTo>
                    <a:pt x="7522" y="8212"/>
                    <a:pt x="7522" y="8212"/>
                    <a:pt x="7522" y="8212"/>
                  </a:cubicBezTo>
                  <a:cubicBezTo>
                    <a:pt x="7538" y="8267"/>
                    <a:pt x="7538" y="8267"/>
                    <a:pt x="7538" y="8267"/>
                  </a:cubicBezTo>
                  <a:cubicBezTo>
                    <a:pt x="7548" y="8303"/>
                    <a:pt x="7548" y="8303"/>
                    <a:pt x="7548" y="8303"/>
                  </a:cubicBezTo>
                  <a:cubicBezTo>
                    <a:pt x="7585" y="8295"/>
                    <a:pt x="7585" y="8295"/>
                    <a:pt x="7585" y="8295"/>
                  </a:cubicBezTo>
                  <a:cubicBezTo>
                    <a:pt x="7641" y="8282"/>
                    <a:pt x="7641" y="8282"/>
                    <a:pt x="7641" y="8282"/>
                  </a:cubicBezTo>
                  <a:cubicBezTo>
                    <a:pt x="9101" y="7951"/>
                    <a:pt x="9101" y="7951"/>
                    <a:pt x="9101" y="7951"/>
                  </a:cubicBezTo>
                  <a:cubicBezTo>
                    <a:pt x="8722" y="8524"/>
                    <a:pt x="8210" y="9002"/>
                    <a:pt x="7613" y="9336"/>
                  </a:cubicBezTo>
                  <a:close/>
                  <a:moveTo>
                    <a:pt x="9253" y="7705"/>
                  </a:moveTo>
                  <a:cubicBezTo>
                    <a:pt x="9250" y="7710"/>
                    <a:pt x="9250" y="7710"/>
                    <a:pt x="9250" y="7710"/>
                  </a:cubicBezTo>
                  <a:cubicBezTo>
                    <a:pt x="7689" y="8063"/>
                    <a:pt x="7689" y="8063"/>
                    <a:pt x="7689" y="8063"/>
                  </a:cubicBezTo>
                  <a:cubicBezTo>
                    <a:pt x="7231" y="6512"/>
                    <a:pt x="7231" y="6512"/>
                    <a:pt x="7231" y="6512"/>
                  </a:cubicBezTo>
                  <a:cubicBezTo>
                    <a:pt x="7286" y="6412"/>
                    <a:pt x="7332" y="6306"/>
                    <a:pt x="7369" y="6198"/>
                  </a:cubicBezTo>
                  <a:cubicBezTo>
                    <a:pt x="7438" y="5994"/>
                    <a:pt x="7474" y="5778"/>
                    <a:pt x="7474" y="5561"/>
                  </a:cubicBezTo>
                  <a:cubicBezTo>
                    <a:pt x="7474" y="4555"/>
                    <a:pt x="6710" y="3704"/>
                    <a:pt x="5719" y="3589"/>
                  </a:cubicBezTo>
                  <a:cubicBezTo>
                    <a:pt x="6770" y="2468"/>
                    <a:pt x="6770" y="2468"/>
                    <a:pt x="6770" y="2468"/>
                  </a:cubicBezTo>
                  <a:cubicBezTo>
                    <a:pt x="6810" y="2426"/>
                    <a:pt x="6810" y="2426"/>
                    <a:pt x="6810" y="2426"/>
                  </a:cubicBezTo>
                  <a:cubicBezTo>
                    <a:pt x="6835" y="2399"/>
                    <a:pt x="6835" y="2399"/>
                    <a:pt x="6835" y="2399"/>
                  </a:cubicBezTo>
                  <a:cubicBezTo>
                    <a:pt x="6810" y="2372"/>
                    <a:pt x="6810" y="2372"/>
                    <a:pt x="6810" y="2372"/>
                  </a:cubicBezTo>
                  <a:cubicBezTo>
                    <a:pt x="6770" y="2329"/>
                    <a:pt x="6770" y="2329"/>
                    <a:pt x="6770" y="2329"/>
                  </a:cubicBezTo>
                  <a:cubicBezTo>
                    <a:pt x="5745" y="1236"/>
                    <a:pt x="5745" y="1236"/>
                    <a:pt x="5745" y="1236"/>
                  </a:cubicBezTo>
                  <a:cubicBezTo>
                    <a:pt x="6258" y="1265"/>
                    <a:pt x="6755" y="1384"/>
                    <a:pt x="7222" y="1588"/>
                  </a:cubicBezTo>
                  <a:cubicBezTo>
                    <a:pt x="7719" y="1805"/>
                    <a:pt x="8169" y="2112"/>
                    <a:pt x="8557" y="2502"/>
                  </a:cubicBezTo>
                  <a:cubicBezTo>
                    <a:pt x="9372" y="3320"/>
                    <a:pt x="9821" y="4406"/>
                    <a:pt x="9821" y="5560"/>
                  </a:cubicBezTo>
                  <a:cubicBezTo>
                    <a:pt x="9821" y="5702"/>
                    <a:pt x="9815" y="5841"/>
                    <a:pt x="9803" y="5977"/>
                  </a:cubicBezTo>
                  <a:cubicBezTo>
                    <a:pt x="9749" y="6591"/>
                    <a:pt x="9570" y="7149"/>
                    <a:pt x="9253" y="77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4" name="Freeform 6"/>
          <p:cNvSpPr>
            <a:spLocks/>
          </p:cNvSpPr>
          <p:nvPr/>
        </p:nvSpPr>
        <p:spPr bwMode="auto">
          <a:xfrm>
            <a:off x="455613"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0"/>
              </a:spcBef>
              <a:spcAft>
                <a:spcPts val="600"/>
              </a:spcAft>
            </a:pPr>
            <a:r>
              <a:rPr lang="zh-CN" altLang="en-US" sz="1600" dirty="0" smtClean="0">
                <a:solidFill>
                  <a:schemeClr val="accent5"/>
                </a:solidFill>
                <a:latin typeface="SimSun" panose="02010600030101010101" pitchFamily="2" charset="-122"/>
                <a:ea typeface="SimSun" panose="02010600030101010101" pitchFamily="2" charset="-122"/>
              </a:rPr>
              <a:t>什么是软件配置管理</a:t>
            </a:r>
            <a:r>
              <a:rPr lang="en-US" altLang="ja-JP" sz="1600" dirty="0">
                <a:solidFill>
                  <a:schemeClr val="accent5"/>
                </a:solidFill>
                <a:latin typeface="SimSun" panose="02010600030101010101" pitchFamily="2" charset="-122"/>
                <a:ea typeface="SimSun" panose="02010600030101010101" pitchFamily="2" charset="-122"/>
              </a:rPr>
              <a:t>(SCM)</a:t>
            </a:r>
            <a:r>
              <a:rPr lang="en-US" sz="1600" dirty="0" smtClean="0">
                <a:solidFill>
                  <a:schemeClr val="accent5"/>
                </a:solidFill>
                <a:latin typeface="SimSun" panose="02010600030101010101" pitchFamily="2" charset="-122"/>
                <a:ea typeface="SimSun" panose="02010600030101010101" pitchFamily="2" charset="-122"/>
              </a:rPr>
              <a:t>?</a:t>
            </a:r>
            <a:endParaRPr lang="en-US" sz="1600" dirty="0">
              <a:solidFill>
                <a:schemeClr val="tx2"/>
              </a:solidFill>
              <a:latin typeface="SimSun" panose="02010600030101010101" pitchFamily="2" charset="-122"/>
              <a:ea typeface="SimSun" panose="02010600030101010101" pitchFamily="2" charset="-122"/>
            </a:endParaRPr>
          </a:p>
          <a:p>
            <a:pPr>
              <a:spcBef>
                <a:spcPts val="200"/>
              </a:spcBef>
              <a:spcAft>
                <a:spcPts val="0"/>
              </a:spcAft>
            </a:pPr>
            <a:r>
              <a:rPr lang="en-US" altLang="en-US" sz="1200" dirty="0" smtClean="0">
                <a:solidFill>
                  <a:schemeClr val="tx2"/>
                </a:solidFill>
                <a:latin typeface="SimSun" panose="02010600030101010101" pitchFamily="2" charset="-122"/>
                <a:ea typeface="SimSun" panose="02010600030101010101" pitchFamily="2" charset="-122"/>
              </a:rPr>
              <a:t>SCM</a:t>
            </a:r>
            <a:r>
              <a:rPr lang="zh-CN" altLang="en-US" sz="1200" dirty="0" smtClean="0">
                <a:solidFill>
                  <a:schemeClr val="tx2"/>
                </a:solidFill>
                <a:latin typeface="SimSun" panose="02010600030101010101" pitchFamily="2" charset="-122"/>
                <a:ea typeface="SimSun" panose="02010600030101010101" pitchFamily="2" charset="-122"/>
              </a:rPr>
              <a:t>是公司用于管理对软件资产的内容更改的包括工具和技术</a:t>
            </a:r>
            <a:r>
              <a:rPr lang="zh-CN" altLang="en-US" sz="1200" dirty="0">
                <a:solidFill>
                  <a:schemeClr val="tx2"/>
                </a:solidFill>
                <a:latin typeface="SimSun" panose="02010600030101010101" pitchFamily="2" charset="-122"/>
                <a:ea typeface="SimSun" panose="02010600030101010101" pitchFamily="2" charset="-122"/>
              </a:rPr>
              <a:t>（流程或方法）</a:t>
            </a:r>
            <a:r>
              <a:rPr lang="zh-CN" altLang="en-US" sz="1200" dirty="0" smtClean="0">
                <a:solidFill>
                  <a:schemeClr val="tx2"/>
                </a:solidFill>
                <a:latin typeface="SimSun" panose="02010600030101010101" pitchFamily="2" charset="-122"/>
                <a:ea typeface="SimSun" panose="02010600030101010101" pitchFamily="2" charset="-122"/>
              </a:rPr>
              <a:t>的准则</a:t>
            </a:r>
            <a:endParaRPr lang="en-US" sz="1200" dirty="0">
              <a:solidFill>
                <a:schemeClr val="tx2"/>
              </a:solidFill>
              <a:latin typeface="SimSun" panose="02010600030101010101" pitchFamily="2" charset="-122"/>
              <a:ea typeface="SimSun" panose="02010600030101010101" pitchFamily="2" charset="-122"/>
            </a:endParaRPr>
          </a:p>
        </p:txBody>
      </p:sp>
      <p:sp>
        <p:nvSpPr>
          <p:cNvPr id="25"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0"/>
              </a:spcBef>
              <a:spcAft>
                <a:spcPts val="600"/>
              </a:spcAft>
            </a:pPr>
            <a:r>
              <a:rPr lang="zh-CN" altLang="en-US" sz="1600" dirty="0" smtClean="0">
                <a:solidFill>
                  <a:schemeClr val="accent5"/>
                </a:solidFill>
                <a:latin typeface="SimSun" panose="02010600030101010101" pitchFamily="2" charset="-122"/>
                <a:ea typeface="SimSun" panose="02010600030101010101" pitchFamily="2" charset="-122"/>
              </a:rPr>
              <a:t>为什么我们使用</a:t>
            </a:r>
            <a:r>
              <a:rPr lang="en-US" altLang="ja-JP" sz="1600" dirty="0" smtClean="0">
                <a:solidFill>
                  <a:schemeClr val="accent5"/>
                </a:solidFill>
                <a:latin typeface="SimSun" panose="02010600030101010101" pitchFamily="2" charset="-122"/>
                <a:ea typeface="SimSun" panose="02010600030101010101" pitchFamily="2" charset="-122"/>
              </a:rPr>
              <a:t>SCM</a:t>
            </a:r>
            <a:r>
              <a:rPr lang="zh-CN" altLang="en-US" sz="1600" dirty="0" smtClean="0">
                <a:solidFill>
                  <a:schemeClr val="accent5"/>
                </a:solidFill>
                <a:latin typeface="SimSun" panose="02010600030101010101" pitchFamily="2" charset="-122"/>
                <a:ea typeface="SimSun" panose="02010600030101010101" pitchFamily="2" charset="-122"/>
              </a:rPr>
              <a:t>工具</a:t>
            </a:r>
            <a:r>
              <a:rPr lang="en-US" sz="1600" dirty="0" smtClean="0">
                <a:solidFill>
                  <a:schemeClr val="accent5"/>
                </a:solidFill>
                <a:latin typeface="SimSun" panose="02010600030101010101" pitchFamily="2" charset="-122"/>
                <a:ea typeface="SimSun" panose="02010600030101010101" pitchFamily="2" charset="-122"/>
              </a:rPr>
              <a:t>? </a:t>
            </a:r>
            <a:endParaRPr lang="en-US" sz="1600" dirty="0">
              <a:solidFill>
                <a:schemeClr val="tx2"/>
              </a:solidFill>
              <a:latin typeface="SimSun" panose="02010600030101010101" pitchFamily="2" charset="-122"/>
              <a:ea typeface="SimSun" panose="02010600030101010101" pitchFamily="2" charset="-122"/>
            </a:endParaRPr>
          </a:p>
          <a:p>
            <a:pPr marL="133350" indent="-133350">
              <a:spcBef>
                <a:spcPts val="0"/>
              </a:spcBef>
              <a:buFont typeface="Arial" panose="020B0604020202020204" pitchFamily="34" charset="0"/>
              <a:buChar char="•"/>
            </a:pPr>
            <a:r>
              <a:rPr lang="zh-CN" altLang="en-US" sz="1200" spc="-20" dirty="0" smtClean="0">
                <a:solidFill>
                  <a:schemeClr val="tx2"/>
                </a:solidFill>
                <a:latin typeface="SimSun" panose="02010600030101010101" pitchFamily="2" charset="-122"/>
                <a:ea typeface="SimSun" panose="02010600030101010101" pitchFamily="2" charset="-122"/>
              </a:rPr>
              <a:t>不使用</a:t>
            </a:r>
            <a:r>
              <a:rPr lang="en-US" altLang="en-US" sz="1200" spc="-20" dirty="0" smtClean="0">
                <a:solidFill>
                  <a:schemeClr val="tx2"/>
                </a:solidFill>
                <a:latin typeface="SimSun" panose="02010600030101010101" pitchFamily="2" charset="-122"/>
                <a:ea typeface="SimSun" panose="02010600030101010101" pitchFamily="2" charset="-122"/>
              </a:rPr>
              <a:t>SCM</a:t>
            </a:r>
            <a:r>
              <a:rPr lang="zh-CN" altLang="en-US" sz="1200" spc="-20" dirty="0" smtClean="0">
                <a:solidFill>
                  <a:schemeClr val="tx2"/>
                </a:solidFill>
                <a:latin typeface="SimSun" panose="02010600030101010101" pitchFamily="2" charset="-122"/>
                <a:ea typeface="SimSun" panose="02010600030101010101" pitchFamily="2" charset="-122"/>
              </a:rPr>
              <a:t>工具而想要维护有效的</a:t>
            </a:r>
            <a:r>
              <a:rPr lang="en-US" altLang="en-US" sz="1200" spc="-20" dirty="0" smtClean="0">
                <a:solidFill>
                  <a:schemeClr val="tx2"/>
                </a:solidFill>
                <a:latin typeface="SimSun" panose="02010600030101010101" pitchFamily="2" charset="-122"/>
                <a:ea typeface="SimSun" panose="02010600030101010101" pitchFamily="2" charset="-122"/>
              </a:rPr>
              <a:t>SCM</a:t>
            </a:r>
            <a:r>
              <a:rPr lang="zh-CN" altLang="en-US" sz="1200" spc="-20" dirty="0" smtClean="0">
                <a:solidFill>
                  <a:schemeClr val="tx2"/>
                </a:solidFill>
                <a:latin typeface="SimSun" panose="02010600030101010101" pitchFamily="2" charset="-122"/>
                <a:ea typeface="SimSun" panose="02010600030101010101" pitchFamily="2" charset="-122"/>
              </a:rPr>
              <a:t>是不现实的。</a:t>
            </a:r>
            <a:endParaRPr lang="en-US" altLang="en-US" sz="1200" spc="-20" dirty="0" smtClean="0">
              <a:solidFill>
                <a:schemeClr val="tx2"/>
              </a:solidFill>
              <a:latin typeface="SimSun" panose="02010600030101010101" pitchFamily="2" charset="-122"/>
              <a:ea typeface="SimSun" panose="02010600030101010101" pitchFamily="2" charset="-122"/>
            </a:endParaRPr>
          </a:p>
          <a:p>
            <a:pPr marL="133350" indent="-133350">
              <a:spcBef>
                <a:spcPts val="400"/>
              </a:spcBef>
              <a:buFont typeface="Arial" panose="020B0604020202020204" pitchFamily="34" charset="0"/>
              <a:buChar char="•"/>
            </a:pPr>
            <a:r>
              <a:rPr lang="en-US" altLang="en-US" sz="1200" spc="-20" dirty="0" smtClean="0">
                <a:solidFill>
                  <a:schemeClr val="tx2"/>
                </a:solidFill>
                <a:latin typeface="SimSun" panose="02010600030101010101" pitchFamily="2" charset="-122"/>
                <a:ea typeface="SimSun" panose="02010600030101010101" pitchFamily="2" charset="-122"/>
              </a:rPr>
              <a:t>SCM</a:t>
            </a:r>
            <a:r>
              <a:rPr lang="zh-CN" altLang="en-US" sz="1200" spc="-20" dirty="0" smtClean="0">
                <a:solidFill>
                  <a:schemeClr val="tx2"/>
                </a:solidFill>
                <a:latin typeface="SimSun" panose="02010600030101010101" pitchFamily="2" charset="-122"/>
                <a:ea typeface="SimSun" panose="02010600030101010101" pitchFamily="2" charset="-122"/>
              </a:rPr>
              <a:t>的成功目标是在维护软件的同时允许尽可能多的更改。</a:t>
            </a:r>
            <a:endParaRPr lang="en-US" altLang="zh-CN" sz="1200" spc="-20" dirty="0" smtClean="0">
              <a:solidFill>
                <a:schemeClr val="tx2"/>
              </a:solidFill>
              <a:latin typeface="SimSun" panose="02010600030101010101" pitchFamily="2" charset="-122"/>
              <a:ea typeface="SimSun" panose="02010600030101010101" pitchFamily="2" charset="-122"/>
            </a:endParaRPr>
          </a:p>
          <a:p>
            <a:pPr marL="133350" indent="-133350">
              <a:spcBef>
                <a:spcPts val="400"/>
              </a:spcBef>
              <a:buFont typeface="Arial" panose="020B0604020202020204" pitchFamily="34" charset="0"/>
              <a:buChar char="•"/>
            </a:pPr>
            <a:r>
              <a:rPr lang="en-US" altLang="en-US" sz="1200" spc="-20" dirty="0" smtClean="0">
                <a:solidFill>
                  <a:schemeClr val="tx2"/>
                </a:solidFill>
                <a:latin typeface="SimSun" panose="02010600030101010101" pitchFamily="2" charset="-122"/>
                <a:ea typeface="SimSun" panose="02010600030101010101" pitchFamily="2" charset="-122"/>
              </a:rPr>
              <a:t>SCM</a:t>
            </a:r>
            <a:r>
              <a:rPr lang="zh-CN" altLang="en-US" sz="1200" spc="-20" dirty="0" smtClean="0">
                <a:solidFill>
                  <a:schemeClr val="tx2"/>
                </a:solidFill>
                <a:latin typeface="SimSun" panose="02010600030101010101" pitchFamily="2" charset="-122"/>
                <a:ea typeface="SimSun" panose="02010600030101010101" pitchFamily="2" charset="-122"/>
              </a:rPr>
              <a:t>工具将</a:t>
            </a:r>
            <a:r>
              <a:rPr lang="en-US" altLang="en-US" sz="1200" spc="-20" dirty="0" smtClean="0">
                <a:solidFill>
                  <a:schemeClr val="tx2"/>
                </a:solidFill>
                <a:latin typeface="SimSun" panose="02010600030101010101" pitchFamily="2" charset="-122"/>
                <a:ea typeface="SimSun" panose="02010600030101010101" pitchFamily="2" charset="-122"/>
              </a:rPr>
              <a:t>SCM </a:t>
            </a:r>
            <a:r>
              <a:rPr lang="zh-CN" altLang="en-US" sz="1200" spc="-20" dirty="0">
                <a:solidFill>
                  <a:schemeClr val="tx2"/>
                </a:solidFill>
                <a:latin typeface="SimSun" panose="02010600030101010101" pitchFamily="2" charset="-122"/>
                <a:ea typeface="SimSun" panose="02010600030101010101" pitchFamily="2" charset="-122"/>
              </a:rPr>
              <a:t>流程中繁琐</a:t>
            </a:r>
            <a:r>
              <a:rPr lang="zh-CN" altLang="en-US" sz="1200" spc="-20" dirty="0" smtClean="0">
                <a:solidFill>
                  <a:schemeClr val="tx2"/>
                </a:solidFill>
                <a:latin typeface="SimSun" panose="02010600030101010101" pitchFamily="2" charset="-122"/>
                <a:ea typeface="SimSun" panose="02010600030101010101" pitchFamily="2" charset="-122"/>
              </a:rPr>
              <a:t>，</a:t>
            </a:r>
            <a:r>
              <a:rPr lang="zh-CN" altLang="en-US" sz="1200" spc="-20" dirty="0">
                <a:solidFill>
                  <a:schemeClr val="tx2"/>
                </a:solidFill>
                <a:latin typeface="SimSun" panose="02010600030101010101" pitchFamily="2" charset="-122"/>
                <a:ea typeface="SimSun" panose="02010600030101010101" pitchFamily="2" charset="-122"/>
              </a:rPr>
              <a:t>手动，</a:t>
            </a:r>
            <a:r>
              <a:rPr lang="zh-CN" altLang="en-US" sz="1200" spc="-20" dirty="0" smtClean="0">
                <a:solidFill>
                  <a:schemeClr val="tx2"/>
                </a:solidFill>
                <a:latin typeface="SimSun" panose="02010600030101010101" pitchFamily="2" charset="-122"/>
                <a:ea typeface="SimSun" panose="02010600030101010101" pitchFamily="2" charset="-122"/>
              </a:rPr>
              <a:t>易错的部分自动化，并且确保项目支持所有</a:t>
            </a:r>
            <a:r>
              <a:rPr lang="en-US" altLang="en-US" sz="1200" spc="-20" dirty="0" smtClean="0">
                <a:solidFill>
                  <a:schemeClr val="tx2"/>
                </a:solidFill>
                <a:latin typeface="SimSun" panose="02010600030101010101" pitchFamily="2" charset="-122"/>
                <a:ea typeface="SimSun" panose="02010600030101010101" pitchFamily="2" charset="-122"/>
              </a:rPr>
              <a:t>SCM</a:t>
            </a:r>
            <a:r>
              <a:rPr lang="zh-CN" altLang="en-US" sz="1200" spc="-20" dirty="0" smtClean="0">
                <a:solidFill>
                  <a:schemeClr val="tx2"/>
                </a:solidFill>
                <a:latin typeface="SimSun" panose="02010600030101010101" pitchFamily="2" charset="-122"/>
                <a:ea typeface="SimSun" panose="02010600030101010101" pitchFamily="2" charset="-122"/>
              </a:rPr>
              <a:t>的最佳实践。</a:t>
            </a:r>
            <a:endParaRPr lang="en-US" altLang="zh-CN" sz="1200" spc="-20" dirty="0" smtClean="0">
              <a:solidFill>
                <a:schemeClr val="tx2"/>
              </a:solidFill>
              <a:latin typeface="SimSun" panose="02010600030101010101" pitchFamily="2" charset="-122"/>
              <a:ea typeface="SimSun" panose="02010600030101010101" pitchFamily="2" charset="-122"/>
            </a:endParaRPr>
          </a:p>
          <a:p>
            <a:pPr marL="133350" indent="-133350">
              <a:spcBef>
                <a:spcPts val="400"/>
              </a:spcBef>
              <a:buFont typeface="Arial" panose="020B0604020202020204" pitchFamily="34" charset="0"/>
              <a:buChar char="•"/>
            </a:pPr>
            <a:endParaRPr lang="en-GB" altLang="en-US" sz="1200" spc="-20" dirty="0">
              <a:latin typeface="SimSun" panose="02010600030101010101" pitchFamily="2" charset="-122"/>
              <a:ea typeface="SimSun" panose="02010600030101010101" pitchFamily="2" charset="-122"/>
            </a:endParaRPr>
          </a:p>
        </p:txBody>
      </p:sp>
      <p:sp>
        <p:nvSpPr>
          <p:cNvPr id="26"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0"/>
              </a:spcBef>
              <a:spcAft>
                <a:spcPts val="600"/>
              </a:spcAft>
            </a:pPr>
            <a:r>
              <a:rPr lang="en-US" sz="1600" dirty="0" smtClean="0">
                <a:solidFill>
                  <a:schemeClr val="accent5"/>
                </a:solidFill>
                <a:latin typeface="SimSun" panose="02010600030101010101" pitchFamily="2" charset="-122"/>
                <a:ea typeface="SimSun" panose="02010600030101010101" pitchFamily="2" charset="-122"/>
              </a:rPr>
              <a:t>SCM</a:t>
            </a:r>
            <a:r>
              <a:rPr lang="zh-CN" altLang="en-US" sz="1600" dirty="0" smtClean="0">
                <a:solidFill>
                  <a:schemeClr val="accent5"/>
                </a:solidFill>
                <a:latin typeface="SimSun" panose="02010600030101010101" pitchFamily="2" charset="-122"/>
                <a:ea typeface="SimSun" panose="02010600030101010101" pitchFamily="2" charset="-122"/>
              </a:rPr>
              <a:t>工具提供</a:t>
            </a:r>
            <a:r>
              <a:rPr lang="en-US" sz="1600" dirty="0" smtClean="0">
                <a:solidFill>
                  <a:schemeClr val="accent5"/>
                </a:solidFill>
                <a:latin typeface="SimSun" panose="02010600030101010101" pitchFamily="2" charset="-122"/>
                <a:ea typeface="SimSun" panose="02010600030101010101" pitchFamily="2" charset="-122"/>
              </a:rPr>
              <a:t>: </a:t>
            </a:r>
            <a:endParaRPr lang="en-US" sz="1600" dirty="0">
              <a:solidFill>
                <a:schemeClr val="accent5"/>
              </a:solidFill>
              <a:latin typeface="SimSun" panose="02010600030101010101" pitchFamily="2" charset="-122"/>
              <a:ea typeface="SimSun" panose="02010600030101010101" pitchFamily="2" charset="-122"/>
            </a:endParaRPr>
          </a:p>
          <a:p>
            <a:pPr marL="152400" indent="-152400">
              <a:spcBef>
                <a:spcPts val="400"/>
              </a:spcBef>
              <a:spcAft>
                <a:spcPts val="0"/>
              </a:spcAft>
              <a:buFont typeface="Arial" panose="020B0604020202020204" pitchFamily="34" charset="0"/>
              <a:buChar char="•"/>
            </a:pPr>
            <a:r>
              <a:rPr lang="zh-CN" altLang="en-US" sz="1200" dirty="0" smtClean="0">
                <a:solidFill>
                  <a:schemeClr val="tx2"/>
                </a:solidFill>
                <a:latin typeface="SimSun" panose="02010600030101010101" pitchFamily="2" charset="-122"/>
                <a:ea typeface="SimSun" panose="02010600030101010101" pitchFamily="2" charset="-122"/>
              </a:rPr>
              <a:t>确保生产力</a:t>
            </a:r>
            <a:r>
              <a:rPr lang="en-US" sz="1200" dirty="0" smtClean="0">
                <a:solidFill>
                  <a:schemeClr val="tx2"/>
                </a:solidFill>
                <a:latin typeface="SimSun" panose="02010600030101010101" pitchFamily="2" charset="-122"/>
                <a:ea typeface="SimSun" panose="02010600030101010101" pitchFamily="2" charset="-122"/>
              </a:rPr>
              <a:t> </a:t>
            </a:r>
            <a:endParaRPr lang="en-US" sz="1200" dirty="0">
              <a:solidFill>
                <a:schemeClr val="tx2"/>
              </a:solidFill>
              <a:latin typeface="SimSun" panose="02010600030101010101" pitchFamily="2" charset="-122"/>
              <a:ea typeface="SimSun" panose="02010600030101010101" pitchFamily="2" charset="-122"/>
            </a:endParaRPr>
          </a:p>
          <a:p>
            <a:pPr marL="152400" indent="-152400">
              <a:spcBef>
                <a:spcPts val="400"/>
              </a:spcBef>
              <a:spcAft>
                <a:spcPts val="0"/>
              </a:spcAft>
              <a:buFont typeface="Arial" panose="020B0604020202020204" pitchFamily="34" charset="0"/>
              <a:buChar char="•"/>
            </a:pPr>
            <a:r>
              <a:rPr lang="zh-CN" altLang="en-US" sz="1200" dirty="0" smtClean="0">
                <a:solidFill>
                  <a:schemeClr val="tx2"/>
                </a:solidFill>
                <a:latin typeface="SimSun" panose="02010600030101010101" pitchFamily="2" charset="-122"/>
                <a:ea typeface="SimSun" panose="02010600030101010101" pitchFamily="2" charset="-122"/>
              </a:rPr>
              <a:t>透明度</a:t>
            </a:r>
            <a:r>
              <a:rPr lang="en-US" sz="1200" dirty="0" smtClean="0">
                <a:solidFill>
                  <a:schemeClr val="tx2"/>
                </a:solidFill>
                <a:latin typeface="SimSun" panose="02010600030101010101" pitchFamily="2" charset="-122"/>
                <a:ea typeface="SimSun" panose="02010600030101010101" pitchFamily="2" charset="-122"/>
              </a:rPr>
              <a:t> </a:t>
            </a:r>
            <a:endParaRPr lang="en-US" sz="1200" dirty="0">
              <a:solidFill>
                <a:schemeClr val="tx2"/>
              </a:solidFill>
              <a:latin typeface="SimSun" panose="02010600030101010101" pitchFamily="2" charset="-122"/>
              <a:ea typeface="SimSun" panose="02010600030101010101" pitchFamily="2" charset="-122"/>
            </a:endParaRPr>
          </a:p>
          <a:p>
            <a:pPr marL="152400" indent="-152400">
              <a:spcBef>
                <a:spcPts val="400"/>
              </a:spcBef>
              <a:spcAft>
                <a:spcPts val="0"/>
              </a:spcAft>
              <a:buFont typeface="Arial" panose="020B0604020202020204" pitchFamily="34" charset="0"/>
              <a:buChar char="•"/>
            </a:pPr>
            <a:r>
              <a:rPr lang="zh-CN" altLang="en-US" sz="1200" dirty="0">
                <a:solidFill>
                  <a:schemeClr val="tx2"/>
                </a:solidFill>
                <a:latin typeface="SimSun" panose="02010600030101010101" pitchFamily="2" charset="-122"/>
                <a:ea typeface="SimSun" panose="02010600030101010101" pitchFamily="2" charset="-122"/>
              </a:rPr>
              <a:t>治理</a:t>
            </a:r>
            <a:endParaRPr lang="en-US" sz="1200" dirty="0">
              <a:solidFill>
                <a:schemeClr val="tx2"/>
              </a:solidFill>
              <a:latin typeface="SimSun" panose="02010600030101010101" pitchFamily="2" charset="-122"/>
              <a:ea typeface="SimSun" panose="02010600030101010101" pitchFamily="2" charset="-122"/>
            </a:endParaRPr>
          </a:p>
          <a:p>
            <a:pPr marL="152400" indent="-152400">
              <a:spcBef>
                <a:spcPts val="400"/>
              </a:spcBef>
              <a:spcAft>
                <a:spcPts val="0"/>
              </a:spcAft>
              <a:buFont typeface="Arial" panose="020B0604020202020204" pitchFamily="34" charset="0"/>
              <a:buChar char="•"/>
            </a:pPr>
            <a:r>
              <a:rPr lang="zh-CN" altLang="en-US" sz="1200" dirty="0" smtClean="0">
                <a:solidFill>
                  <a:schemeClr val="tx2"/>
                </a:solidFill>
                <a:latin typeface="SimSun" panose="02010600030101010101" pitchFamily="2" charset="-122"/>
                <a:ea typeface="SimSun" panose="02010600030101010101" pitchFamily="2" charset="-122"/>
              </a:rPr>
              <a:t>合规</a:t>
            </a:r>
            <a:endParaRPr lang="en-US" sz="1200" dirty="0">
              <a:solidFill>
                <a:schemeClr val="tx2"/>
              </a:solidFill>
              <a:latin typeface="SimSun" panose="02010600030101010101" pitchFamily="2" charset="-122"/>
              <a:ea typeface="SimSun" panose="02010600030101010101" pitchFamily="2" charset="-122"/>
            </a:endParaRPr>
          </a:p>
          <a:p>
            <a:pPr marL="152400" indent="-152400">
              <a:spcBef>
                <a:spcPts val="400"/>
              </a:spcBef>
              <a:spcAft>
                <a:spcPts val="0"/>
              </a:spcAft>
              <a:buFont typeface="Arial" panose="020B0604020202020204" pitchFamily="34" charset="0"/>
              <a:buChar char="•"/>
            </a:pPr>
            <a:r>
              <a:rPr lang="zh-CN" altLang="en-US" sz="1200" dirty="0">
                <a:solidFill>
                  <a:schemeClr val="tx2"/>
                </a:solidFill>
                <a:latin typeface="SimSun" panose="02010600030101010101" pitchFamily="2" charset="-122"/>
                <a:ea typeface="SimSun" panose="02010600030101010101" pitchFamily="2" charset="-122"/>
              </a:rPr>
              <a:t>安全</a:t>
            </a:r>
            <a:endParaRPr lang="en-US" sz="1200" dirty="0">
              <a:solidFill>
                <a:schemeClr val="tx2"/>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9389315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版本控制</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理解版本控制</a:t>
            </a:r>
            <a:endParaRPr lang="en-GB" dirty="0" smtClean="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sp>
        <p:nvSpPr>
          <p:cNvPr id="77" name="Footer Placeholder 4"/>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grpSp>
        <p:nvGrpSpPr>
          <p:cNvPr id="6" name="Group 5"/>
          <p:cNvGrpSpPr/>
          <p:nvPr/>
        </p:nvGrpSpPr>
        <p:grpSpPr>
          <a:xfrm>
            <a:off x="3963486" y="1879200"/>
            <a:ext cx="1220202" cy="1220199"/>
            <a:chOff x="3963486" y="1832293"/>
            <a:chExt cx="1220202" cy="1220199"/>
          </a:xfrm>
        </p:grpSpPr>
        <p:grpSp>
          <p:nvGrpSpPr>
            <p:cNvPr id="51" name="Group 50"/>
            <p:cNvGrpSpPr/>
            <p:nvPr/>
          </p:nvGrpSpPr>
          <p:grpSpPr>
            <a:xfrm>
              <a:off x="4148666" y="2009632"/>
              <a:ext cx="799143" cy="800624"/>
              <a:chOff x="-5155462" y="1962936"/>
              <a:chExt cx="890579" cy="892230"/>
            </a:xfrm>
          </p:grpSpPr>
          <p:grpSp>
            <p:nvGrpSpPr>
              <p:cNvPr id="9" name="Group 8"/>
              <p:cNvGrpSpPr/>
              <p:nvPr/>
            </p:nvGrpSpPr>
            <p:grpSpPr>
              <a:xfrm>
                <a:off x="-4964057" y="2131173"/>
                <a:ext cx="338081" cy="384139"/>
                <a:chOff x="5468660" y="5379773"/>
                <a:chExt cx="547688" cy="622301"/>
              </a:xfrm>
              <a:solidFill>
                <a:schemeClr val="accent1"/>
              </a:solidFill>
            </p:grpSpPr>
            <p:sp>
              <p:nvSpPr>
                <p:cNvPr id="31" name="Freeform 36"/>
                <p:cNvSpPr>
                  <a:spLocks/>
                </p:cNvSpPr>
                <p:nvPr/>
              </p:nvSpPr>
              <p:spPr bwMode="auto">
                <a:xfrm>
                  <a:off x="5468660" y="555598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7"/>
                <p:cNvSpPr>
                  <a:spLocks/>
                </p:cNvSpPr>
                <p:nvPr/>
              </p:nvSpPr>
              <p:spPr bwMode="auto">
                <a:xfrm>
                  <a:off x="5757585" y="555598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8"/>
                <p:cNvSpPr>
                  <a:spLocks/>
                </p:cNvSpPr>
                <p:nvPr/>
              </p:nvSpPr>
              <p:spPr bwMode="auto">
                <a:xfrm>
                  <a:off x="5482948" y="537977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Freeform 6"/>
              <p:cNvSpPr>
                <a:spLocks noEditPoints="1"/>
              </p:cNvSpPr>
              <p:nvPr/>
            </p:nvSpPr>
            <p:spPr bwMode="auto">
              <a:xfrm rot="16200000">
                <a:off x="-5156287" y="1963761"/>
                <a:ext cx="892230" cy="890579"/>
              </a:xfrm>
              <a:custGeom>
                <a:avLst/>
                <a:gdLst>
                  <a:gd name="T0" fmla="*/ 1294 w 1513"/>
                  <a:gd name="T1" fmla="*/ 1011 h 1512"/>
                  <a:gd name="T2" fmla="*/ 1294 w 1513"/>
                  <a:gd name="T3" fmla="*/ 218 h 1512"/>
                  <a:gd name="T4" fmla="*/ 502 w 1513"/>
                  <a:gd name="T5" fmla="*/ 218 h 1512"/>
                  <a:gd name="T6" fmla="*/ 429 w 1513"/>
                  <a:gd name="T7" fmla="*/ 921 h 1512"/>
                  <a:gd name="T8" fmla="*/ 45 w 1513"/>
                  <a:gd name="T9" fmla="*/ 1306 h 1512"/>
                  <a:gd name="T10" fmla="*/ 45 w 1513"/>
                  <a:gd name="T11" fmla="*/ 1467 h 1512"/>
                  <a:gd name="T12" fmla="*/ 207 w 1513"/>
                  <a:gd name="T13" fmla="*/ 1468 h 1512"/>
                  <a:gd name="T14" fmla="*/ 591 w 1513"/>
                  <a:gd name="T15" fmla="*/ 1083 h 1512"/>
                  <a:gd name="T16" fmla="*/ 1294 w 1513"/>
                  <a:gd name="T17" fmla="*/ 1011 h 1512"/>
                  <a:gd name="T18" fmla="*/ 621 w 1513"/>
                  <a:gd name="T19" fmla="*/ 891 h 1512"/>
                  <a:gd name="T20" fmla="*/ 621 w 1513"/>
                  <a:gd name="T21" fmla="*/ 337 h 1512"/>
                  <a:gd name="T22" fmla="*/ 1175 w 1513"/>
                  <a:gd name="T23" fmla="*/ 337 h 1512"/>
                  <a:gd name="T24" fmla="*/ 1175 w 1513"/>
                  <a:gd name="T25" fmla="*/ 891 h 1512"/>
                  <a:gd name="T26" fmla="*/ 621 w 1513"/>
                  <a:gd name="T27" fmla="*/ 891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3" h="1512">
                    <a:moveTo>
                      <a:pt x="1294" y="1011"/>
                    </a:moveTo>
                    <a:cubicBezTo>
                      <a:pt x="1513" y="792"/>
                      <a:pt x="1513" y="437"/>
                      <a:pt x="1294" y="218"/>
                    </a:cubicBezTo>
                    <a:cubicBezTo>
                      <a:pt x="1076" y="0"/>
                      <a:pt x="720" y="0"/>
                      <a:pt x="502" y="218"/>
                    </a:cubicBezTo>
                    <a:cubicBezTo>
                      <a:pt x="311" y="409"/>
                      <a:pt x="287" y="704"/>
                      <a:pt x="429" y="921"/>
                    </a:cubicBezTo>
                    <a:cubicBezTo>
                      <a:pt x="45" y="1306"/>
                      <a:pt x="45" y="1306"/>
                      <a:pt x="45" y="1306"/>
                    </a:cubicBezTo>
                    <a:cubicBezTo>
                      <a:pt x="0" y="1350"/>
                      <a:pt x="1" y="1422"/>
                      <a:pt x="45" y="1467"/>
                    </a:cubicBezTo>
                    <a:cubicBezTo>
                      <a:pt x="90" y="1512"/>
                      <a:pt x="162" y="1512"/>
                      <a:pt x="207" y="1468"/>
                    </a:cubicBezTo>
                    <a:cubicBezTo>
                      <a:pt x="591" y="1083"/>
                      <a:pt x="591" y="1083"/>
                      <a:pt x="591" y="1083"/>
                    </a:cubicBezTo>
                    <a:cubicBezTo>
                      <a:pt x="808" y="1225"/>
                      <a:pt x="1103" y="1201"/>
                      <a:pt x="1294" y="1011"/>
                    </a:cubicBezTo>
                    <a:close/>
                    <a:moveTo>
                      <a:pt x="621" y="891"/>
                    </a:moveTo>
                    <a:cubicBezTo>
                      <a:pt x="468" y="739"/>
                      <a:pt x="468" y="490"/>
                      <a:pt x="621" y="337"/>
                    </a:cubicBezTo>
                    <a:cubicBezTo>
                      <a:pt x="774" y="185"/>
                      <a:pt x="1022" y="185"/>
                      <a:pt x="1175" y="337"/>
                    </a:cubicBezTo>
                    <a:cubicBezTo>
                      <a:pt x="1328" y="490"/>
                      <a:pt x="1328" y="739"/>
                      <a:pt x="1175" y="891"/>
                    </a:cubicBezTo>
                    <a:cubicBezTo>
                      <a:pt x="1022" y="1044"/>
                      <a:pt x="774" y="1044"/>
                      <a:pt x="621" y="8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38" name="Straight Connector 37"/>
              <p:cNvCxnSpPr/>
              <p:nvPr/>
            </p:nvCxnSpPr>
            <p:spPr>
              <a:xfrm>
                <a:off x="-4980781" y="2216635"/>
                <a:ext cx="195074" cy="113046"/>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807709" y="2219016"/>
                <a:ext cx="195074" cy="113046"/>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4795506" y="2319290"/>
                <a:ext cx="0" cy="215145"/>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6" name="Oval 55"/>
            <p:cNvSpPr/>
            <p:nvPr/>
          </p:nvSpPr>
          <p:spPr>
            <a:xfrm>
              <a:off x="3963486"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7" name="Group 6"/>
          <p:cNvGrpSpPr/>
          <p:nvPr/>
        </p:nvGrpSpPr>
        <p:grpSpPr>
          <a:xfrm>
            <a:off x="6777331" y="1879200"/>
            <a:ext cx="1220202" cy="1220199"/>
            <a:chOff x="6777331" y="1832293"/>
            <a:chExt cx="1220202" cy="1220199"/>
          </a:xfrm>
        </p:grpSpPr>
        <p:grpSp>
          <p:nvGrpSpPr>
            <p:cNvPr id="50" name="Group 49"/>
            <p:cNvGrpSpPr/>
            <p:nvPr/>
          </p:nvGrpSpPr>
          <p:grpSpPr>
            <a:xfrm>
              <a:off x="6955083" y="2009631"/>
              <a:ext cx="864698" cy="865522"/>
              <a:chOff x="9658350" y="1576388"/>
              <a:chExt cx="1666875" cy="1668462"/>
            </a:xfrm>
            <a:solidFill>
              <a:schemeClr val="accent1"/>
            </a:solidFill>
          </p:grpSpPr>
          <p:sp>
            <p:nvSpPr>
              <p:cNvPr id="47" name="Oval 11"/>
              <p:cNvSpPr>
                <a:spLocks noChangeArrowheads="1"/>
              </p:cNvSpPr>
              <p:nvPr/>
            </p:nvSpPr>
            <p:spPr bwMode="auto">
              <a:xfrm>
                <a:off x="10329863" y="2252663"/>
                <a:ext cx="327025" cy="327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0364788" y="1576388"/>
                <a:ext cx="255588" cy="601662"/>
              </a:xfrm>
              <a:custGeom>
                <a:avLst/>
                <a:gdLst>
                  <a:gd name="T0" fmla="*/ 623 w 1106"/>
                  <a:gd name="T1" fmla="*/ 1102 h 2600"/>
                  <a:gd name="T2" fmla="*/ 1106 w 1106"/>
                  <a:gd name="T3" fmla="*/ 554 h 2600"/>
                  <a:gd name="T4" fmla="*/ 553 w 1106"/>
                  <a:gd name="T5" fmla="*/ 0 h 2600"/>
                  <a:gd name="T6" fmla="*/ 0 w 1106"/>
                  <a:gd name="T7" fmla="*/ 554 h 2600"/>
                  <a:gd name="T8" fmla="*/ 483 w 1106"/>
                  <a:gd name="T9" fmla="*/ 1102 h 2600"/>
                  <a:gd name="T10" fmla="*/ 483 w 1106"/>
                  <a:gd name="T11" fmla="*/ 2600 h 2600"/>
                  <a:gd name="T12" fmla="*/ 553 w 1106"/>
                  <a:gd name="T13" fmla="*/ 2600 h 2600"/>
                  <a:gd name="T14" fmla="*/ 623 w 1106"/>
                  <a:gd name="T15" fmla="*/ 2600 h 2600"/>
                  <a:gd name="T16" fmla="*/ 623 w 1106"/>
                  <a:gd name="T17" fmla="*/ 1102 h 2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6" h="2600">
                    <a:moveTo>
                      <a:pt x="623" y="1102"/>
                    </a:moveTo>
                    <a:cubicBezTo>
                      <a:pt x="896" y="1068"/>
                      <a:pt x="1106" y="835"/>
                      <a:pt x="1106" y="554"/>
                    </a:cubicBezTo>
                    <a:cubicBezTo>
                      <a:pt x="1106" y="248"/>
                      <a:pt x="859" y="0"/>
                      <a:pt x="553" y="0"/>
                    </a:cubicBezTo>
                    <a:cubicBezTo>
                      <a:pt x="248" y="0"/>
                      <a:pt x="0" y="248"/>
                      <a:pt x="0" y="554"/>
                    </a:cubicBezTo>
                    <a:cubicBezTo>
                      <a:pt x="0" y="835"/>
                      <a:pt x="211" y="1068"/>
                      <a:pt x="483" y="1102"/>
                    </a:cubicBezTo>
                    <a:cubicBezTo>
                      <a:pt x="483" y="2600"/>
                      <a:pt x="483" y="2600"/>
                      <a:pt x="483" y="2600"/>
                    </a:cubicBezTo>
                    <a:cubicBezTo>
                      <a:pt x="553" y="2600"/>
                      <a:pt x="553" y="2600"/>
                      <a:pt x="553" y="2600"/>
                    </a:cubicBezTo>
                    <a:cubicBezTo>
                      <a:pt x="623" y="2600"/>
                      <a:pt x="623" y="2600"/>
                      <a:pt x="623" y="2600"/>
                    </a:cubicBezTo>
                    <a:lnTo>
                      <a:pt x="623" y="1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noEditPoints="1"/>
              </p:cNvSpPr>
              <p:nvPr/>
            </p:nvSpPr>
            <p:spPr bwMode="auto">
              <a:xfrm>
                <a:off x="9658350" y="1770063"/>
                <a:ext cx="1666875" cy="1474787"/>
              </a:xfrm>
              <a:custGeom>
                <a:avLst/>
                <a:gdLst>
                  <a:gd name="T0" fmla="*/ 6657 w 7210"/>
                  <a:gd name="T1" fmla="*/ 2223 h 6375"/>
                  <a:gd name="T2" fmla="*/ 6108 w 7210"/>
                  <a:gd name="T3" fmla="*/ 2706 h 6375"/>
                  <a:gd name="T4" fmla="*/ 4636 w 7210"/>
                  <a:gd name="T5" fmla="*/ 2706 h 6375"/>
                  <a:gd name="T6" fmla="*/ 4377 w 7210"/>
                  <a:gd name="T7" fmla="*/ 2106 h 6375"/>
                  <a:gd name="T8" fmla="*/ 5429 w 7210"/>
                  <a:gd name="T9" fmla="*/ 1053 h 6375"/>
                  <a:gd name="T10" fmla="*/ 6159 w 7210"/>
                  <a:gd name="T11" fmla="*/ 1007 h 6375"/>
                  <a:gd name="T12" fmla="*/ 6159 w 7210"/>
                  <a:gd name="T13" fmla="*/ 225 h 6375"/>
                  <a:gd name="T14" fmla="*/ 5377 w 7210"/>
                  <a:gd name="T15" fmla="*/ 225 h 6375"/>
                  <a:gd name="T16" fmla="*/ 5330 w 7210"/>
                  <a:gd name="T17" fmla="*/ 955 h 6375"/>
                  <a:gd name="T18" fmla="*/ 4277 w 7210"/>
                  <a:gd name="T19" fmla="*/ 2008 h 6375"/>
                  <a:gd name="T20" fmla="*/ 3611 w 7210"/>
                  <a:gd name="T21" fmla="*/ 1764 h 6375"/>
                  <a:gd name="T22" fmla="*/ 2933 w 7210"/>
                  <a:gd name="T23" fmla="*/ 2020 h 6375"/>
                  <a:gd name="T24" fmla="*/ 2948 w 7210"/>
                  <a:gd name="T25" fmla="*/ 2005 h 6375"/>
                  <a:gd name="T26" fmla="*/ 1889 w 7210"/>
                  <a:gd name="T27" fmla="*/ 946 h 6375"/>
                  <a:gd name="T28" fmla="*/ 1842 w 7210"/>
                  <a:gd name="T29" fmla="*/ 216 h 6375"/>
                  <a:gd name="T30" fmla="*/ 1060 w 7210"/>
                  <a:gd name="T31" fmla="*/ 216 h 6375"/>
                  <a:gd name="T32" fmla="*/ 1060 w 7210"/>
                  <a:gd name="T33" fmla="*/ 998 h 6375"/>
                  <a:gd name="T34" fmla="*/ 1790 w 7210"/>
                  <a:gd name="T35" fmla="*/ 1045 h 6375"/>
                  <a:gd name="T36" fmla="*/ 2848 w 7210"/>
                  <a:gd name="T37" fmla="*/ 2103 h 6375"/>
                  <a:gd name="T38" fmla="*/ 2587 w 7210"/>
                  <a:gd name="T39" fmla="*/ 2694 h 6375"/>
                  <a:gd name="T40" fmla="*/ 1102 w 7210"/>
                  <a:gd name="T41" fmla="*/ 2694 h 6375"/>
                  <a:gd name="T42" fmla="*/ 553 w 7210"/>
                  <a:gd name="T43" fmla="*/ 2210 h 6375"/>
                  <a:gd name="T44" fmla="*/ 0 w 7210"/>
                  <a:gd name="T45" fmla="*/ 2764 h 6375"/>
                  <a:gd name="T46" fmla="*/ 553 w 7210"/>
                  <a:gd name="T47" fmla="*/ 3317 h 6375"/>
                  <a:gd name="T48" fmla="*/ 1102 w 7210"/>
                  <a:gd name="T49" fmla="*/ 2834 h 6375"/>
                  <a:gd name="T50" fmla="*/ 2584 w 7210"/>
                  <a:gd name="T51" fmla="*/ 2834 h 6375"/>
                  <a:gd name="T52" fmla="*/ 2819 w 7210"/>
                  <a:gd name="T53" fmla="*/ 3448 h 6375"/>
                  <a:gd name="T54" fmla="*/ 1781 w 7210"/>
                  <a:gd name="T55" fmla="*/ 4486 h 6375"/>
                  <a:gd name="T56" fmla="*/ 1051 w 7210"/>
                  <a:gd name="T57" fmla="*/ 4533 h 6375"/>
                  <a:gd name="T58" fmla="*/ 1051 w 7210"/>
                  <a:gd name="T59" fmla="*/ 5315 h 6375"/>
                  <a:gd name="T60" fmla="*/ 1833 w 7210"/>
                  <a:gd name="T61" fmla="*/ 5315 h 6375"/>
                  <a:gd name="T62" fmla="*/ 1880 w 7210"/>
                  <a:gd name="T63" fmla="*/ 4585 h 6375"/>
                  <a:gd name="T64" fmla="*/ 2915 w 7210"/>
                  <a:gd name="T65" fmla="*/ 3550 h 6375"/>
                  <a:gd name="T66" fmla="*/ 3529 w 7210"/>
                  <a:gd name="T67" fmla="*/ 3818 h 6375"/>
                  <a:gd name="T68" fmla="*/ 3529 w 7210"/>
                  <a:gd name="T69" fmla="*/ 5273 h 6375"/>
                  <a:gd name="T70" fmla="*/ 3046 w 7210"/>
                  <a:gd name="T71" fmla="*/ 5822 h 6375"/>
                  <a:gd name="T72" fmla="*/ 3599 w 7210"/>
                  <a:gd name="T73" fmla="*/ 6375 h 6375"/>
                  <a:gd name="T74" fmla="*/ 4152 w 7210"/>
                  <a:gd name="T75" fmla="*/ 5822 h 6375"/>
                  <a:gd name="T76" fmla="*/ 3669 w 7210"/>
                  <a:gd name="T77" fmla="*/ 5273 h 6375"/>
                  <a:gd name="T78" fmla="*/ 3669 w 7210"/>
                  <a:gd name="T79" fmla="*/ 3819 h 6375"/>
                  <a:gd name="T80" fmla="*/ 4291 w 7210"/>
                  <a:gd name="T81" fmla="*/ 3564 h 6375"/>
                  <a:gd name="T82" fmla="*/ 5321 w 7210"/>
                  <a:gd name="T83" fmla="*/ 4594 h 6375"/>
                  <a:gd name="T84" fmla="*/ 5368 w 7210"/>
                  <a:gd name="T85" fmla="*/ 5324 h 6375"/>
                  <a:gd name="T86" fmla="*/ 6150 w 7210"/>
                  <a:gd name="T87" fmla="*/ 5324 h 6375"/>
                  <a:gd name="T88" fmla="*/ 6150 w 7210"/>
                  <a:gd name="T89" fmla="*/ 4541 h 6375"/>
                  <a:gd name="T90" fmla="*/ 5420 w 7210"/>
                  <a:gd name="T91" fmla="*/ 4495 h 6375"/>
                  <a:gd name="T92" fmla="*/ 4390 w 7210"/>
                  <a:gd name="T93" fmla="*/ 3465 h 6375"/>
                  <a:gd name="T94" fmla="*/ 4638 w 7210"/>
                  <a:gd name="T95" fmla="*/ 2846 h 6375"/>
                  <a:gd name="T96" fmla="*/ 6108 w 7210"/>
                  <a:gd name="T97" fmla="*/ 2846 h 6375"/>
                  <a:gd name="T98" fmla="*/ 6657 w 7210"/>
                  <a:gd name="T99" fmla="*/ 3329 h 6375"/>
                  <a:gd name="T100" fmla="*/ 7210 w 7210"/>
                  <a:gd name="T101" fmla="*/ 2776 h 6375"/>
                  <a:gd name="T102" fmla="*/ 6657 w 7210"/>
                  <a:gd name="T103" fmla="*/ 2223 h 6375"/>
                  <a:gd name="T104" fmla="*/ 4234 w 7210"/>
                  <a:gd name="T105" fmla="*/ 3415 h 6375"/>
                  <a:gd name="T106" fmla="*/ 3611 w 7210"/>
                  <a:gd name="T107" fmla="*/ 3673 h 6375"/>
                  <a:gd name="T108" fmla="*/ 2989 w 7210"/>
                  <a:gd name="T109" fmla="*/ 3415 h 6375"/>
                  <a:gd name="T110" fmla="*/ 2731 w 7210"/>
                  <a:gd name="T111" fmla="*/ 2792 h 6375"/>
                  <a:gd name="T112" fmla="*/ 2989 w 7210"/>
                  <a:gd name="T113" fmla="*/ 2170 h 6375"/>
                  <a:gd name="T114" fmla="*/ 3611 w 7210"/>
                  <a:gd name="T115" fmla="*/ 1912 h 6375"/>
                  <a:gd name="T116" fmla="*/ 4234 w 7210"/>
                  <a:gd name="T117" fmla="*/ 2170 h 6375"/>
                  <a:gd name="T118" fmla="*/ 4492 w 7210"/>
                  <a:gd name="T119" fmla="*/ 2792 h 6375"/>
                  <a:gd name="T120" fmla="*/ 4234 w 7210"/>
                  <a:gd name="T121" fmla="*/ 3415 h 6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10" h="6375">
                    <a:moveTo>
                      <a:pt x="6657" y="2223"/>
                    </a:moveTo>
                    <a:cubicBezTo>
                      <a:pt x="6375" y="2223"/>
                      <a:pt x="6143" y="2434"/>
                      <a:pt x="6108" y="2706"/>
                    </a:cubicBezTo>
                    <a:cubicBezTo>
                      <a:pt x="4636" y="2706"/>
                      <a:pt x="4636" y="2706"/>
                      <a:pt x="4636" y="2706"/>
                    </a:cubicBezTo>
                    <a:cubicBezTo>
                      <a:pt x="4617" y="2476"/>
                      <a:pt x="4522" y="2268"/>
                      <a:pt x="4377" y="2106"/>
                    </a:cubicBezTo>
                    <a:cubicBezTo>
                      <a:pt x="5429" y="1053"/>
                      <a:pt x="5429" y="1053"/>
                      <a:pt x="5429" y="1053"/>
                    </a:cubicBezTo>
                    <a:cubicBezTo>
                      <a:pt x="5646" y="1222"/>
                      <a:pt x="5960" y="1206"/>
                      <a:pt x="6159" y="1007"/>
                    </a:cubicBezTo>
                    <a:cubicBezTo>
                      <a:pt x="6375" y="791"/>
                      <a:pt x="6375" y="441"/>
                      <a:pt x="6159" y="225"/>
                    </a:cubicBezTo>
                    <a:cubicBezTo>
                      <a:pt x="5943" y="9"/>
                      <a:pt x="5593" y="9"/>
                      <a:pt x="5377" y="225"/>
                    </a:cubicBezTo>
                    <a:cubicBezTo>
                      <a:pt x="5177" y="424"/>
                      <a:pt x="5162" y="738"/>
                      <a:pt x="5330" y="955"/>
                    </a:cubicBezTo>
                    <a:cubicBezTo>
                      <a:pt x="4277" y="2008"/>
                      <a:pt x="4277" y="2008"/>
                      <a:pt x="4277" y="2008"/>
                    </a:cubicBezTo>
                    <a:cubicBezTo>
                      <a:pt x="4097" y="1856"/>
                      <a:pt x="3865" y="1764"/>
                      <a:pt x="3611" y="1764"/>
                    </a:cubicBezTo>
                    <a:cubicBezTo>
                      <a:pt x="3351" y="1764"/>
                      <a:pt x="3114" y="1860"/>
                      <a:pt x="2933" y="2020"/>
                    </a:cubicBezTo>
                    <a:cubicBezTo>
                      <a:pt x="2948" y="2005"/>
                      <a:pt x="2948" y="2005"/>
                      <a:pt x="2948" y="2005"/>
                    </a:cubicBezTo>
                    <a:cubicBezTo>
                      <a:pt x="1889" y="946"/>
                      <a:pt x="1889" y="946"/>
                      <a:pt x="1889" y="946"/>
                    </a:cubicBezTo>
                    <a:cubicBezTo>
                      <a:pt x="2057" y="729"/>
                      <a:pt x="2042" y="415"/>
                      <a:pt x="1842" y="216"/>
                    </a:cubicBezTo>
                    <a:cubicBezTo>
                      <a:pt x="1626" y="0"/>
                      <a:pt x="1276" y="0"/>
                      <a:pt x="1060" y="216"/>
                    </a:cubicBezTo>
                    <a:cubicBezTo>
                      <a:pt x="844" y="432"/>
                      <a:pt x="844" y="782"/>
                      <a:pt x="1060" y="998"/>
                    </a:cubicBezTo>
                    <a:cubicBezTo>
                      <a:pt x="1259" y="1198"/>
                      <a:pt x="1573" y="1213"/>
                      <a:pt x="1790" y="1045"/>
                    </a:cubicBezTo>
                    <a:cubicBezTo>
                      <a:pt x="2848" y="2103"/>
                      <a:pt x="2848" y="2103"/>
                      <a:pt x="2848" y="2103"/>
                    </a:cubicBezTo>
                    <a:cubicBezTo>
                      <a:pt x="2704" y="2262"/>
                      <a:pt x="2609" y="2467"/>
                      <a:pt x="2587" y="2694"/>
                    </a:cubicBezTo>
                    <a:cubicBezTo>
                      <a:pt x="1102" y="2694"/>
                      <a:pt x="1102" y="2694"/>
                      <a:pt x="1102" y="2694"/>
                    </a:cubicBezTo>
                    <a:cubicBezTo>
                      <a:pt x="1067" y="2421"/>
                      <a:pt x="835" y="2210"/>
                      <a:pt x="553" y="2210"/>
                    </a:cubicBezTo>
                    <a:cubicBezTo>
                      <a:pt x="247" y="2210"/>
                      <a:pt x="0" y="2458"/>
                      <a:pt x="0" y="2764"/>
                    </a:cubicBezTo>
                    <a:cubicBezTo>
                      <a:pt x="0" y="3069"/>
                      <a:pt x="247" y="3317"/>
                      <a:pt x="553" y="3317"/>
                    </a:cubicBezTo>
                    <a:cubicBezTo>
                      <a:pt x="835" y="3317"/>
                      <a:pt x="1067" y="3106"/>
                      <a:pt x="1102" y="2834"/>
                    </a:cubicBezTo>
                    <a:cubicBezTo>
                      <a:pt x="2584" y="2834"/>
                      <a:pt x="2584" y="2834"/>
                      <a:pt x="2584" y="2834"/>
                    </a:cubicBezTo>
                    <a:cubicBezTo>
                      <a:pt x="2593" y="3067"/>
                      <a:pt x="2679" y="3280"/>
                      <a:pt x="2819" y="3448"/>
                    </a:cubicBezTo>
                    <a:cubicBezTo>
                      <a:pt x="1781" y="4486"/>
                      <a:pt x="1781" y="4486"/>
                      <a:pt x="1781" y="4486"/>
                    </a:cubicBezTo>
                    <a:cubicBezTo>
                      <a:pt x="1564" y="4318"/>
                      <a:pt x="1250" y="4333"/>
                      <a:pt x="1051" y="4533"/>
                    </a:cubicBezTo>
                    <a:cubicBezTo>
                      <a:pt x="835" y="4749"/>
                      <a:pt x="835" y="5099"/>
                      <a:pt x="1051" y="5315"/>
                    </a:cubicBezTo>
                    <a:cubicBezTo>
                      <a:pt x="1267" y="5531"/>
                      <a:pt x="1617" y="5531"/>
                      <a:pt x="1833" y="5315"/>
                    </a:cubicBezTo>
                    <a:cubicBezTo>
                      <a:pt x="2033" y="5116"/>
                      <a:pt x="2048" y="4802"/>
                      <a:pt x="1880" y="4585"/>
                    </a:cubicBezTo>
                    <a:cubicBezTo>
                      <a:pt x="2915" y="3550"/>
                      <a:pt x="2915" y="3550"/>
                      <a:pt x="2915" y="3550"/>
                    </a:cubicBezTo>
                    <a:cubicBezTo>
                      <a:pt x="3079" y="3701"/>
                      <a:pt x="3293" y="3799"/>
                      <a:pt x="3529" y="3818"/>
                    </a:cubicBezTo>
                    <a:cubicBezTo>
                      <a:pt x="3529" y="5273"/>
                      <a:pt x="3529" y="5273"/>
                      <a:pt x="3529" y="5273"/>
                    </a:cubicBezTo>
                    <a:cubicBezTo>
                      <a:pt x="3256" y="5308"/>
                      <a:pt x="3046" y="5540"/>
                      <a:pt x="3046" y="5822"/>
                    </a:cubicBezTo>
                    <a:cubicBezTo>
                      <a:pt x="3046" y="6128"/>
                      <a:pt x="3293" y="6375"/>
                      <a:pt x="3599" y="6375"/>
                    </a:cubicBezTo>
                    <a:cubicBezTo>
                      <a:pt x="3904" y="6375"/>
                      <a:pt x="4152" y="6128"/>
                      <a:pt x="4152" y="5822"/>
                    </a:cubicBezTo>
                    <a:cubicBezTo>
                      <a:pt x="4152" y="5540"/>
                      <a:pt x="3941" y="5308"/>
                      <a:pt x="3669" y="5273"/>
                    </a:cubicBezTo>
                    <a:cubicBezTo>
                      <a:pt x="3669" y="3819"/>
                      <a:pt x="3669" y="3819"/>
                      <a:pt x="3669" y="3819"/>
                    </a:cubicBezTo>
                    <a:cubicBezTo>
                      <a:pt x="3907" y="3806"/>
                      <a:pt x="4123" y="3712"/>
                      <a:pt x="4291" y="3564"/>
                    </a:cubicBezTo>
                    <a:cubicBezTo>
                      <a:pt x="5321" y="4594"/>
                      <a:pt x="5321" y="4594"/>
                      <a:pt x="5321" y="4594"/>
                    </a:cubicBezTo>
                    <a:cubicBezTo>
                      <a:pt x="5153" y="4811"/>
                      <a:pt x="5168" y="5124"/>
                      <a:pt x="5368" y="5324"/>
                    </a:cubicBezTo>
                    <a:cubicBezTo>
                      <a:pt x="5584" y="5540"/>
                      <a:pt x="5934" y="5540"/>
                      <a:pt x="6150" y="5324"/>
                    </a:cubicBezTo>
                    <a:cubicBezTo>
                      <a:pt x="6366" y="5108"/>
                      <a:pt x="6366" y="4757"/>
                      <a:pt x="6150" y="4541"/>
                    </a:cubicBezTo>
                    <a:cubicBezTo>
                      <a:pt x="5951" y="4342"/>
                      <a:pt x="5637" y="4327"/>
                      <a:pt x="5420" y="4495"/>
                    </a:cubicBezTo>
                    <a:cubicBezTo>
                      <a:pt x="4390" y="3465"/>
                      <a:pt x="4390" y="3465"/>
                      <a:pt x="4390" y="3465"/>
                    </a:cubicBezTo>
                    <a:cubicBezTo>
                      <a:pt x="4535" y="3297"/>
                      <a:pt x="4626" y="3082"/>
                      <a:pt x="4638" y="2846"/>
                    </a:cubicBezTo>
                    <a:cubicBezTo>
                      <a:pt x="6108" y="2846"/>
                      <a:pt x="6108" y="2846"/>
                      <a:pt x="6108" y="2846"/>
                    </a:cubicBezTo>
                    <a:cubicBezTo>
                      <a:pt x="6143" y="3119"/>
                      <a:pt x="6375" y="3329"/>
                      <a:pt x="6657" y="3329"/>
                    </a:cubicBezTo>
                    <a:cubicBezTo>
                      <a:pt x="6963" y="3329"/>
                      <a:pt x="7210" y="3082"/>
                      <a:pt x="7210" y="2776"/>
                    </a:cubicBezTo>
                    <a:cubicBezTo>
                      <a:pt x="7210" y="2471"/>
                      <a:pt x="6963" y="2223"/>
                      <a:pt x="6657" y="2223"/>
                    </a:cubicBezTo>
                    <a:close/>
                    <a:moveTo>
                      <a:pt x="4234" y="3415"/>
                    </a:moveTo>
                    <a:cubicBezTo>
                      <a:pt x="4068" y="3581"/>
                      <a:pt x="3846" y="3673"/>
                      <a:pt x="3611" y="3673"/>
                    </a:cubicBezTo>
                    <a:cubicBezTo>
                      <a:pt x="3376" y="3673"/>
                      <a:pt x="3155" y="3581"/>
                      <a:pt x="2989" y="3415"/>
                    </a:cubicBezTo>
                    <a:cubicBezTo>
                      <a:pt x="2822" y="3249"/>
                      <a:pt x="2731" y="3028"/>
                      <a:pt x="2731" y="2792"/>
                    </a:cubicBezTo>
                    <a:cubicBezTo>
                      <a:pt x="2731" y="2557"/>
                      <a:pt x="2822" y="2336"/>
                      <a:pt x="2989" y="2170"/>
                    </a:cubicBezTo>
                    <a:cubicBezTo>
                      <a:pt x="3155" y="2003"/>
                      <a:pt x="3376" y="1912"/>
                      <a:pt x="3611" y="1912"/>
                    </a:cubicBezTo>
                    <a:cubicBezTo>
                      <a:pt x="3846" y="1912"/>
                      <a:pt x="4068" y="2003"/>
                      <a:pt x="4234" y="2170"/>
                    </a:cubicBezTo>
                    <a:cubicBezTo>
                      <a:pt x="4400" y="2336"/>
                      <a:pt x="4492" y="2557"/>
                      <a:pt x="4492" y="2792"/>
                    </a:cubicBezTo>
                    <a:cubicBezTo>
                      <a:pt x="4492" y="3028"/>
                      <a:pt x="4400" y="3249"/>
                      <a:pt x="4234" y="3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Oval 56"/>
            <p:cNvSpPr/>
            <p:nvPr/>
          </p:nvSpPr>
          <p:spPr>
            <a:xfrm>
              <a:off x="6777331"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 name="Group 4"/>
          <p:cNvGrpSpPr/>
          <p:nvPr/>
        </p:nvGrpSpPr>
        <p:grpSpPr>
          <a:xfrm>
            <a:off x="1153968" y="1879200"/>
            <a:ext cx="1220202" cy="1220199"/>
            <a:chOff x="1153968" y="1832293"/>
            <a:chExt cx="1220202" cy="1220199"/>
          </a:xfrm>
        </p:grpSpPr>
        <p:grpSp>
          <p:nvGrpSpPr>
            <p:cNvPr id="26" name="Group 25"/>
            <p:cNvGrpSpPr/>
            <p:nvPr/>
          </p:nvGrpSpPr>
          <p:grpSpPr>
            <a:xfrm>
              <a:off x="1405747" y="2085834"/>
              <a:ext cx="712577" cy="733992"/>
              <a:chOff x="-1168400" y="2544763"/>
              <a:chExt cx="581025" cy="598487"/>
            </a:xfrm>
            <a:solidFill>
              <a:schemeClr val="accent1"/>
            </a:solidFill>
          </p:grpSpPr>
          <p:sp>
            <p:nvSpPr>
              <p:cNvPr id="27" name="Freeform 26"/>
              <p:cNvSpPr>
                <a:spLocks/>
              </p:cNvSpPr>
              <p:nvPr/>
            </p:nvSpPr>
            <p:spPr bwMode="auto">
              <a:xfrm>
                <a:off x="-1168400" y="2544763"/>
                <a:ext cx="130175" cy="598487"/>
              </a:xfrm>
              <a:custGeom>
                <a:avLst/>
                <a:gdLst>
                  <a:gd name="T0" fmla="*/ 397 w 527"/>
                  <a:gd name="T1" fmla="*/ 872 h 2412"/>
                  <a:gd name="T2" fmla="*/ 397 w 527"/>
                  <a:gd name="T3" fmla="*/ 138 h 2412"/>
                  <a:gd name="T4" fmla="*/ 259 w 527"/>
                  <a:gd name="T5" fmla="*/ 0 h 2412"/>
                  <a:gd name="T6" fmla="*/ 259 w 527"/>
                  <a:gd name="T7" fmla="*/ 0 h 2412"/>
                  <a:gd name="T8" fmla="*/ 121 w 527"/>
                  <a:gd name="T9" fmla="*/ 138 h 2412"/>
                  <a:gd name="T10" fmla="*/ 121 w 527"/>
                  <a:gd name="T11" fmla="*/ 872 h 2412"/>
                  <a:gd name="T12" fmla="*/ 0 w 527"/>
                  <a:gd name="T13" fmla="*/ 1004 h 2412"/>
                  <a:gd name="T14" fmla="*/ 0 w 527"/>
                  <a:gd name="T15" fmla="*/ 1166 h 2412"/>
                  <a:gd name="T16" fmla="*/ 121 w 527"/>
                  <a:gd name="T17" fmla="*/ 1297 h 2412"/>
                  <a:gd name="T18" fmla="*/ 121 w 527"/>
                  <a:gd name="T19" fmla="*/ 2274 h 2412"/>
                  <a:gd name="T20" fmla="*/ 259 w 527"/>
                  <a:gd name="T21" fmla="*/ 2412 h 2412"/>
                  <a:gd name="T22" fmla="*/ 259 w 527"/>
                  <a:gd name="T23" fmla="*/ 2412 h 2412"/>
                  <a:gd name="T24" fmla="*/ 397 w 527"/>
                  <a:gd name="T25" fmla="*/ 2274 h 2412"/>
                  <a:gd name="T26" fmla="*/ 397 w 527"/>
                  <a:gd name="T27" fmla="*/ 1297 h 2412"/>
                  <a:gd name="T28" fmla="*/ 527 w 527"/>
                  <a:gd name="T29" fmla="*/ 1166 h 2412"/>
                  <a:gd name="T30" fmla="*/ 527 w 527"/>
                  <a:gd name="T31" fmla="*/ 1004 h 2412"/>
                  <a:gd name="T32" fmla="*/ 397 w 527"/>
                  <a:gd name="T33" fmla="*/ 872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7" h="2412">
                    <a:moveTo>
                      <a:pt x="397" y="872"/>
                    </a:moveTo>
                    <a:cubicBezTo>
                      <a:pt x="397" y="138"/>
                      <a:pt x="397" y="138"/>
                      <a:pt x="397" y="138"/>
                    </a:cubicBezTo>
                    <a:cubicBezTo>
                      <a:pt x="397" y="62"/>
                      <a:pt x="335" y="0"/>
                      <a:pt x="259" y="0"/>
                    </a:cubicBezTo>
                    <a:cubicBezTo>
                      <a:pt x="259" y="0"/>
                      <a:pt x="259" y="0"/>
                      <a:pt x="259" y="0"/>
                    </a:cubicBezTo>
                    <a:cubicBezTo>
                      <a:pt x="183" y="0"/>
                      <a:pt x="121" y="62"/>
                      <a:pt x="121" y="138"/>
                    </a:cubicBezTo>
                    <a:cubicBezTo>
                      <a:pt x="121" y="872"/>
                      <a:pt x="121" y="872"/>
                      <a:pt x="121" y="872"/>
                    </a:cubicBezTo>
                    <a:cubicBezTo>
                      <a:pt x="53" y="877"/>
                      <a:pt x="0" y="934"/>
                      <a:pt x="0" y="1004"/>
                    </a:cubicBezTo>
                    <a:cubicBezTo>
                      <a:pt x="0" y="1166"/>
                      <a:pt x="0" y="1166"/>
                      <a:pt x="0" y="1166"/>
                    </a:cubicBezTo>
                    <a:cubicBezTo>
                      <a:pt x="0" y="1235"/>
                      <a:pt x="53" y="1292"/>
                      <a:pt x="121" y="1297"/>
                    </a:cubicBezTo>
                    <a:cubicBezTo>
                      <a:pt x="121" y="2274"/>
                      <a:pt x="121" y="2274"/>
                      <a:pt x="121" y="2274"/>
                    </a:cubicBezTo>
                    <a:cubicBezTo>
                      <a:pt x="121" y="2350"/>
                      <a:pt x="183" y="2412"/>
                      <a:pt x="259" y="2412"/>
                    </a:cubicBezTo>
                    <a:cubicBezTo>
                      <a:pt x="259" y="2412"/>
                      <a:pt x="259" y="2412"/>
                      <a:pt x="259" y="2412"/>
                    </a:cubicBezTo>
                    <a:cubicBezTo>
                      <a:pt x="335" y="2412"/>
                      <a:pt x="397" y="2350"/>
                      <a:pt x="397" y="2274"/>
                    </a:cubicBezTo>
                    <a:cubicBezTo>
                      <a:pt x="397" y="1297"/>
                      <a:pt x="397" y="1297"/>
                      <a:pt x="397" y="1297"/>
                    </a:cubicBezTo>
                    <a:cubicBezTo>
                      <a:pt x="469" y="1297"/>
                      <a:pt x="527" y="1238"/>
                      <a:pt x="527" y="1166"/>
                    </a:cubicBezTo>
                    <a:cubicBezTo>
                      <a:pt x="527" y="1004"/>
                      <a:pt x="527" y="1004"/>
                      <a:pt x="527" y="1004"/>
                    </a:cubicBezTo>
                    <a:cubicBezTo>
                      <a:pt x="527" y="931"/>
                      <a:pt x="469" y="872"/>
                      <a:pt x="397" y="8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p:nvSpPr>
            <p:spPr bwMode="auto">
              <a:xfrm>
                <a:off x="-1019175" y="2544763"/>
                <a:ext cx="131763" cy="598487"/>
              </a:xfrm>
              <a:custGeom>
                <a:avLst/>
                <a:gdLst>
                  <a:gd name="T0" fmla="*/ 402 w 528"/>
                  <a:gd name="T1" fmla="*/ 1586 h 2412"/>
                  <a:gd name="T2" fmla="*/ 402 w 528"/>
                  <a:gd name="T3" fmla="*/ 138 h 2412"/>
                  <a:gd name="T4" fmla="*/ 264 w 528"/>
                  <a:gd name="T5" fmla="*/ 0 h 2412"/>
                  <a:gd name="T6" fmla="*/ 264 w 528"/>
                  <a:gd name="T7" fmla="*/ 0 h 2412"/>
                  <a:gd name="T8" fmla="*/ 126 w 528"/>
                  <a:gd name="T9" fmla="*/ 138 h 2412"/>
                  <a:gd name="T10" fmla="*/ 126 w 528"/>
                  <a:gd name="T11" fmla="*/ 1586 h 2412"/>
                  <a:gd name="T12" fmla="*/ 0 w 528"/>
                  <a:gd name="T13" fmla="*/ 1717 h 2412"/>
                  <a:gd name="T14" fmla="*/ 0 w 528"/>
                  <a:gd name="T15" fmla="*/ 1879 h 2412"/>
                  <a:gd name="T16" fmla="*/ 126 w 528"/>
                  <a:gd name="T17" fmla="*/ 2011 h 2412"/>
                  <a:gd name="T18" fmla="*/ 126 w 528"/>
                  <a:gd name="T19" fmla="*/ 2274 h 2412"/>
                  <a:gd name="T20" fmla="*/ 264 w 528"/>
                  <a:gd name="T21" fmla="*/ 2412 h 2412"/>
                  <a:gd name="T22" fmla="*/ 264 w 528"/>
                  <a:gd name="T23" fmla="*/ 2412 h 2412"/>
                  <a:gd name="T24" fmla="*/ 402 w 528"/>
                  <a:gd name="T25" fmla="*/ 2274 h 2412"/>
                  <a:gd name="T26" fmla="*/ 402 w 528"/>
                  <a:gd name="T27" fmla="*/ 2011 h 2412"/>
                  <a:gd name="T28" fmla="*/ 528 w 528"/>
                  <a:gd name="T29" fmla="*/ 1879 h 2412"/>
                  <a:gd name="T30" fmla="*/ 528 w 528"/>
                  <a:gd name="T31" fmla="*/ 1717 h 2412"/>
                  <a:gd name="T32" fmla="*/ 402 w 528"/>
                  <a:gd name="T33" fmla="*/ 1586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586"/>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586"/>
                      <a:pt x="126" y="1586"/>
                      <a:pt x="126" y="1586"/>
                    </a:cubicBezTo>
                    <a:cubicBezTo>
                      <a:pt x="56" y="1589"/>
                      <a:pt x="0" y="1647"/>
                      <a:pt x="0" y="1717"/>
                    </a:cubicBezTo>
                    <a:cubicBezTo>
                      <a:pt x="0" y="1879"/>
                      <a:pt x="0" y="1879"/>
                      <a:pt x="0" y="1879"/>
                    </a:cubicBezTo>
                    <a:cubicBezTo>
                      <a:pt x="0" y="1950"/>
                      <a:pt x="56" y="2008"/>
                      <a:pt x="126" y="2011"/>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2011"/>
                      <a:pt x="402" y="2011"/>
                      <a:pt x="402" y="2011"/>
                    </a:cubicBezTo>
                    <a:cubicBezTo>
                      <a:pt x="472" y="2008"/>
                      <a:pt x="528" y="1950"/>
                      <a:pt x="528" y="1879"/>
                    </a:cubicBezTo>
                    <a:cubicBezTo>
                      <a:pt x="528" y="1717"/>
                      <a:pt x="528" y="1717"/>
                      <a:pt x="528" y="1717"/>
                    </a:cubicBezTo>
                    <a:cubicBezTo>
                      <a:pt x="528" y="1647"/>
                      <a:pt x="472" y="1589"/>
                      <a:pt x="402" y="15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868363" y="2544763"/>
                <a:ext cx="130175" cy="598487"/>
              </a:xfrm>
              <a:custGeom>
                <a:avLst/>
                <a:gdLst>
                  <a:gd name="T0" fmla="*/ 402 w 528"/>
                  <a:gd name="T1" fmla="*/ 344 h 2412"/>
                  <a:gd name="T2" fmla="*/ 402 w 528"/>
                  <a:gd name="T3" fmla="*/ 138 h 2412"/>
                  <a:gd name="T4" fmla="*/ 264 w 528"/>
                  <a:gd name="T5" fmla="*/ 0 h 2412"/>
                  <a:gd name="T6" fmla="*/ 264 w 528"/>
                  <a:gd name="T7" fmla="*/ 0 h 2412"/>
                  <a:gd name="T8" fmla="*/ 126 w 528"/>
                  <a:gd name="T9" fmla="*/ 138 h 2412"/>
                  <a:gd name="T10" fmla="*/ 126 w 528"/>
                  <a:gd name="T11" fmla="*/ 344 h 2412"/>
                  <a:gd name="T12" fmla="*/ 0 w 528"/>
                  <a:gd name="T13" fmla="*/ 476 h 2412"/>
                  <a:gd name="T14" fmla="*/ 0 w 528"/>
                  <a:gd name="T15" fmla="*/ 638 h 2412"/>
                  <a:gd name="T16" fmla="*/ 126 w 528"/>
                  <a:gd name="T17" fmla="*/ 769 h 2412"/>
                  <a:gd name="T18" fmla="*/ 126 w 528"/>
                  <a:gd name="T19" fmla="*/ 2274 h 2412"/>
                  <a:gd name="T20" fmla="*/ 264 w 528"/>
                  <a:gd name="T21" fmla="*/ 2412 h 2412"/>
                  <a:gd name="T22" fmla="*/ 264 w 528"/>
                  <a:gd name="T23" fmla="*/ 2412 h 2412"/>
                  <a:gd name="T24" fmla="*/ 402 w 528"/>
                  <a:gd name="T25" fmla="*/ 2274 h 2412"/>
                  <a:gd name="T26" fmla="*/ 402 w 528"/>
                  <a:gd name="T27" fmla="*/ 769 h 2412"/>
                  <a:gd name="T28" fmla="*/ 528 w 528"/>
                  <a:gd name="T29" fmla="*/ 638 h 2412"/>
                  <a:gd name="T30" fmla="*/ 528 w 528"/>
                  <a:gd name="T31" fmla="*/ 476 h 2412"/>
                  <a:gd name="T32" fmla="*/ 402 w 528"/>
                  <a:gd name="T33" fmla="*/ 344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344"/>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344"/>
                      <a:pt x="126" y="344"/>
                      <a:pt x="126" y="344"/>
                    </a:cubicBezTo>
                    <a:cubicBezTo>
                      <a:pt x="56" y="347"/>
                      <a:pt x="0" y="405"/>
                      <a:pt x="0" y="476"/>
                    </a:cubicBezTo>
                    <a:cubicBezTo>
                      <a:pt x="0" y="638"/>
                      <a:pt x="0" y="638"/>
                      <a:pt x="0" y="638"/>
                    </a:cubicBezTo>
                    <a:cubicBezTo>
                      <a:pt x="0" y="708"/>
                      <a:pt x="56" y="766"/>
                      <a:pt x="126" y="769"/>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769"/>
                      <a:pt x="402" y="769"/>
                      <a:pt x="402" y="769"/>
                    </a:cubicBezTo>
                    <a:cubicBezTo>
                      <a:pt x="472" y="766"/>
                      <a:pt x="528" y="708"/>
                      <a:pt x="528" y="638"/>
                    </a:cubicBezTo>
                    <a:cubicBezTo>
                      <a:pt x="528" y="476"/>
                      <a:pt x="528" y="476"/>
                      <a:pt x="528" y="476"/>
                    </a:cubicBezTo>
                    <a:cubicBezTo>
                      <a:pt x="528" y="405"/>
                      <a:pt x="472" y="347"/>
                      <a:pt x="402"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717550" y="2544763"/>
                <a:ext cx="130175" cy="598487"/>
              </a:xfrm>
              <a:custGeom>
                <a:avLst/>
                <a:gdLst>
                  <a:gd name="T0" fmla="*/ 402 w 528"/>
                  <a:gd name="T1" fmla="*/ 1295 h 2412"/>
                  <a:gd name="T2" fmla="*/ 402 w 528"/>
                  <a:gd name="T3" fmla="*/ 138 h 2412"/>
                  <a:gd name="T4" fmla="*/ 264 w 528"/>
                  <a:gd name="T5" fmla="*/ 0 h 2412"/>
                  <a:gd name="T6" fmla="*/ 264 w 528"/>
                  <a:gd name="T7" fmla="*/ 0 h 2412"/>
                  <a:gd name="T8" fmla="*/ 126 w 528"/>
                  <a:gd name="T9" fmla="*/ 138 h 2412"/>
                  <a:gd name="T10" fmla="*/ 126 w 528"/>
                  <a:gd name="T11" fmla="*/ 1295 h 2412"/>
                  <a:gd name="T12" fmla="*/ 0 w 528"/>
                  <a:gd name="T13" fmla="*/ 1426 h 2412"/>
                  <a:gd name="T14" fmla="*/ 0 w 528"/>
                  <a:gd name="T15" fmla="*/ 1588 h 2412"/>
                  <a:gd name="T16" fmla="*/ 126 w 528"/>
                  <a:gd name="T17" fmla="*/ 1720 h 2412"/>
                  <a:gd name="T18" fmla="*/ 126 w 528"/>
                  <a:gd name="T19" fmla="*/ 2274 h 2412"/>
                  <a:gd name="T20" fmla="*/ 264 w 528"/>
                  <a:gd name="T21" fmla="*/ 2412 h 2412"/>
                  <a:gd name="T22" fmla="*/ 264 w 528"/>
                  <a:gd name="T23" fmla="*/ 2412 h 2412"/>
                  <a:gd name="T24" fmla="*/ 402 w 528"/>
                  <a:gd name="T25" fmla="*/ 2274 h 2412"/>
                  <a:gd name="T26" fmla="*/ 402 w 528"/>
                  <a:gd name="T27" fmla="*/ 1720 h 2412"/>
                  <a:gd name="T28" fmla="*/ 528 w 528"/>
                  <a:gd name="T29" fmla="*/ 1588 h 2412"/>
                  <a:gd name="T30" fmla="*/ 528 w 528"/>
                  <a:gd name="T31" fmla="*/ 1426 h 2412"/>
                  <a:gd name="T32" fmla="*/ 402 w 528"/>
                  <a:gd name="T33" fmla="*/ 1295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295"/>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295"/>
                      <a:pt x="126" y="1295"/>
                      <a:pt x="126" y="1295"/>
                    </a:cubicBezTo>
                    <a:cubicBezTo>
                      <a:pt x="56" y="1298"/>
                      <a:pt x="0" y="1356"/>
                      <a:pt x="0" y="1426"/>
                    </a:cubicBezTo>
                    <a:cubicBezTo>
                      <a:pt x="0" y="1588"/>
                      <a:pt x="0" y="1588"/>
                      <a:pt x="0" y="1588"/>
                    </a:cubicBezTo>
                    <a:cubicBezTo>
                      <a:pt x="0" y="1659"/>
                      <a:pt x="56" y="1717"/>
                      <a:pt x="126" y="1720"/>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1720"/>
                      <a:pt x="402" y="1720"/>
                      <a:pt x="402" y="1720"/>
                    </a:cubicBezTo>
                    <a:cubicBezTo>
                      <a:pt x="472" y="1717"/>
                      <a:pt x="528" y="1659"/>
                      <a:pt x="528" y="1588"/>
                    </a:cubicBezTo>
                    <a:cubicBezTo>
                      <a:pt x="528" y="1426"/>
                      <a:pt x="528" y="1426"/>
                      <a:pt x="528" y="1426"/>
                    </a:cubicBezTo>
                    <a:cubicBezTo>
                      <a:pt x="528" y="1356"/>
                      <a:pt x="472" y="1298"/>
                      <a:pt x="402" y="1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Oval 58"/>
            <p:cNvSpPr/>
            <p:nvPr/>
          </p:nvSpPr>
          <p:spPr>
            <a:xfrm>
              <a:off x="1153968"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4" name="Freeform 6"/>
          <p:cNvSpPr>
            <a:spLocks/>
          </p:cNvSpPr>
          <p:nvPr/>
        </p:nvSpPr>
        <p:spPr bwMode="auto">
          <a:xfrm>
            <a:off x="450755"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marL="0" indent="0">
              <a:spcAft>
                <a:spcPts val="600"/>
              </a:spcAft>
              <a:buNone/>
            </a:pPr>
            <a:r>
              <a:rPr lang="zh-CN" altLang="en-US" sz="1600" dirty="0" smtClean="0">
                <a:solidFill>
                  <a:schemeClr val="tx2"/>
                </a:solidFill>
                <a:latin typeface="SimSun" panose="02010600030101010101" pitchFamily="2" charset="-122"/>
                <a:ea typeface="SimSun" panose="02010600030101010101" pitchFamily="2" charset="-122"/>
              </a:rPr>
              <a:t>一个版本控制系统（</a:t>
            </a:r>
            <a:r>
              <a:rPr lang="ja-JP" altLang="en-US" sz="1600" dirty="0" smtClean="0">
                <a:solidFill>
                  <a:schemeClr val="tx2"/>
                </a:solidFill>
                <a:latin typeface="SimSun" panose="02010600030101010101" pitchFamily="2" charset="-122"/>
                <a:ea typeface="SimSun" panose="02010600030101010101" pitchFamily="2" charset="-122"/>
              </a:rPr>
              <a:t>也被称为</a:t>
            </a:r>
            <a:r>
              <a:rPr lang="zh-CN" altLang="en-US" sz="1600" dirty="0" smtClean="0">
                <a:solidFill>
                  <a:schemeClr val="tx2"/>
                </a:solidFill>
                <a:latin typeface="SimSun" panose="02010600030101010101" pitchFamily="2" charset="-122"/>
                <a:ea typeface="SimSun" panose="02010600030101010101" pitchFamily="2" charset="-122"/>
              </a:rPr>
              <a:t>修改控制系统</a:t>
            </a:r>
            <a:r>
              <a:rPr lang="zh-CN" altLang="en-US" sz="1600" dirty="0">
                <a:solidFill>
                  <a:schemeClr val="tx2"/>
                </a:solidFill>
                <a:latin typeface="SimSun" panose="02010600030101010101" pitchFamily="2" charset="-122"/>
                <a:ea typeface="SimSun" panose="02010600030101010101" pitchFamily="2" charset="-122"/>
              </a:rPr>
              <a:t>）</a:t>
            </a:r>
            <a:r>
              <a:rPr lang="zh-CN" altLang="en-US" sz="1600" dirty="0" smtClean="0">
                <a:solidFill>
                  <a:schemeClr val="tx2"/>
                </a:solidFill>
                <a:latin typeface="SimSun" panose="02010600030101010101" pitchFamily="2" charset="-122"/>
                <a:ea typeface="SimSun" panose="02010600030101010101" pitchFamily="2" charset="-122"/>
              </a:rPr>
              <a:t>是一个资产库，通常是具备可管理的访问控制的程序的源代码文件。</a:t>
            </a:r>
            <a:endParaRPr lang="en-US" sz="1600" dirty="0">
              <a:solidFill>
                <a:schemeClr val="tx2"/>
              </a:solidFill>
              <a:latin typeface="SimSun" panose="02010600030101010101" pitchFamily="2" charset="-122"/>
              <a:ea typeface="SimSun" panose="02010600030101010101" pitchFamily="2" charset="-122"/>
            </a:endParaRPr>
          </a:p>
        </p:txBody>
      </p:sp>
      <p:sp>
        <p:nvSpPr>
          <p:cNvPr id="35"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marL="0" indent="0">
              <a:spcAft>
                <a:spcPts val="600"/>
              </a:spcAft>
              <a:buNone/>
            </a:pPr>
            <a:r>
              <a:rPr lang="zh-CN" altLang="en-US" sz="1500" dirty="0">
                <a:solidFill>
                  <a:schemeClr val="tx2"/>
                </a:solidFill>
                <a:latin typeface="SimSun" panose="02010600030101010101" pitchFamily="2" charset="-122"/>
                <a:ea typeface="SimSun" panose="02010600030101010101" pitchFamily="2" charset="-122"/>
              </a:rPr>
              <a:t>对于资产的</a:t>
            </a:r>
            <a:r>
              <a:rPr lang="zh-CN" altLang="en-US" sz="1500" dirty="0" smtClean="0">
                <a:solidFill>
                  <a:schemeClr val="tx2"/>
                </a:solidFill>
                <a:latin typeface="SimSun" panose="02010600030101010101" pitchFamily="2" charset="-122"/>
                <a:ea typeface="SimSun" panose="02010600030101010101" pitchFamily="2" charset="-122"/>
              </a:rPr>
              <a:t>所有更改都可以被追踪：</a:t>
            </a:r>
            <a:endParaRPr lang="en-GB" sz="1500" dirty="0">
              <a:solidFill>
                <a:schemeClr val="tx2"/>
              </a:solidFill>
              <a:latin typeface="SimSun" panose="02010600030101010101" pitchFamily="2" charset="-122"/>
              <a:ea typeface="SimSun" panose="02010600030101010101" pitchFamily="2" charset="-122"/>
            </a:endParaRPr>
          </a:p>
          <a:p>
            <a:pPr marL="177800" lvl="1" indent="-177800">
              <a:spcBef>
                <a:spcPts val="0"/>
              </a:spcBef>
              <a:spcAft>
                <a:spcPts val="400"/>
              </a:spcAft>
              <a:buFont typeface="Arial" panose="020B0604020202020204" pitchFamily="34" charset="0"/>
              <a:buChar char="•"/>
            </a:pPr>
            <a:r>
              <a:rPr lang="zh-CN" altLang="en-US" sz="1500" dirty="0" smtClean="0">
                <a:solidFill>
                  <a:schemeClr val="tx2"/>
                </a:solidFill>
                <a:latin typeface="SimSun" panose="02010600030101010101" pitchFamily="2" charset="-122"/>
                <a:ea typeface="SimSun" panose="02010600030101010101" pitchFamily="2" charset="-122"/>
              </a:rPr>
              <a:t>谁做的更改</a:t>
            </a:r>
            <a:endParaRPr lang="en-GB" sz="1500" dirty="0">
              <a:solidFill>
                <a:schemeClr val="tx2"/>
              </a:solidFill>
              <a:latin typeface="SimSun" panose="02010600030101010101" pitchFamily="2" charset="-122"/>
              <a:ea typeface="SimSun" panose="02010600030101010101" pitchFamily="2" charset="-122"/>
            </a:endParaRPr>
          </a:p>
          <a:p>
            <a:pPr marL="177800" lvl="1" indent="-177800">
              <a:spcBef>
                <a:spcPts val="0"/>
              </a:spcBef>
              <a:spcAft>
                <a:spcPts val="400"/>
              </a:spcAft>
              <a:buFont typeface="Arial" panose="020B0604020202020204" pitchFamily="34" charset="0"/>
              <a:buChar char="•"/>
            </a:pPr>
            <a:r>
              <a:rPr lang="zh-CN" altLang="en-US" sz="1500" dirty="0" smtClean="0">
                <a:solidFill>
                  <a:schemeClr val="tx2"/>
                </a:solidFill>
                <a:latin typeface="SimSun" panose="02010600030101010101" pitchFamily="2" charset="-122"/>
                <a:ea typeface="SimSun" panose="02010600030101010101" pitchFamily="2" charset="-122"/>
              </a:rPr>
              <a:t>现版本内容与前版本的区别</a:t>
            </a:r>
            <a:endParaRPr lang="en-GB" sz="1500" dirty="0" smtClean="0">
              <a:solidFill>
                <a:schemeClr val="tx2"/>
              </a:solidFill>
              <a:latin typeface="SimSun" panose="02010600030101010101" pitchFamily="2" charset="-122"/>
              <a:ea typeface="SimSun" panose="02010600030101010101" pitchFamily="2" charset="-122"/>
            </a:endParaRPr>
          </a:p>
          <a:p>
            <a:pPr marL="177800" lvl="1" indent="-177800">
              <a:spcBef>
                <a:spcPts val="0"/>
              </a:spcBef>
              <a:spcAft>
                <a:spcPts val="400"/>
              </a:spcAft>
              <a:buFont typeface="Arial" panose="020B0604020202020204" pitchFamily="34" charset="0"/>
              <a:buChar char="•"/>
            </a:pPr>
            <a:r>
              <a:rPr lang="zh-CN" altLang="en-US" sz="1500" dirty="0" smtClean="0">
                <a:solidFill>
                  <a:schemeClr val="tx2"/>
                </a:solidFill>
                <a:latin typeface="SimSun" panose="02010600030101010101" pitchFamily="2" charset="-122"/>
                <a:ea typeface="SimSun" panose="02010600030101010101" pitchFamily="2" charset="-122"/>
              </a:rPr>
              <a:t>作为更改中的一部分，任何作者提供的元数据（注释）</a:t>
            </a:r>
            <a:endParaRPr lang="en-GB" sz="1500" dirty="0" smtClean="0">
              <a:solidFill>
                <a:schemeClr val="tx2"/>
              </a:solidFill>
              <a:latin typeface="SimSun" panose="02010600030101010101" pitchFamily="2" charset="-122"/>
              <a:ea typeface="SimSun" panose="02010600030101010101" pitchFamily="2" charset="-122"/>
            </a:endParaRPr>
          </a:p>
        </p:txBody>
      </p:sp>
      <p:sp>
        <p:nvSpPr>
          <p:cNvPr id="37"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marL="0" indent="0">
              <a:spcAft>
                <a:spcPts val="600"/>
              </a:spcAft>
              <a:buNone/>
            </a:pPr>
            <a:r>
              <a:rPr lang="zh-CN" altLang="en-US" sz="1500" dirty="0" smtClean="0">
                <a:solidFill>
                  <a:schemeClr val="tx2"/>
                </a:solidFill>
                <a:latin typeface="SimSun" panose="02010600030101010101" pitchFamily="2" charset="-122"/>
                <a:ea typeface="SimSun" panose="02010600030101010101" pitchFamily="2" charset="-122"/>
              </a:rPr>
              <a:t>版本控制系统的种类（用于源代码）</a:t>
            </a:r>
            <a:endParaRPr lang="en-GB" sz="1500" dirty="0" smtClean="0">
              <a:solidFill>
                <a:schemeClr val="tx2"/>
              </a:solidFill>
              <a:latin typeface="SimSun" panose="02010600030101010101" pitchFamily="2" charset="-122"/>
              <a:ea typeface="SimSun" panose="02010600030101010101" pitchFamily="2" charset="-122"/>
            </a:endParaRPr>
          </a:p>
          <a:p>
            <a:pPr marL="177800" lvl="1" indent="-177800">
              <a:spcBef>
                <a:spcPts val="0"/>
              </a:spcBef>
              <a:spcAft>
                <a:spcPts val="400"/>
              </a:spcAft>
              <a:buFont typeface="Arial" panose="020B0604020202020204" pitchFamily="34" charset="0"/>
              <a:buChar char="•"/>
            </a:pPr>
            <a:r>
              <a:rPr lang="zh-CN" altLang="en-US" sz="1500" dirty="0" smtClean="0">
                <a:solidFill>
                  <a:schemeClr val="tx2"/>
                </a:solidFill>
                <a:latin typeface="SimSun" panose="02010600030101010101" pitchFamily="2" charset="-122"/>
                <a:ea typeface="SimSun" panose="02010600030101010101" pitchFamily="2" charset="-122"/>
              </a:rPr>
              <a:t>集</a:t>
            </a:r>
            <a:r>
              <a:rPr lang="zh-CN" altLang="en-US" sz="1500" dirty="0">
                <a:solidFill>
                  <a:schemeClr val="tx2"/>
                </a:solidFill>
                <a:latin typeface="SimSun" panose="02010600030101010101" pitchFamily="2" charset="-122"/>
                <a:ea typeface="SimSun" panose="02010600030101010101" pitchFamily="2" charset="-122"/>
              </a:rPr>
              <a:t>中</a:t>
            </a:r>
            <a:r>
              <a:rPr lang="zh-CN" altLang="en-US" sz="1500" dirty="0" smtClean="0">
                <a:solidFill>
                  <a:schemeClr val="tx2"/>
                </a:solidFill>
                <a:latin typeface="SimSun" panose="02010600030101010101" pitchFamily="2" charset="-122"/>
                <a:ea typeface="SimSun" panose="02010600030101010101" pitchFamily="2" charset="-122"/>
              </a:rPr>
              <a:t>管理</a:t>
            </a:r>
            <a:endParaRPr lang="en-GB" sz="1500" dirty="0" smtClean="0">
              <a:solidFill>
                <a:schemeClr val="tx2"/>
              </a:solidFill>
              <a:latin typeface="SimSun" panose="02010600030101010101" pitchFamily="2" charset="-122"/>
              <a:ea typeface="SimSun" panose="02010600030101010101" pitchFamily="2" charset="-122"/>
            </a:endParaRPr>
          </a:p>
          <a:p>
            <a:pPr marL="177800" lvl="1" indent="-177800">
              <a:spcBef>
                <a:spcPts val="0"/>
              </a:spcBef>
              <a:spcAft>
                <a:spcPts val="400"/>
              </a:spcAft>
              <a:buFont typeface="Arial" panose="020B0604020202020204" pitchFamily="34" charset="0"/>
              <a:buChar char="•"/>
            </a:pPr>
            <a:r>
              <a:rPr lang="zh-CN" altLang="en-US" sz="1500" dirty="0" smtClean="0">
                <a:solidFill>
                  <a:schemeClr val="tx2"/>
                </a:solidFill>
                <a:latin typeface="SimSun" panose="02010600030101010101" pitchFamily="2" charset="-122"/>
                <a:ea typeface="SimSun" panose="02010600030101010101" pitchFamily="2" charset="-122"/>
              </a:rPr>
              <a:t>分散管理</a:t>
            </a:r>
            <a:endParaRPr lang="en-GB" sz="1500" dirty="0">
              <a:solidFill>
                <a:schemeClr val="tx2"/>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8753519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推荐工具</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en-GB" dirty="0" smtClean="0">
                <a:latin typeface="SimSun" panose="02010600030101010101" pitchFamily="2" charset="-122"/>
                <a:ea typeface="SimSun" panose="02010600030101010101" pitchFamily="2" charset="-122"/>
              </a:rPr>
              <a:t>Git</a:t>
            </a:r>
            <a:endParaRPr lang="en-GB" dirty="0">
              <a:latin typeface="SimSun" panose="02010600030101010101" pitchFamily="2" charset="-122"/>
              <a:ea typeface="SimSun" panose="02010600030101010101" pitchFamily="2" charset="-122"/>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13" y="1649525"/>
            <a:ext cx="937450" cy="937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Straight Connector 7"/>
          <p:cNvCxnSpPr/>
          <p:nvPr/>
        </p:nvCxnSpPr>
        <p:spPr>
          <a:xfrm>
            <a:off x="4466047" y="1690266"/>
            <a:ext cx="0" cy="4312601"/>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Content Placeholder 2"/>
          <p:cNvSpPr txBox="1">
            <a:spLocks/>
          </p:cNvSpPr>
          <p:nvPr/>
        </p:nvSpPr>
        <p:spPr>
          <a:xfrm>
            <a:off x="248636" y="2761772"/>
            <a:ext cx="4010025" cy="3590926"/>
          </a:xfrm>
          <a:prstGeom prst="rect">
            <a:avLst/>
          </a:prstGeom>
        </p:spPr>
        <p:txBody>
          <a:bodyPr vert="horz" lIns="0" tIns="45720" rIns="0" bIns="0" rtlCol="0">
            <a:no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7213" indent="-285750">
              <a:buFont typeface="Wingdings" panose="05000000000000000000" pitchFamily="2" charset="2"/>
              <a:buChar char="q"/>
            </a:pPr>
            <a:r>
              <a:rPr lang="en-GB" dirty="0" smtClean="0">
                <a:latin typeface="SimSun" panose="02010600030101010101" pitchFamily="2" charset="-122"/>
                <a:ea typeface="SimSun" panose="02010600030101010101" pitchFamily="2" charset="-122"/>
              </a:rPr>
              <a:t>Git </a:t>
            </a:r>
            <a:r>
              <a:rPr lang="zh-CN" altLang="en-US" dirty="0" smtClean="0">
                <a:latin typeface="SimSun" panose="02010600030101010101" pitchFamily="2" charset="-122"/>
                <a:ea typeface="SimSun" panose="02010600030101010101" pitchFamily="2" charset="-122"/>
              </a:rPr>
              <a:t>是一个用</a:t>
            </a:r>
            <a:r>
              <a:rPr lang="en-US" altLang="zh-CN" dirty="0" smtClean="0">
                <a:latin typeface="SimSun" panose="02010600030101010101" pitchFamily="2" charset="-122"/>
                <a:ea typeface="SimSun" panose="02010600030101010101" pitchFamily="2" charset="-122"/>
              </a:rPr>
              <a:t>C</a:t>
            </a:r>
            <a:r>
              <a:rPr lang="zh-CN" altLang="en-US" dirty="0" smtClean="0">
                <a:latin typeface="SimSun" panose="02010600030101010101" pitchFamily="2" charset="-122"/>
                <a:ea typeface="SimSun" panose="02010600030101010101" pitchFamily="2" charset="-122"/>
              </a:rPr>
              <a:t>语言编写的版本控制系统</a:t>
            </a:r>
            <a:endParaRPr lang="en-GB" dirty="0" smtClean="0">
              <a:latin typeface="SimSun" panose="02010600030101010101" pitchFamily="2" charset="-122"/>
              <a:ea typeface="SimSun" panose="02010600030101010101" pitchFamily="2" charset="-122"/>
            </a:endParaRPr>
          </a:p>
          <a:p>
            <a:pPr marL="557213" indent="-285750">
              <a:buFont typeface="Wingdings" panose="05000000000000000000" pitchFamily="2" charset="2"/>
              <a:buChar char="q"/>
            </a:pPr>
            <a:r>
              <a:rPr lang="en-GB" dirty="0" smtClean="0">
                <a:latin typeface="SimSun" panose="02010600030101010101" pitchFamily="2" charset="-122"/>
                <a:ea typeface="SimSun" panose="02010600030101010101" pitchFamily="2" charset="-122"/>
              </a:rPr>
              <a:t>Git </a:t>
            </a:r>
            <a:r>
              <a:rPr lang="zh-CN" altLang="en-US" dirty="0" smtClean="0">
                <a:latin typeface="SimSun" panose="02010600030101010101" pitchFamily="2" charset="-122"/>
                <a:ea typeface="SimSun" panose="02010600030101010101" pitchFamily="2" charset="-122"/>
              </a:rPr>
              <a:t>是被完全分散的</a:t>
            </a:r>
            <a:r>
              <a:rPr lang="en-US" altLang="zh-CN"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意味着它不同于其他工具，可以几乎完全离线工作</a:t>
            </a:r>
            <a:endParaRPr lang="en-GB" dirty="0" smtClean="0">
              <a:latin typeface="SimSun" panose="02010600030101010101" pitchFamily="2" charset="-122"/>
              <a:ea typeface="SimSun" panose="02010600030101010101" pitchFamily="2" charset="-122"/>
            </a:endParaRPr>
          </a:p>
          <a:p>
            <a:pPr marL="557213" indent="-285750">
              <a:buFont typeface="Wingdings" panose="05000000000000000000" pitchFamily="2" charset="2"/>
              <a:buChar char="q"/>
            </a:pPr>
            <a:r>
              <a:rPr lang="zh-CN" altLang="en-US" dirty="0" smtClean="0">
                <a:latin typeface="SimSun" panose="02010600030101010101" pitchFamily="2" charset="-122"/>
                <a:ea typeface="SimSun" panose="02010600030101010101" pitchFamily="2" charset="-122"/>
              </a:rPr>
              <a:t>相对于其他一些系统，</a:t>
            </a:r>
            <a:r>
              <a:rPr lang="en-GB" altLang="ja-JP" dirty="0" smtClean="0">
                <a:latin typeface="SimSun" panose="02010600030101010101" pitchFamily="2" charset="-122"/>
                <a:ea typeface="SimSun" panose="02010600030101010101" pitchFamily="2" charset="-122"/>
              </a:rPr>
              <a:t>Git</a:t>
            </a:r>
            <a:r>
              <a:rPr lang="zh-CN" altLang="en-US" dirty="0">
                <a:latin typeface="SimSun" panose="02010600030101010101" pitchFamily="2" charset="-122"/>
                <a:ea typeface="SimSun" panose="02010600030101010101" pitchFamily="2" charset="-122"/>
              </a:rPr>
              <a:t>的速度非常</a:t>
            </a:r>
            <a:r>
              <a:rPr lang="zh-CN" altLang="en-US" dirty="0" smtClean="0">
                <a:latin typeface="SimSun" panose="02010600030101010101" pitchFamily="2" charset="-122"/>
                <a:ea typeface="SimSun" panose="02010600030101010101" pitchFamily="2" charset="-122"/>
              </a:rPr>
              <a:t>快，部分原因是其中的一些操作完全不受网络延迟影响。</a:t>
            </a:r>
            <a:endParaRPr lang="en-GB" dirty="0" smtClean="0">
              <a:latin typeface="SimSun" panose="02010600030101010101" pitchFamily="2" charset="-122"/>
              <a:ea typeface="SimSun" panose="02010600030101010101" pitchFamily="2" charset="-122"/>
            </a:endParaRPr>
          </a:p>
          <a:p>
            <a:pPr marL="271463" indent="0">
              <a:buFont typeface="Arial" pitchFamily="34" charset="0"/>
              <a:buNone/>
            </a:pPr>
            <a:endParaRPr lang="en-GB" dirty="0">
              <a:latin typeface="SimSun" panose="02010600030101010101" pitchFamily="2" charset="-122"/>
              <a:ea typeface="SimSun" panose="02010600030101010101" pitchFamily="2" charset="-122"/>
            </a:endParaRPr>
          </a:p>
        </p:txBody>
      </p:sp>
      <p:sp>
        <p:nvSpPr>
          <p:cNvPr id="18" name="Content Placeholder 4"/>
          <p:cNvSpPr txBox="1">
            <a:spLocks/>
          </p:cNvSpPr>
          <p:nvPr/>
        </p:nvSpPr>
        <p:spPr>
          <a:xfrm>
            <a:off x="4572000" y="1586884"/>
            <a:ext cx="4281170" cy="4756104"/>
          </a:xfrm>
          <a:prstGeom prst="rect">
            <a:avLst/>
          </a:prstGeom>
        </p:spPr>
        <p:txBody>
          <a:bodyPr vert="horz" lIns="0" tIns="45720" rIns="0" bIns="0" rtlCol="0">
            <a:no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indent="0">
              <a:buNone/>
            </a:pPr>
            <a:endParaRPr lang="en-GB" dirty="0"/>
          </a:p>
        </p:txBody>
      </p:sp>
      <p:sp>
        <p:nvSpPr>
          <p:cNvPr id="25" name="Footer Placeholder 17"/>
          <p:cNvSpPr>
            <a:spLocks noGrp="1"/>
          </p:cNvSpPr>
          <p:nvPr>
            <p:ph type="ftr" sz="quarter" idx="13"/>
          </p:nvPr>
        </p:nvSpPr>
        <p:spPr>
          <a:xfrm>
            <a:off x="455613" y="6575425"/>
            <a:ext cx="3600000" cy="128588"/>
          </a:xfrm>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3" name="Rectangle 2"/>
          <p:cNvSpPr/>
          <p:nvPr/>
        </p:nvSpPr>
        <p:spPr>
          <a:xfrm>
            <a:off x="4673435" y="2361156"/>
            <a:ext cx="4179736" cy="3046988"/>
          </a:xfrm>
          <a:prstGeom prst="rect">
            <a:avLst/>
          </a:prstGeom>
        </p:spPr>
        <p:txBody>
          <a:bodyPr wrap="square">
            <a:spAutoFit/>
          </a:bodyPr>
          <a:lstStyle/>
          <a:p>
            <a:pPr marL="285750" indent="-285750">
              <a:buFont typeface="Wingdings" panose="05000000000000000000" pitchFamily="2" charset="2"/>
              <a:buChar char="q"/>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在处理数据方面，</a:t>
            </a:r>
            <a:r>
              <a:rPr lang="en-US" altLang="ja-JP" sz="1600" dirty="0" err="1" smtClean="0">
                <a:solidFill>
                  <a:schemeClr val="tx2"/>
                </a:solidFill>
                <a:latin typeface="SimSun" panose="02010600030101010101" pitchFamily="2" charset="-122"/>
                <a:ea typeface="SimSun" panose="02010600030101010101" pitchFamily="2" charset="-122"/>
                <a:cs typeface="Arial" pitchFamily="34" charset="0"/>
              </a:rPr>
              <a:t>Git</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与其他</a:t>
            </a:r>
            <a:r>
              <a:rPr lang="en-US" altLang="ja-JP" sz="1600" dirty="0" smtClean="0">
                <a:solidFill>
                  <a:schemeClr val="tx2"/>
                </a:solidFill>
                <a:latin typeface="SimSun" panose="02010600030101010101" pitchFamily="2" charset="-122"/>
                <a:ea typeface="SimSun" panose="02010600030101010101" pitchFamily="2" charset="-122"/>
                <a:cs typeface="Arial" pitchFamily="34" charset="0"/>
              </a:rPr>
              <a:t>VCS</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的不同点</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742950" lvl="1" indent="-285750">
              <a:buFont typeface="Wingdings" panose="05000000000000000000" pitchFamily="2" charset="2"/>
              <a:buChar char="q"/>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大多数版本控制系统，把文件级别的更改内容以列表形式记录下来</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742950" lvl="1" indent="-285750">
              <a:buFont typeface="Wingdings" panose="05000000000000000000" pitchFamily="2" charset="2"/>
              <a:buChar char="q"/>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这些系统（</a:t>
            </a:r>
            <a:r>
              <a:rPr lang="en-US" altLang="ja-JP" sz="1600" dirty="0" smtClean="0">
                <a:solidFill>
                  <a:schemeClr val="tx2"/>
                </a:solidFill>
                <a:latin typeface="SimSun" panose="02010600030101010101" pitchFamily="2" charset="-122"/>
                <a:ea typeface="SimSun" panose="02010600030101010101" pitchFamily="2" charset="-122"/>
                <a:cs typeface="Arial" pitchFamily="34" charset="0"/>
              </a:rPr>
              <a:t>CVS</a:t>
            </a:r>
            <a:r>
              <a:rPr lang="en-US" altLang="ja-JP" sz="1600" dirty="0">
                <a:solidFill>
                  <a:schemeClr val="tx2"/>
                </a:solidFill>
                <a:latin typeface="SimSun" panose="02010600030101010101" pitchFamily="2" charset="-122"/>
                <a:ea typeface="SimSun" panose="02010600030101010101" pitchFamily="2" charset="-122"/>
                <a:cs typeface="Arial" pitchFamily="34" charset="0"/>
              </a:rPr>
              <a:t>, Subversion, Perforce </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等）把文件内容和随着时间推移对每个</a:t>
            </a:r>
            <a:r>
              <a:rPr lang="zh-CN" altLang="en-US" sz="1600" dirty="0">
                <a:solidFill>
                  <a:schemeClr val="tx2"/>
                </a:solidFill>
                <a:latin typeface="SimSun" panose="02010600030101010101" pitchFamily="2" charset="-122"/>
                <a:ea typeface="SimSun" panose="02010600030101010101" pitchFamily="2" charset="-122"/>
                <a:cs typeface="Arial" pitchFamily="34" charset="0"/>
              </a:rPr>
              <a:t>文</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件的变更内容作为一个组合信息保存</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742950" lvl="1" indent="-285750">
              <a:buFont typeface="Wingdings" panose="05000000000000000000" pitchFamily="2" charset="2"/>
              <a:buChar char="q"/>
            </a:pPr>
            <a:r>
              <a:rPr lang="en-US" sz="1600" dirty="0" err="1" smtClean="0">
                <a:solidFill>
                  <a:schemeClr val="tx2"/>
                </a:solidFill>
                <a:latin typeface="SimSun" panose="02010600030101010101" pitchFamily="2" charset="-122"/>
                <a:ea typeface="SimSun" panose="02010600030101010101" pitchFamily="2" charset="-122"/>
                <a:cs typeface="Arial" pitchFamily="34" charset="0"/>
              </a:rPr>
              <a:t>Git</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则将数据当作是一个小型文件系统的快照</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742950" lvl="1" indent="-285750">
              <a:buFont typeface="Wingdings" panose="05000000000000000000" pitchFamily="2" charset="2"/>
              <a:buChar char="q"/>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每次你在</a:t>
            </a:r>
            <a:r>
              <a:rPr lang="en-US" altLang="ja-JP" sz="1600" dirty="0" err="1" smtClean="0">
                <a:solidFill>
                  <a:schemeClr val="tx2"/>
                </a:solidFill>
                <a:latin typeface="SimSun" panose="02010600030101010101" pitchFamily="2" charset="-122"/>
                <a:ea typeface="SimSun" panose="02010600030101010101" pitchFamily="2" charset="-122"/>
                <a:cs typeface="Arial" pitchFamily="34" charset="0"/>
              </a:rPr>
              <a:t>Git</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中提交，或保存你的项目时，它取得一个当时你所有文件的一个快照，并保存这个快照的链接</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p:txBody>
      </p:sp>
    </p:spTree>
    <p:extLst>
      <p:ext uri="{BB962C8B-B14F-4D97-AF65-F5344CB8AC3E}">
        <p14:creationId xmlns:p14="http://schemas.microsoft.com/office/powerpoint/2010/main" val="4182971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5122"/>
                                        </p:tgtEl>
                                        <p:attrNameLst>
                                          <p:attrName>style.visibility</p:attrName>
                                        </p:attrNameLst>
                                      </p:cBhvr>
                                      <p:to>
                                        <p:strVal val="visible"/>
                                      </p:to>
                                    </p:set>
                                    <p:animEffect transition="in" filter="barn(inVertical)">
                                      <p:cBhvr>
                                        <p:cTn id="10" dur="500"/>
                                        <p:tgtEl>
                                          <p:spTgt spid="51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fade">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xEl>
                                              <p:pRg st="1" end="1"/>
                                            </p:txEl>
                                          </p:spTgt>
                                        </p:tgtEl>
                                        <p:attrNameLst>
                                          <p:attrName>style.visibility</p:attrName>
                                        </p:attrNameLst>
                                      </p:cBhvr>
                                      <p:to>
                                        <p:strVal val="visible"/>
                                      </p:to>
                                    </p:set>
                                    <p:animEffect transition="in" filter="fade">
                                      <p:cBhvr>
                                        <p:cTn id="20" dur="500"/>
                                        <p:tgtEl>
                                          <p:spTgt spid="17">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xEl>
                                              <p:pRg st="2" end="2"/>
                                            </p:txEl>
                                          </p:spTgt>
                                        </p:tgtEl>
                                        <p:attrNameLst>
                                          <p:attrName>style.visibility</p:attrName>
                                        </p:attrNameLst>
                                      </p:cBhvr>
                                      <p:to>
                                        <p:strVal val="visible"/>
                                      </p:to>
                                    </p:set>
                                    <p:animEffect transition="in" filter="fade">
                                      <p:cBhvr>
                                        <p:cTn id="25" dur="500"/>
                                        <p:tgtEl>
                                          <p:spTgt spid="17">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0" end="0"/>
                                            </p:txEl>
                                          </p:spTgt>
                                        </p:tgtEl>
                                        <p:attrNameLst>
                                          <p:attrName>style.visibility</p:attrName>
                                        </p:attrNameLst>
                                      </p:cBhvr>
                                      <p:to>
                                        <p:strVal val="visible"/>
                                      </p:to>
                                    </p:set>
                                    <p:animEffect transition="in" filter="fade">
                                      <p:cBhvr>
                                        <p:cTn id="30" dur="500"/>
                                        <p:tgtEl>
                                          <p:spTgt spid="3">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txEl>
                                              <p:pRg st="1" end="1"/>
                                            </p:txEl>
                                          </p:spTgt>
                                        </p:tgtEl>
                                        <p:attrNameLst>
                                          <p:attrName>style.visibility</p:attrName>
                                        </p:attrNameLst>
                                      </p:cBhvr>
                                      <p:to>
                                        <p:strVal val="visible"/>
                                      </p:to>
                                    </p:set>
                                    <p:animEffect transition="in" filter="fade">
                                      <p:cBhvr>
                                        <p:cTn id="35" dur="500"/>
                                        <p:tgtEl>
                                          <p:spTgt spid="3">
                                            <p:txEl>
                                              <p:pRg st="1" end="1"/>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2" end="2"/>
                                            </p:txEl>
                                          </p:spTgt>
                                        </p:tgtEl>
                                        <p:attrNameLst>
                                          <p:attrName>style.visibility</p:attrName>
                                        </p:attrNameLst>
                                      </p:cBhvr>
                                      <p:to>
                                        <p:strVal val="visible"/>
                                      </p:to>
                                    </p:set>
                                    <p:animEffect transition="in" filter="fade">
                                      <p:cBhvr>
                                        <p:cTn id="40" dur="500"/>
                                        <p:tgtEl>
                                          <p:spTgt spid="3">
                                            <p:txEl>
                                              <p:pRg st="2" end="2"/>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
                                            <p:txEl>
                                              <p:pRg st="3" end="3"/>
                                            </p:txEl>
                                          </p:spTgt>
                                        </p:tgtEl>
                                        <p:attrNameLst>
                                          <p:attrName>style.visibility</p:attrName>
                                        </p:attrNameLst>
                                      </p:cBhvr>
                                      <p:to>
                                        <p:strVal val="visible"/>
                                      </p:to>
                                    </p:set>
                                    <p:animEffect transition="in" filter="fade">
                                      <p:cBhvr>
                                        <p:cTn id="45" dur="500"/>
                                        <p:tgtEl>
                                          <p:spTgt spid="3">
                                            <p:txEl>
                                              <p:pRg st="3" end="3"/>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
                                            <p:txEl>
                                              <p:pRg st="4" end="4"/>
                                            </p:txEl>
                                          </p:spTgt>
                                        </p:tgtEl>
                                        <p:attrNameLst>
                                          <p:attrName>style.visibility</p:attrName>
                                        </p:attrNameLst>
                                      </p:cBhvr>
                                      <p:to>
                                        <p:strVal val="visible"/>
                                      </p:to>
                                    </p:set>
                                    <p:animEffect transition="in" filter="fade">
                                      <p:cBhvr>
                                        <p:cTn id="50"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7" grpId="0" build="p"/>
      <p:bldP spid="3" grpId="0" build="p" bldLvl="2"/>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GB" dirty="0" smtClean="0">
                <a:latin typeface="SimSun" panose="02010600030101010101" pitchFamily="2" charset="-122"/>
                <a:ea typeface="SimSun" panose="02010600030101010101" pitchFamily="2" charset="-122"/>
              </a:rPr>
              <a:t>Git</a:t>
            </a:r>
            <a:r>
              <a:rPr lang="zh-CN" altLang="en-US" dirty="0" smtClean="0">
                <a:latin typeface="SimSun" panose="02010600030101010101" pitchFamily="2" charset="-122"/>
                <a:ea typeface="SimSun" panose="02010600030101010101" pitchFamily="2" charset="-122"/>
              </a:rPr>
              <a:t>提供一个版本控制的分散式选项</a:t>
            </a:r>
            <a:endParaRPr lang="en-GB" dirty="0">
              <a:latin typeface="SimSun" panose="02010600030101010101" pitchFamily="2" charset="-122"/>
              <a:ea typeface="SimSun" panose="02010600030101010101" pitchFamily="2" charset="-122"/>
            </a:endParaRPr>
          </a:p>
        </p:txBody>
      </p:sp>
      <p:sp>
        <p:nvSpPr>
          <p:cNvPr id="3" name="Text Placeholder 2"/>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版本控制的益处</a:t>
            </a:r>
            <a:endParaRPr lang="en-GB" dirty="0" smtClean="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graphicFrame>
        <p:nvGraphicFramePr>
          <p:cNvPr id="32" name="Table 31"/>
          <p:cNvGraphicFramePr>
            <a:graphicFrameLocks noGrp="1"/>
          </p:cNvGraphicFramePr>
          <p:nvPr>
            <p:extLst>
              <p:ext uri="{D42A27DB-BD31-4B8C-83A1-F6EECF244321}">
                <p14:modId xmlns:p14="http://schemas.microsoft.com/office/powerpoint/2010/main" val="1621683161"/>
              </p:ext>
            </p:extLst>
          </p:nvPr>
        </p:nvGraphicFramePr>
        <p:xfrm>
          <a:off x="455613" y="1779939"/>
          <a:ext cx="8231187" cy="1266426"/>
        </p:xfrm>
        <a:graphic>
          <a:graphicData uri="http://schemas.openxmlformats.org/drawingml/2006/table">
            <a:tbl>
              <a:tblPr firstRow="1" bandRow="1">
                <a:tableStyleId>{5C22544A-7EE6-4342-B048-85BDC9FD1C3A}</a:tableStyleId>
              </a:tblPr>
              <a:tblGrid>
                <a:gridCol w="1703387"/>
                <a:gridCol w="6527800"/>
              </a:tblGrid>
              <a:tr h="140947">
                <a:tc>
                  <a:txBody>
                    <a:bodyPr/>
                    <a:lstStyle/>
                    <a:p>
                      <a:pPr>
                        <a:lnSpc>
                          <a:spcPct val="95000"/>
                        </a:lnSpc>
                        <a:spcBef>
                          <a:spcPts val="300"/>
                        </a:spcBef>
                        <a:spcAft>
                          <a:spcPts val="0"/>
                        </a:spcAft>
                      </a:pPr>
                      <a:r>
                        <a:rPr lang="zh-CN" altLang="en-US" sz="1200" b="0" i="0" baseline="0" dirty="0" smtClean="0">
                          <a:solidFill>
                            <a:schemeClr val="tx1"/>
                          </a:solidFill>
                          <a:latin typeface="SimSun" panose="02010600030101010101" pitchFamily="2" charset="-122"/>
                          <a:ea typeface="SimSun" panose="02010600030101010101" pitchFamily="2" charset="-122"/>
                        </a:rPr>
                        <a:t>优势</a:t>
                      </a:r>
                      <a:endParaRPr lang="en-GB" sz="1200" b="0" i="0" dirty="0">
                        <a:solidFill>
                          <a:schemeClr val="tx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B w="12700" cap="flat" cmpd="sng" algn="ctr">
                      <a:solidFill>
                        <a:schemeClr val="accent1"/>
                      </a:solidFill>
                      <a:prstDash val="solid"/>
                      <a:round/>
                      <a:headEnd type="none" w="med" len="med"/>
                      <a:tailEnd type="none" w="med" len="med"/>
                    </a:lnB>
                    <a:noFill/>
                  </a:tcPr>
                </a:tc>
                <a:tc>
                  <a:txBody>
                    <a:bodyPr/>
                    <a:lstStyle/>
                    <a:p>
                      <a:pPr>
                        <a:lnSpc>
                          <a:spcPct val="95000"/>
                        </a:lnSpc>
                        <a:spcBef>
                          <a:spcPts val="300"/>
                        </a:spcBef>
                        <a:spcAft>
                          <a:spcPts val="0"/>
                        </a:spcAft>
                      </a:pPr>
                      <a:r>
                        <a:rPr lang="zh-CN" altLang="en-US" sz="1200" b="0" dirty="0" smtClean="0">
                          <a:solidFill>
                            <a:schemeClr val="tx1"/>
                          </a:solidFill>
                          <a:latin typeface="SimSun" panose="02010600030101010101" pitchFamily="2" charset="-122"/>
                          <a:ea typeface="SimSun" panose="02010600030101010101" pitchFamily="2" charset="-122"/>
                        </a:rPr>
                        <a:t>描述</a:t>
                      </a:r>
                      <a:endParaRPr lang="en-GB" sz="1200" b="0" dirty="0">
                        <a:solidFill>
                          <a:schemeClr val="tx1"/>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B w="12700" cap="flat" cmpd="sng" algn="ctr">
                      <a:solidFill>
                        <a:schemeClr val="accent1"/>
                      </a:solidFill>
                      <a:prstDash val="solid"/>
                      <a:round/>
                      <a:headEnd type="none" w="med" len="med"/>
                      <a:tailEnd type="none" w="med" len="med"/>
                    </a:lnB>
                    <a:noFill/>
                  </a:tcPr>
                </a:tc>
              </a:tr>
              <a:tr h="688155">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dirty="0" smtClean="0">
                          <a:solidFill>
                            <a:schemeClr val="accent1"/>
                          </a:solidFill>
                          <a:latin typeface="SimSun" panose="02010600030101010101" pitchFamily="2" charset="-122"/>
                          <a:ea typeface="SimSun" panose="02010600030101010101" pitchFamily="2" charset="-122"/>
                        </a:rPr>
                        <a:t>分散式</a:t>
                      </a:r>
                      <a:endParaRPr lang="en-GB" sz="110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fontAlgn="base">
                        <a:lnSpc>
                          <a:spcPct val="95000"/>
                        </a:lnSpc>
                        <a:spcBef>
                          <a:spcPts val="300"/>
                        </a:spcBef>
                        <a:spcAft>
                          <a:spcPts val="0"/>
                        </a:spcAft>
                        <a:buClrTx/>
                        <a:buFont typeface="Arial" panose="020B0604020202020204" pitchFamily="34" charset="0"/>
                        <a:buChar char="•"/>
                      </a:pPr>
                      <a:r>
                        <a:rPr lang="zh-CN" altLang="en-US" sz="1100" baseline="0" dirty="0" smtClean="0">
                          <a:solidFill>
                            <a:schemeClr val="tx2"/>
                          </a:solidFill>
                          <a:latin typeface="SimSun" panose="02010600030101010101" pitchFamily="2" charset="-122"/>
                          <a:ea typeface="SimSun" panose="02010600030101010101" pitchFamily="2" charset="-122"/>
                        </a:rPr>
                        <a:t>下载到本地的拷贝是一个可执行的库</a:t>
                      </a:r>
                      <a:r>
                        <a:rPr lang="en-GB" sz="1100" baseline="0" dirty="0" smtClean="0">
                          <a:solidFill>
                            <a:schemeClr val="tx2"/>
                          </a:solidFill>
                          <a:latin typeface="SimSun" panose="02010600030101010101" pitchFamily="2" charset="-122"/>
                          <a:ea typeface="SimSun" panose="02010600030101010101" pitchFamily="2" charset="-122"/>
                        </a:rPr>
                        <a:t>–</a:t>
                      </a:r>
                      <a:r>
                        <a:rPr lang="zh-CN" altLang="en-US" sz="1100" baseline="0" dirty="0" smtClean="0">
                          <a:solidFill>
                            <a:schemeClr val="tx2"/>
                          </a:solidFill>
                          <a:latin typeface="SimSun" panose="02010600030101010101" pitchFamily="2" charset="-122"/>
                          <a:ea typeface="SimSun" panose="02010600030101010101" pitchFamily="2" charset="-122"/>
                        </a:rPr>
                        <a:t>你可以直接提交内容，并得到所有代码管理的益处</a:t>
                      </a:r>
                      <a:endParaRPr lang="en-GB" sz="1100" dirty="0" smtClean="0">
                        <a:solidFill>
                          <a:schemeClr val="tx2"/>
                        </a:solidFill>
                        <a:latin typeface="SimSun" panose="02010600030101010101" pitchFamily="2" charset="-122"/>
                        <a:ea typeface="SimSun" panose="02010600030101010101" pitchFamily="2" charset="-122"/>
                      </a:endParaRPr>
                    </a:p>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aseline="0" dirty="0" smtClean="0">
                          <a:solidFill>
                            <a:schemeClr val="tx2"/>
                          </a:solidFill>
                          <a:latin typeface="SimSun" panose="02010600030101010101" pitchFamily="2" charset="-122"/>
                          <a:ea typeface="SimSun" panose="02010600030101010101" pitchFamily="2" charset="-122"/>
                        </a:rPr>
                        <a:t>无单一的故障点</a:t>
                      </a:r>
                      <a:r>
                        <a:rPr lang="en-GB" altLang="ja-JP" sz="1100" dirty="0" smtClean="0">
                          <a:solidFill>
                            <a:schemeClr val="tx2"/>
                          </a:solidFill>
                          <a:latin typeface="SimSun" panose="02010600030101010101" pitchFamily="2" charset="-122"/>
                          <a:ea typeface="SimSun" panose="02010600030101010101" pitchFamily="2" charset="-122"/>
                        </a:rPr>
                        <a:t>- </a:t>
                      </a:r>
                      <a:r>
                        <a:rPr lang="zh-CN" altLang="en-US" sz="1100" dirty="0" smtClean="0">
                          <a:solidFill>
                            <a:schemeClr val="tx2"/>
                          </a:solidFill>
                          <a:latin typeface="SimSun" panose="02010600030101010101" pitchFamily="2" charset="-122"/>
                          <a:ea typeface="SimSun" panose="02010600030101010101" pitchFamily="2" charset="-122"/>
                        </a:rPr>
                        <a:t>所有在它上面的工作，都通过默认的最小备份功能得到一份拷贝，并具有高安全性</a:t>
                      </a:r>
                      <a:endParaRPr lang="en-GB" sz="1100" dirty="0" smtClean="0">
                        <a:solidFill>
                          <a:schemeClr val="tx2"/>
                        </a:solidFill>
                        <a:latin typeface="SimSun" panose="02010600030101010101" pitchFamily="2" charset="-122"/>
                        <a:ea typeface="SimSun" panose="02010600030101010101" pitchFamily="2" charset="-122"/>
                      </a:endParaRPr>
                    </a:p>
                    <a:p>
                      <a:pPr marL="171450" indent="-171450" fontAlgn="base">
                        <a:lnSpc>
                          <a:spcPct val="95000"/>
                        </a:lnSpc>
                        <a:spcBef>
                          <a:spcPts val="300"/>
                        </a:spcBef>
                        <a:spcAft>
                          <a:spcPts val="0"/>
                        </a:spcAft>
                        <a:buClrTx/>
                        <a:buFont typeface="Arial" panose="020B0604020202020204" pitchFamily="34" charset="0"/>
                        <a:buChar char="•"/>
                      </a:pPr>
                      <a:r>
                        <a:rPr lang="zh-CN" altLang="en-US" sz="1100" dirty="0" smtClean="0">
                          <a:solidFill>
                            <a:schemeClr val="tx2"/>
                          </a:solidFill>
                          <a:latin typeface="SimSun" panose="02010600030101010101" pitchFamily="2" charset="-122"/>
                          <a:ea typeface="SimSun" panose="02010600030101010101" pitchFamily="2" charset="-122"/>
                        </a:rPr>
                        <a:t>意味着它更快并可以离线完成</a:t>
                      </a:r>
                      <a:endParaRPr lang="en-GB" sz="1100" dirty="0" smtClean="0">
                        <a:solidFill>
                          <a:schemeClr val="tx2"/>
                        </a:solidFill>
                        <a:latin typeface="SimSun" panose="02010600030101010101" pitchFamily="2" charset="-122"/>
                        <a:ea typeface="SimSun" panose="02010600030101010101" pitchFamily="2" charset="-122"/>
                      </a:endParaRPr>
                    </a:p>
                    <a:p>
                      <a:pPr marL="171450" indent="-171450" fontAlgn="base">
                        <a:lnSpc>
                          <a:spcPct val="95000"/>
                        </a:lnSpc>
                        <a:spcBef>
                          <a:spcPts val="300"/>
                        </a:spcBef>
                        <a:spcAft>
                          <a:spcPts val="0"/>
                        </a:spcAft>
                        <a:buClrTx/>
                        <a:buFont typeface="Arial" panose="020B0604020202020204" pitchFamily="34" charset="0"/>
                        <a:buChar char="•"/>
                      </a:pPr>
                      <a:r>
                        <a:rPr lang="zh-CN" altLang="en-US" sz="1100" dirty="0" smtClean="0">
                          <a:solidFill>
                            <a:schemeClr val="tx2"/>
                          </a:solidFill>
                          <a:latin typeface="SimSun" panose="02010600030101010101" pitchFamily="2" charset="-122"/>
                          <a:ea typeface="SimSun" panose="02010600030101010101" pitchFamily="2" charset="-122"/>
                        </a:rPr>
                        <a:t>通过</a:t>
                      </a:r>
                      <a:r>
                        <a:rPr lang="en-GB" altLang="ja-JP" sz="1100" dirty="0" smtClean="0">
                          <a:solidFill>
                            <a:schemeClr val="tx2"/>
                          </a:solidFill>
                          <a:latin typeface="SimSun" panose="02010600030101010101" pitchFamily="2" charset="-122"/>
                          <a:ea typeface="SimSun" panose="02010600030101010101" pitchFamily="2" charset="-122"/>
                        </a:rPr>
                        <a:t>Git</a:t>
                      </a:r>
                      <a:r>
                        <a:rPr lang="zh-CN" altLang="en-US" sz="1100" dirty="0" smtClean="0">
                          <a:solidFill>
                            <a:schemeClr val="tx2"/>
                          </a:solidFill>
                          <a:latin typeface="SimSun" panose="02010600030101010101" pitchFamily="2" charset="-122"/>
                          <a:ea typeface="SimSun" panose="02010600030101010101" pitchFamily="2" charset="-122"/>
                        </a:rPr>
                        <a:t>下载整个库的内容就像从</a:t>
                      </a:r>
                      <a:r>
                        <a:rPr lang="en-GB" altLang="ja-JP" sz="1100" dirty="0" smtClean="0">
                          <a:solidFill>
                            <a:schemeClr val="tx2"/>
                          </a:solidFill>
                          <a:latin typeface="SimSun" panose="02010600030101010101" pitchFamily="2" charset="-122"/>
                          <a:ea typeface="SimSun" panose="02010600030101010101" pitchFamily="2" charset="-122"/>
                        </a:rPr>
                        <a:t>Subversion</a:t>
                      </a:r>
                      <a:r>
                        <a:rPr lang="zh-CN" altLang="en-US" sz="1100" dirty="0" smtClean="0">
                          <a:solidFill>
                            <a:schemeClr val="tx2"/>
                          </a:solidFill>
                          <a:latin typeface="SimSun" panose="02010600030101010101" pitchFamily="2" charset="-122"/>
                          <a:ea typeface="SimSun" panose="02010600030101010101" pitchFamily="2" charset="-122"/>
                        </a:rPr>
                        <a:t>中</a:t>
                      </a:r>
                      <a:r>
                        <a:rPr lang="en-GB" altLang="ja-JP" sz="1100" dirty="0" smtClean="0">
                          <a:solidFill>
                            <a:schemeClr val="tx2"/>
                          </a:solidFill>
                          <a:latin typeface="SimSun" panose="02010600030101010101" pitchFamily="2" charset="-122"/>
                          <a:ea typeface="SimSun" panose="02010600030101010101" pitchFamily="2" charset="-122"/>
                        </a:rPr>
                        <a:t>checkout</a:t>
                      </a:r>
                      <a:r>
                        <a:rPr lang="zh-CN" altLang="en-US" sz="1100" dirty="0" smtClean="0">
                          <a:solidFill>
                            <a:schemeClr val="tx2"/>
                          </a:solidFill>
                          <a:latin typeface="SimSun" panose="02010600030101010101" pitchFamily="2" charset="-122"/>
                          <a:ea typeface="SimSun" panose="02010600030101010101" pitchFamily="2" charset="-122"/>
                        </a:rPr>
                        <a:t>一个单独的版本那样快速</a:t>
                      </a:r>
                      <a:endParaRPr lang="en-GB" sz="1100" dirty="0" smtClean="0">
                        <a:solidFill>
                          <a:schemeClr val="tx2"/>
                        </a:solidFill>
                        <a:latin typeface="SimSun" panose="02010600030101010101" pitchFamily="2" charset="-122"/>
                        <a:ea typeface="SimSun" panose="02010600030101010101" pitchFamily="2" charset="-122"/>
                      </a:endParaRPr>
                    </a:p>
                    <a:p>
                      <a:pPr marL="171450" indent="-171450" fontAlgn="base">
                        <a:lnSpc>
                          <a:spcPct val="95000"/>
                        </a:lnSpc>
                        <a:spcBef>
                          <a:spcPts val="300"/>
                        </a:spcBef>
                        <a:spcAft>
                          <a:spcPts val="0"/>
                        </a:spcAft>
                        <a:buClrTx/>
                        <a:buFont typeface="Arial" panose="020B0604020202020204" pitchFamily="34" charset="0"/>
                        <a:buChar char="•"/>
                      </a:pPr>
                      <a:r>
                        <a:rPr lang="zh-CN" altLang="en-US" sz="1100" dirty="0" smtClean="0">
                          <a:solidFill>
                            <a:schemeClr val="tx2"/>
                          </a:solidFill>
                          <a:latin typeface="SimSun" panose="02010600030101010101" pitchFamily="2" charset="-122"/>
                          <a:ea typeface="SimSun" panose="02010600030101010101" pitchFamily="2" charset="-122"/>
                        </a:rPr>
                        <a:t>此外，你可以通过给你的项目发送“</a:t>
                      </a:r>
                      <a:r>
                        <a:rPr lang="en-GB" altLang="ja-JP" sz="1100" dirty="0" smtClean="0">
                          <a:solidFill>
                            <a:schemeClr val="tx2"/>
                          </a:solidFill>
                          <a:latin typeface="SimSun" panose="02010600030101010101" pitchFamily="2" charset="-122"/>
                          <a:ea typeface="SimSun" panose="02010600030101010101" pitchFamily="2" charset="-122"/>
                        </a:rPr>
                        <a:t>push requests</a:t>
                      </a:r>
                      <a:r>
                        <a:rPr lang="zh-CN" altLang="en-US" sz="1100" dirty="0" smtClean="0">
                          <a:solidFill>
                            <a:schemeClr val="tx2"/>
                          </a:solidFill>
                          <a:latin typeface="SimSun" panose="02010600030101010101" pitchFamily="2" charset="-122"/>
                          <a:ea typeface="SimSun" panose="02010600030101010101" pitchFamily="2" charset="-122"/>
                        </a:rPr>
                        <a:t>”让它们反映到官方的维护文件中</a:t>
                      </a:r>
                      <a:endParaRPr lang="en-GB" sz="110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11" name="Footer Placeholder 17"/>
          <p:cNvSpPr>
            <a:spLocks noGrp="1"/>
          </p:cNvSpPr>
          <p:nvPr>
            <p:ph type="ftr" sz="quarter" idx="13"/>
          </p:nvPr>
        </p:nvSpPr>
        <p:spPr>
          <a:xfrm>
            <a:off x="455613" y="6575425"/>
            <a:ext cx="3600000" cy="128588"/>
          </a:xfrm>
        </p:spPr>
        <p:txBody>
          <a:bodyPr/>
          <a:lstStyle/>
          <a:p>
            <a:r>
              <a:rPr lang="en-AU" dirty="0" smtClean="0"/>
              <a:t>Copyright © 201</a:t>
            </a:r>
            <a:r>
              <a:rPr lang="en-US" altLang="zh-CN" dirty="0" smtClean="0"/>
              <a:t>6</a:t>
            </a:r>
            <a:r>
              <a:rPr lang="en-AU" dirty="0" smtClean="0"/>
              <a:t> Accenture  All rights reserved.</a:t>
            </a:r>
            <a:endParaRPr lang="en-AU" dirty="0"/>
          </a:p>
        </p:txBody>
      </p:sp>
      <p:graphicFrame>
        <p:nvGraphicFramePr>
          <p:cNvPr id="6" name="Table 5"/>
          <p:cNvGraphicFramePr>
            <a:graphicFrameLocks noGrp="1"/>
          </p:cNvGraphicFramePr>
          <p:nvPr>
            <p:extLst>
              <p:ext uri="{D42A27DB-BD31-4B8C-83A1-F6EECF244321}">
                <p14:modId xmlns:p14="http://schemas.microsoft.com/office/powerpoint/2010/main" val="1265135937"/>
              </p:ext>
            </p:extLst>
          </p:nvPr>
        </p:nvGraphicFramePr>
        <p:xfrm>
          <a:off x="455613" y="3042942"/>
          <a:ext cx="8231187" cy="428616"/>
        </p:xfrm>
        <a:graphic>
          <a:graphicData uri="http://schemas.openxmlformats.org/drawingml/2006/table">
            <a:tbl>
              <a:tblPr firstRow="1" bandRow="1">
                <a:tableStyleId>{5C22544A-7EE6-4342-B048-85BDC9FD1C3A}</a:tableStyleId>
              </a:tblPr>
              <a:tblGrid>
                <a:gridCol w="1703387"/>
                <a:gridCol w="6527800"/>
              </a:tblGrid>
              <a:tr h="232149">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离线工作</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fontAlgn="base">
                        <a:lnSpc>
                          <a:spcPct val="95000"/>
                        </a:lnSpc>
                        <a:spcBef>
                          <a:spcPts val="300"/>
                        </a:spcBef>
                        <a:spcAft>
                          <a:spcPts val="0"/>
                        </a:spcAft>
                        <a:buClrTx/>
                        <a:buFont typeface="Arial" panose="020B0604020202020204" pitchFamily="34" charset="0"/>
                        <a:buChar char="•"/>
                      </a:pPr>
                      <a:r>
                        <a:rPr lang="zh-CN" altLang="en-US" sz="1100" b="0" baseline="0" dirty="0" smtClean="0">
                          <a:solidFill>
                            <a:schemeClr val="tx2"/>
                          </a:solidFill>
                          <a:latin typeface="SimSun" panose="02010600030101010101" pitchFamily="2" charset="-122"/>
                          <a:ea typeface="SimSun" panose="02010600030101010101" pitchFamily="2" charset="-122"/>
                        </a:rPr>
                        <a:t>离线工作减少了网络中断的影响</a:t>
                      </a:r>
                      <a:endParaRPr lang="en-GB" sz="1100" b="0" baseline="0" dirty="0" smtClean="0">
                        <a:solidFill>
                          <a:schemeClr val="tx2"/>
                        </a:solidFill>
                        <a:latin typeface="SimSun" panose="02010600030101010101" pitchFamily="2" charset="-122"/>
                        <a:ea typeface="SimSun" panose="02010600030101010101" pitchFamily="2" charset="-122"/>
                      </a:endParaRPr>
                    </a:p>
                    <a:p>
                      <a:pPr marL="171450" indent="-171450" fontAlgn="base">
                        <a:lnSpc>
                          <a:spcPct val="95000"/>
                        </a:lnSpc>
                        <a:spcBef>
                          <a:spcPts val="300"/>
                        </a:spcBef>
                        <a:spcAft>
                          <a:spcPts val="0"/>
                        </a:spcAft>
                        <a:buClrTx/>
                        <a:buFont typeface="Arial" panose="020B0604020202020204" pitchFamily="34" charset="0"/>
                        <a:buChar char="•"/>
                      </a:pPr>
                      <a:r>
                        <a:rPr lang="zh-CN" altLang="en-US" sz="1100" b="0" baseline="0" dirty="0" smtClean="0">
                          <a:solidFill>
                            <a:schemeClr val="tx2"/>
                          </a:solidFill>
                          <a:latin typeface="SimSun" panose="02010600030101010101" pitchFamily="2" charset="-122"/>
                          <a:ea typeface="SimSun" panose="02010600030101010101" pitchFamily="2" charset="-122"/>
                        </a:rPr>
                        <a:t>让开发团队有更灵活的工作安排</a:t>
                      </a:r>
                      <a:endParaRPr lang="en-GB"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218299191"/>
              </p:ext>
            </p:extLst>
          </p:nvPr>
        </p:nvGraphicFramePr>
        <p:xfrm>
          <a:off x="457201" y="3472962"/>
          <a:ext cx="8231187" cy="639990"/>
        </p:xfrm>
        <a:graphic>
          <a:graphicData uri="http://schemas.openxmlformats.org/drawingml/2006/table">
            <a:tbl>
              <a:tblPr firstRow="1" bandRow="1">
                <a:tableStyleId>{5C22544A-7EE6-4342-B048-85BDC9FD1C3A}</a:tableStyleId>
              </a:tblPr>
              <a:tblGrid>
                <a:gridCol w="1703387"/>
                <a:gridCol w="6527800"/>
              </a:tblGrid>
              <a:tr h="63999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中转区</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0" dirty="0" smtClean="0">
                          <a:solidFill>
                            <a:schemeClr val="tx2"/>
                          </a:solidFill>
                          <a:latin typeface="SimSun" panose="02010600030101010101" pitchFamily="2" charset="-122"/>
                          <a:ea typeface="SimSun" panose="02010600030101010101" pitchFamily="2" charset="-122"/>
                        </a:rPr>
                        <a:t>临时变更，为个别文件单独创建提交，在提交大量更改时也可进行审计</a:t>
                      </a:r>
                      <a:r>
                        <a:rPr lang="en-US" altLang="zh-CN" sz="1100" b="0" dirty="0" smtClean="0">
                          <a:solidFill>
                            <a:schemeClr val="tx2"/>
                          </a:solidFill>
                          <a:latin typeface="SimSun" panose="02010600030101010101" pitchFamily="2" charset="-122"/>
                          <a:ea typeface="SimSun" panose="02010600030101010101" pitchFamily="2" charset="-122"/>
                        </a:rPr>
                        <a:t>-</a:t>
                      </a:r>
                      <a:r>
                        <a:rPr lang="zh-CN" altLang="en-US" sz="1100" b="0" dirty="0" smtClean="0">
                          <a:solidFill>
                            <a:schemeClr val="tx2"/>
                          </a:solidFill>
                          <a:latin typeface="SimSun" panose="02010600030101010101" pitchFamily="2" charset="-122"/>
                          <a:ea typeface="SimSun" panose="02010600030101010101" pitchFamily="2" charset="-122"/>
                        </a:rPr>
                        <a:t>无需使用</a:t>
                      </a:r>
                      <a:r>
                        <a:rPr lang="en-GB" altLang="ja-JP" sz="1100" b="0" dirty="0" smtClean="0">
                          <a:solidFill>
                            <a:schemeClr val="tx2"/>
                          </a:solidFill>
                          <a:latin typeface="SimSun" panose="02010600030101010101" pitchFamily="2" charset="-122"/>
                          <a:ea typeface="SimSun" panose="02010600030101010101" pitchFamily="2" charset="-122"/>
                        </a:rPr>
                        <a:t>Subversion</a:t>
                      </a:r>
                      <a:r>
                        <a:rPr lang="zh-CN" altLang="en-US" sz="1100" b="0" dirty="0" smtClean="0">
                          <a:solidFill>
                            <a:schemeClr val="tx2"/>
                          </a:solidFill>
                          <a:latin typeface="SimSun" panose="02010600030101010101" pitchFamily="2" charset="-122"/>
                          <a:ea typeface="SimSun" panose="02010600030101010101" pitchFamily="2" charset="-122"/>
                        </a:rPr>
                        <a:t>中所需的临时文件</a:t>
                      </a:r>
                      <a:endParaRPr lang="en-US" altLang="zh-CN"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800372598"/>
              </p:ext>
            </p:extLst>
          </p:nvPr>
        </p:nvGraphicFramePr>
        <p:xfrm>
          <a:off x="457201" y="4113164"/>
          <a:ext cx="8231187" cy="428616"/>
        </p:xfrm>
        <a:graphic>
          <a:graphicData uri="http://schemas.openxmlformats.org/drawingml/2006/table">
            <a:tbl>
              <a:tblPr firstRow="1" bandRow="1">
                <a:tableStyleId>{5C22544A-7EE6-4342-B048-85BDC9FD1C3A}</a:tableStyleId>
              </a:tblPr>
              <a:tblGrid>
                <a:gridCol w="1703387"/>
                <a:gridCol w="6527800"/>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无缝分支</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fontAlgn="base">
                        <a:lnSpc>
                          <a:spcPct val="95000"/>
                        </a:lnSpc>
                        <a:spcBef>
                          <a:spcPts val="300"/>
                        </a:spcBef>
                        <a:spcAft>
                          <a:spcPts val="0"/>
                        </a:spcAft>
                        <a:buClrTx/>
                        <a:buFont typeface="Arial" panose="020B0604020202020204" pitchFamily="34" charset="0"/>
                        <a:buChar char="•"/>
                      </a:pPr>
                      <a:r>
                        <a:rPr lang="zh-CN" altLang="en-US" sz="1100" b="0" dirty="0" smtClean="0">
                          <a:solidFill>
                            <a:schemeClr val="tx2"/>
                          </a:solidFill>
                          <a:latin typeface="SimSun" panose="02010600030101010101" pitchFamily="2" charset="-122"/>
                          <a:ea typeface="SimSun" panose="02010600030101010101" pitchFamily="2" charset="-122"/>
                        </a:rPr>
                        <a:t>轻松创建与合并分支</a:t>
                      </a:r>
                      <a:endParaRPr lang="en-GB" sz="1100" b="0" dirty="0" smtClean="0">
                        <a:solidFill>
                          <a:schemeClr val="tx2"/>
                        </a:solidFill>
                        <a:latin typeface="SimSun" panose="02010600030101010101" pitchFamily="2" charset="-122"/>
                        <a:ea typeface="SimSun" panose="02010600030101010101" pitchFamily="2" charset="-122"/>
                      </a:endParaRPr>
                    </a:p>
                    <a:p>
                      <a:pPr marL="171450" indent="-171450" fontAlgn="base">
                        <a:lnSpc>
                          <a:spcPct val="95000"/>
                        </a:lnSpc>
                        <a:spcBef>
                          <a:spcPts val="300"/>
                        </a:spcBef>
                        <a:spcAft>
                          <a:spcPts val="0"/>
                        </a:spcAft>
                        <a:buClrTx/>
                        <a:buFont typeface="Arial" panose="020B0604020202020204" pitchFamily="34" charset="0"/>
                        <a:buChar char="•"/>
                      </a:pPr>
                      <a:r>
                        <a:rPr lang="zh-CN" altLang="en-US" sz="1100" b="0" dirty="0" smtClean="0">
                          <a:solidFill>
                            <a:schemeClr val="tx2"/>
                          </a:solidFill>
                          <a:latin typeface="SimSun" panose="02010600030101010101" pitchFamily="2" charset="-122"/>
                          <a:ea typeface="SimSun" panose="02010600030101010101" pitchFamily="2" charset="-122"/>
                        </a:rPr>
                        <a:t>你可以在一天当中多次为每个新的功能创建分支，并且快速的合并</a:t>
                      </a:r>
                      <a:endParaRPr lang="en-GB"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436529385"/>
              </p:ext>
            </p:extLst>
          </p:nvPr>
        </p:nvGraphicFramePr>
        <p:xfrm>
          <a:off x="457201" y="4541780"/>
          <a:ext cx="8231187" cy="428616"/>
        </p:xfrm>
        <a:graphic>
          <a:graphicData uri="http://schemas.openxmlformats.org/drawingml/2006/table">
            <a:tbl>
              <a:tblPr firstRow="1" bandRow="1">
                <a:tableStyleId>{5C22544A-7EE6-4342-B048-85BDC9FD1C3A}</a:tableStyleId>
              </a:tblPr>
              <a:tblGrid>
                <a:gridCol w="1703387"/>
                <a:gridCol w="6527800"/>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快速和可拓展</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0" dirty="0" smtClean="0">
                          <a:solidFill>
                            <a:schemeClr val="tx2"/>
                          </a:solidFill>
                          <a:latin typeface="SimSun" panose="02010600030101010101" pitchFamily="2" charset="-122"/>
                          <a:ea typeface="SimSun" panose="02010600030101010101" pitchFamily="2" charset="-122"/>
                        </a:rPr>
                        <a:t>专为</a:t>
                      </a:r>
                      <a:r>
                        <a:rPr lang="en-GB" altLang="ja-JP" sz="1100" b="0" dirty="0" smtClean="0">
                          <a:solidFill>
                            <a:schemeClr val="tx2"/>
                          </a:solidFill>
                          <a:latin typeface="SimSun" panose="02010600030101010101" pitchFamily="2" charset="-122"/>
                          <a:ea typeface="SimSun" panose="02010600030101010101" pitchFamily="2" charset="-122"/>
                        </a:rPr>
                        <a:t>Linux Kernel </a:t>
                      </a:r>
                      <a:r>
                        <a:rPr lang="zh-CN" altLang="en-US" sz="1100" b="0" dirty="0" smtClean="0">
                          <a:solidFill>
                            <a:schemeClr val="tx2"/>
                          </a:solidFill>
                          <a:latin typeface="SimSun" panose="02010600030101010101" pitchFamily="2" charset="-122"/>
                          <a:ea typeface="SimSun" panose="02010600030101010101" pitchFamily="2" charset="-122"/>
                        </a:rPr>
                        <a:t>的开发者而开发，使得它运行更快并具有可拓展性</a:t>
                      </a:r>
                      <a:endParaRPr lang="en-GB" sz="1100" b="0" dirty="0" smtClean="0">
                        <a:solidFill>
                          <a:schemeClr val="tx2"/>
                        </a:solidFill>
                        <a:latin typeface="SimSun" panose="02010600030101010101" pitchFamily="2" charset="-122"/>
                        <a:ea typeface="SimSun" panose="02010600030101010101" pitchFamily="2" charset="-122"/>
                      </a:endParaRPr>
                    </a:p>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0" dirty="0" smtClean="0">
                          <a:solidFill>
                            <a:schemeClr val="tx2"/>
                          </a:solidFill>
                          <a:latin typeface="SimSun" panose="02010600030101010101" pitchFamily="2" charset="-122"/>
                          <a:ea typeface="SimSun" panose="02010600030101010101" pitchFamily="2" charset="-122"/>
                        </a:rPr>
                        <a:t>它还消耗很小的空间</a:t>
                      </a:r>
                      <a:r>
                        <a:rPr lang="en-GB" altLang="ja-JP" sz="1100" b="0" baseline="0" dirty="0" smtClean="0">
                          <a:solidFill>
                            <a:schemeClr val="tx2"/>
                          </a:solidFill>
                          <a:latin typeface="SimSun" panose="02010600030101010101" pitchFamily="2" charset="-122"/>
                          <a:ea typeface="SimSun" panose="02010600030101010101" pitchFamily="2" charset="-122"/>
                        </a:rPr>
                        <a:t>– </a:t>
                      </a:r>
                      <a:r>
                        <a:rPr lang="zh-CN" altLang="en-US" sz="1100" b="0" baseline="0" dirty="0" smtClean="0">
                          <a:solidFill>
                            <a:schemeClr val="tx2"/>
                          </a:solidFill>
                          <a:latin typeface="SimSun" panose="02010600030101010101" pitchFamily="2" charset="-122"/>
                          <a:ea typeface="SimSun" panose="02010600030101010101" pitchFamily="2" charset="-122"/>
                        </a:rPr>
                        <a:t>例如，比</a:t>
                      </a:r>
                      <a:r>
                        <a:rPr lang="en-GB" altLang="ja-JP" sz="1100" b="0" dirty="0" smtClean="0">
                          <a:solidFill>
                            <a:schemeClr val="tx2"/>
                          </a:solidFill>
                          <a:latin typeface="SimSun" panose="02010600030101010101" pitchFamily="2" charset="-122"/>
                          <a:ea typeface="SimSun" panose="02010600030101010101" pitchFamily="2" charset="-122"/>
                        </a:rPr>
                        <a:t>Mozilla</a:t>
                      </a:r>
                      <a:r>
                        <a:rPr lang="zh-CN" altLang="en-US" sz="1100" b="0" dirty="0" smtClean="0">
                          <a:solidFill>
                            <a:schemeClr val="tx2"/>
                          </a:solidFill>
                          <a:latin typeface="SimSun" panose="02010600030101010101" pitchFamily="2" charset="-122"/>
                          <a:ea typeface="SimSun" panose="02010600030101010101" pitchFamily="2" charset="-122"/>
                        </a:rPr>
                        <a:t>仓储小</a:t>
                      </a:r>
                      <a:r>
                        <a:rPr lang="en-US" altLang="zh-CN" sz="1100" b="0" dirty="0" smtClean="0">
                          <a:solidFill>
                            <a:schemeClr val="tx2"/>
                          </a:solidFill>
                          <a:latin typeface="SimSun" panose="02010600030101010101" pitchFamily="2" charset="-122"/>
                          <a:ea typeface="SimSun" panose="02010600030101010101" pitchFamily="2" charset="-122"/>
                        </a:rPr>
                        <a:t>30</a:t>
                      </a:r>
                      <a:r>
                        <a:rPr lang="zh-CN" altLang="en-US" sz="1100" b="0" dirty="0" smtClean="0">
                          <a:solidFill>
                            <a:schemeClr val="tx2"/>
                          </a:solidFill>
                          <a:latin typeface="SimSun" panose="02010600030101010101" pitchFamily="2" charset="-122"/>
                          <a:ea typeface="SimSun" panose="02010600030101010101" pitchFamily="2" charset="-122"/>
                        </a:rPr>
                        <a:t>倍</a:t>
                      </a:r>
                      <a:endParaRPr lang="en-GB"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60448266"/>
              </p:ext>
            </p:extLst>
          </p:nvPr>
        </p:nvGraphicFramePr>
        <p:xfrm>
          <a:off x="457201" y="4970396"/>
          <a:ext cx="8231187" cy="428616"/>
        </p:xfrm>
        <a:graphic>
          <a:graphicData uri="http://schemas.openxmlformats.org/drawingml/2006/table">
            <a:tbl>
              <a:tblPr firstRow="1" bandRow="1">
                <a:tableStyleId>{5C22544A-7EE6-4342-B048-85BDC9FD1C3A}</a:tableStyleId>
              </a:tblPr>
              <a:tblGrid>
                <a:gridCol w="1703387"/>
                <a:gridCol w="6527800"/>
              </a:tblGrid>
              <a:tr h="32335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多工作流</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altLang="ja-JP" sz="1100" b="0" dirty="0" smtClean="0">
                          <a:solidFill>
                            <a:schemeClr val="tx2"/>
                          </a:solidFill>
                          <a:latin typeface="SimSun" panose="02010600030101010101" pitchFamily="2" charset="-122"/>
                          <a:ea typeface="SimSun" panose="02010600030101010101" pitchFamily="2" charset="-122"/>
                        </a:rPr>
                        <a:t>Git</a:t>
                      </a:r>
                      <a:r>
                        <a:rPr lang="zh-CN" altLang="en-US" sz="1100" b="0" dirty="0" smtClean="0">
                          <a:solidFill>
                            <a:schemeClr val="tx2"/>
                          </a:solidFill>
                          <a:latin typeface="SimSun" panose="02010600030101010101" pitchFamily="2" charset="-122"/>
                          <a:ea typeface="SimSun" panose="02010600030101010101" pitchFamily="2" charset="-122"/>
                        </a:rPr>
                        <a:t>支持任何你想要使用的工作流</a:t>
                      </a:r>
                      <a:endParaRPr lang="en-GB" sz="1100" b="0" dirty="0" smtClean="0">
                        <a:solidFill>
                          <a:schemeClr val="tx2"/>
                        </a:solidFill>
                        <a:latin typeface="SimSun" panose="02010600030101010101" pitchFamily="2" charset="-122"/>
                        <a:ea typeface="SimSun" panose="02010600030101010101" pitchFamily="2" charset="-122"/>
                      </a:endParaRPr>
                    </a:p>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0" dirty="0" smtClean="0">
                          <a:solidFill>
                            <a:schemeClr val="tx2"/>
                          </a:solidFill>
                          <a:latin typeface="SimSun" panose="02010600030101010101" pitchFamily="2" charset="-122"/>
                          <a:ea typeface="SimSun" panose="02010600030101010101" pitchFamily="2" charset="-122"/>
                        </a:rPr>
                        <a:t>工作流可用性</a:t>
                      </a:r>
                      <a:r>
                        <a:rPr lang="en-GB" altLang="ja-JP" sz="1100" b="0" dirty="0" smtClean="0">
                          <a:solidFill>
                            <a:schemeClr val="tx2"/>
                          </a:solidFill>
                          <a:latin typeface="SimSun" panose="02010600030101010101" pitchFamily="2" charset="-122"/>
                          <a:ea typeface="SimSun" panose="02010600030101010101" pitchFamily="2" charset="-122"/>
                        </a:rPr>
                        <a:t>–</a:t>
                      </a:r>
                      <a:r>
                        <a:rPr lang="zh-CN" altLang="en-US" sz="1100" b="0" dirty="0" smtClean="0">
                          <a:solidFill>
                            <a:schemeClr val="tx2"/>
                          </a:solidFill>
                          <a:latin typeface="SimSun" panose="02010600030101010101" pitchFamily="2" charset="-122"/>
                          <a:ea typeface="SimSun" panose="02010600030101010101" pitchFamily="2" charset="-122"/>
                        </a:rPr>
                        <a:t>不同的工作流之间无需单独的服务器即可通过</a:t>
                      </a:r>
                      <a:r>
                        <a:rPr lang="en-GB" altLang="ja-JP" sz="1100" b="0" dirty="0" smtClean="0">
                          <a:solidFill>
                            <a:schemeClr val="tx2"/>
                          </a:solidFill>
                          <a:latin typeface="SimSun" panose="02010600030101010101" pitchFamily="2" charset="-122"/>
                          <a:ea typeface="SimSun" panose="02010600030101010101" pitchFamily="2" charset="-122"/>
                        </a:rPr>
                        <a:t>push </a:t>
                      </a:r>
                      <a:r>
                        <a:rPr lang="zh-CN" altLang="en-US" sz="1100" b="0" dirty="0" smtClean="0">
                          <a:solidFill>
                            <a:schemeClr val="tx2"/>
                          </a:solidFill>
                          <a:latin typeface="SimSun" panose="02010600030101010101" pitchFamily="2" charset="-122"/>
                          <a:ea typeface="SimSun" panose="02010600030101010101" pitchFamily="2" charset="-122"/>
                        </a:rPr>
                        <a:t>和</a:t>
                      </a:r>
                      <a:r>
                        <a:rPr lang="en-GB" altLang="ja-JP" sz="1100" b="0" dirty="0" smtClean="0">
                          <a:solidFill>
                            <a:schemeClr val="tx2"/>
                          </a:solidFill>
                          <a:latin typeface="SimSun" panose="02010600030101010101" pitchFamily="2" charset="-122"/>
                          <a:ea typeface="SimSun" panose="02010600030101010101" pitchFamily="2" charset="-122"/>
                        </a:rPr>
                        <a:t> pull requests</a:t>
                      </a:r>
                      <a:r>
                        <a:rPr lang="zh-CN" altLang="en-US" sz="1100" b="0" dirty="0" smtClean="0">
                          <a:solidFill>
                            <a:schemeClr val="tx2"/>
                          </a:solidFill>
                          <a:latin typeface="SimSun" panose="02010600030101010101" pitchFamily="2" charset="-122"/>
                          <a:ea typeface="SimSun" panose="02010600030101010101" pitchFamily="2" charset="-122"/>
                        </a:rPr>
                        <a:t>保持可用性</a:t>
                      </a:r>
                      <a:endParaRPr lang="en-GB"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513764127"/>
              </p:ext>
            </p:extLst>
          </p:nvPr>
        </p:nvGraphicFramePr>
        <p:xfrm>
          <a:off x="455613" y="5558270"/>
          <a:ext cx="8231187" cy="300910"/>
        </p:xfrm>
        <a:graphic>
          <a:graphicData uri="http://schemas.openxmlformats.org/drawingml/2006/table">
            <a:tbl>
              <a:tblPr firstRow="1" bandRow="1">
                <a:tableStyleId>{5C22544A-7EE6-4342-B048-85BDC9FD1C3A}</a:tableStyleId>
              </a:tblPr>
              <a:tblGrid>
                <a:gridCol w="1703387"/>
                <a:gridCol w="6527800"/>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自动审计能力</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0" baseline="0" dirty="0" smtClean="0">
                          <a:solidFill>
                            <a:schemeClr val="tx2"/>
                          </a:solidFill>
                          <a:latin typeface="SimSun" panose="02010600030101010101" pitchFamily="2" charset="-122"/>
                          <a:ea typeface="SimSun" panose="02010600030101010101" pitchFamily="2" charset="-122"/>
                        </a:rPr>
                        <a:t>轻松与</a:t>
                      </a:r>
                      <a:r>
                        <a:rPr lang="en-GB" altLang="ja-JP" sz="1100" b="0" baseline="0" dirty="0" err="1" smtClean="0">
                          <a:solidFill>
                            <a:schemeClr val="tx2"/>
                          </a:solidFill>
                          <a:latin typeface="SimSun" panose="02010600030101010101" pitchFamily="2" charset="-122"/>
                          <a:ea typeface="SimSun" panose="02010600030101010101" pitchFamily="2" charset="-122"/>
                        </a:rPr>
                        <a:t>Gerrit</a:t>
                      </a:r>
                      <a:r>
                        <a:rPr lang="zh-CN" altLang="en-US" sz="1100" b="0" baseline="0" dirty="0" smtClean="0">
                          <a:solidFill>
                            <a:schemeClr val="tx2"/>
                          </a:solidFill>
                          <a:latin typeface="SimSun" panose="02010600030101010101" pitchFamily="2" charset="-122"/>
                          <a:ea typeface="SimSun" panose="02010600030101010101" pitchFamily="2" charset="-122"/>
                        </a:rPr>
                        <a:t>集成进行快速审计</a:t>
                      </a:r>
                      <a:endParaRPr lang="en-GB"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039222459"/>
              </p:ext>
            </p:extLst>
          </p:nvPr>
        </p:nvGraphicFramePr>
        <p:xfrm>
          <a:off x="457201" y="5947141"/>
          <a:ext cx="8231187" cy="300910"/>
        </p:xfrm>
        <a:graphic>
          <a:graphicData uri="http://schemas.openxmlformats.org/drawingml/2006/table">
            <a:tbl>
              <a:tblPr firstRow="1" bandRow="1">
                <a:tableStyleId>{5C22544A-7EE6-4342-B048-85BDC9FD1C3A}</a:tableStyleId>
              </a:tblPr>
              <a:tblGrid>
                <a:gridCol w="1703387"/>
                <a:gridCol w="6527800"/>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zh-CN" altLang="en-US" sz="1100" b="0" dirty="0" smtClean="0">
                          <a:solidFill>
                            <a:schemeClr val="accent1"/>
                          </a:solidFill>
                          <a:latin typeface="SimSun" panose="02010600030101010101" pitchFamily="2" charset="-122"/>
                          <a:ea typeface="SimSun" panose="02010600030101010101" pitchFamily="2" charset="-122"/>
                        </a:rPr>
                        <a:t>乐观锁</a:t>
                      </a:r>
                      <a:endParaRPr lang="en-GB" sz="1100" b="0" dirty="0">
                        <a:solidFill>
                          <a:schemeClr val="accent1"/>
                        </a:solidFill>
                        <a:latin typeface="SimSun" panose="02010600030101010101" pitchFamily="2" charset="-122"/>
                        <a:ea typeface="SimSun" panose="02010600030101010101" pitchFamily="2" charset="-122"/>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zh-CN" altLang="en-US" sz="1100" b="0" dirty="0" smtClean="0">
                          <a:solidFill>
                            <a:schemeClr val="tx2"/>
                          </a:solidFill>
                          <a:latin typeface="SimSun" panose="02010600030101010101" pitchFamily="2" charset="-122"/>
                          <a:ea typeface="SimSun" panose="02010600030101010101" pitchFamily="2" charset="-122"/>
                        </a:rPr>
                        <a:t>带来更少的限制</a:t>
                      </a:r>
                      <a:endParaRPr lang="en-GB" sz="1100" b="0" dirty="0" smtClean="0">
                        <a:solidFill>
                          <a:schemeClr val="tx2"/>
                        </a:solidFill>
                        <a:latin typeface="SimSun" panose="02010600030101010101" pitchFamily="2" charset="-122"/>
                        <a:ea typeface="SimSun" panose="02010600030101010101" pitchFamily="2" charset="-122"/>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92440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80"/>
          <p:cNvSpPr>
            <a:spLocks noChangeArrowheads="1"/>
          </p:cNvSpPr>
          <p:nvPr/>
        </p:nvSpPr>
        <p:spPr bwMode="auto">
          <a:xfrm>
            <a:off x="3393192" y="1905191"/>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zh-CN" altLang="en-US" sz="1400" spc="-20" dirty="0" smtClean="0">
                <a:solidFill>
                  <a:schemeClr val="accent5"/>
                </a:solidFill>
                <a:latin typeface="SimSun" panose="02010600030101010101" pitchFamily="2" charset="-122"/>
                <a:ea typeface="SimSun" panose="02010600030101010101" pitchFamily="2" charset="-122"/>
              </a:rPr>
              <a:t>实现可持续的流程</a:t>
            </a:r>
            <a:endParaRPr lang="en-GB" altLang="en-US" sz="1400" i="0" spc="-20" dirty="0">
              <a:solidFill>
                <a:schemeClr val="accent5"/>
              </a:solidFill>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精益概述</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sz="2000" dirty="0" smtClean="0">
                <a:latin typeface="SimSun" panose="02010600030101010101" pitchFamily="2" charset="-122"/>
                <a:ea typeface="SimSun" panose="02010600030101010101" pitchFamily="2" charset="-122"/>
              </a:rPr>
              <a:t>可持续交付理念来源于精益思考</a:t>
            </a:r>
            <a:endParaRPr lang="en-GB" sz="2000"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4294967295"/>
          </p:nvPr>
        </p:nvSpPr>
        <p:spPr>
          <a:xfrm>
            <a:off x="439738" y="1881262"/>
            <a:ext cx="2724150" cy="4457700"/>
          </a:xfrm>
        </p:spPr>
        <p:txBody>
          <a:bodyPr/>
          <a:lstStyle/>
          <a:p>
            <a:r>
              <a:rPr lang="zh-CN" altLang="en-US" sz="1400" dirty="0" smtClean="0">
                <a:latin typeface="SimSun" panose="02010600030101010101" pitchFamily="2" charset="-122"/>
                <a:ea typeface="SimSun" panose="02010600030101010101" pitchFamily="2" charset="-122"/>
              </a:rPr>
              <a:t>精益概念最初从制造业衍生</a:t>
            </a:r>
            <a:r>
              <a:rPr lang="en-GB" sz="1400" dirty="0" smtClean="0">
                <a:latin typeface="SimSun" panose="02010600030101010101" pitchFamily="2" charset="-122"/>
                <a:ea typeface="SimSun" panose="02010600030101010101" pitchFamily="2" charset="-122"/>
              </a:rPr>
              <a:t> </a:t>
            </a:r>
          </a:p>
          <a:p>
            <a:r>
              <a:rPr lang="zh-CN" altLang="en-US" sz="1400" dirty="0" smtClean="0">
                <a:latin typeface="SimSun" panose="02010600030101010101" pitchFamily="2" charset="-122"/>
                <a:ea typeface="SimSun" panose="02010600030101010101" pitchFamily="2" charset="-122"/>
              </a:rPr>
              <a:t>理念和涉及的经验应用到软件开发流程</a:t>
            </a:r>
            <a:r>
              <a:rPr lang="en-GB" sz="1400" dirty="0" smtClean="0">
                <a:latin typeface="SimSun" panose="02010600030101010101" pitchFamily="2" charset="-122"/>
                <a:ea typeface="SimSun" panose="02010600030101010101" pitchFamily="2" charset="-122"/>
              </a:rPr>
              <a:t>.</a:t>
            </a:r>
          </a:p>
          <a:p>
            <a:r>
              <a:rPr lang="zh-CN" altLang="en-US" sz="1400" dirty="0" smtClean="0">
                <a:latin typeface="SimSun" panose="02010600030101010101" pitchFamily="2" charset="-122"/>
                <a:ea typeface="SimSun" panose="02010600030101010101" pitchFamily="2" charset="-122"/>
              </a:rPr>
              <a:t>在最短的交付时间内持续提供给客户最大的价值</a:t>
            </a:r>
            <a:endParaRPr lang="en-GB" sz="1400" dirty="0" smtClean="0">
              <a:latin typeface="SimSun" panose="02010600030101010101" pitchFamily="2" charset="-122"/>
              <a:ea typeface="SimSun" panose="02010600030101010101" pitchFamily="2" charset="-122"/>
            </a:endParaRPr>
          </a:p>
          <a:p>
            <a:r>
              <a:rPr lang="zh-CN" altLang="en-US" sz="1400" dirty="0">
                <a:latin typeface="SimSun" panose="02010600030101010101" pitchFamily="2" charset="-122"/>
                <a:ea typeface="SimSun" panose="02010600030101010101" pitchFamily="2" charset="-122"/>
              </a:rPr>
              <a:t>同时把最高的质量以及价值作为一个整体提供给我们</a:t>
            </a:r>
            <a:r>
              <a:rPr lang="zh-CN" altLang="en-US" sz="1400" dirty="0" smtClean="0">
                <a:latin typeface="SimSun" panose="02010600030101010101" pitchFamily="2" charset="-122"/>
                <a:ea typeface="SimSun" panose="02010600030101010101" pitchFamily="2" charset="-122"/>
              </a:rPr>
              <a:t>的客户，我们的人民和社会</a:t>
            </a:r>
            <a:endParaRPr lang="en-GB" sz="1400" dirty="0" smtClean="0">
              <a:latin typeface="SimSun" panose="02010600030101010101" pitchFamily="2" charset="-122"/>
              <a:ea typeface="SimSun" panose="02010600030101010101" pitchFamily="2" charset="-122"/>
            </a:endParaRPr>
          </a:p>
          <a:p>
            <a:pPr marL="0" indent="0">
              <a:buNone/>
            </a:pPr>
            <a:endParaRPr lang="en-GB" sz="1400" dirty="0" smtClean="0">
              <a:latin typeface="SimSun" panose="02010600030101010101" pitchFamily="2" charset="-122"/>
              <a:ea typeface="SimSun" panose="02010600030101010101" pitchFamily="2" charset="-122"/>
            </a:endParaRPr>
          </a:p>
        </p:txBody>
      </p:sp>
      <p:sp>
        <p:nvSpPr>
          <p:cNvPr id="6" name="Content Placeholder 5"/>
          <p:cNvSpPr>
            <a:spLocks noGrp="1"/>
          </p:cNvSpPr>
          <p:nvPr>
            <p:ph sz="quarter" idx="4294967295"/>
          </p:nvPr>
        </p:nvSpPr>
        <p:spPr>
          <a:xfrm>
            <a:off x="3714750" y="1577975"/>
            <a:ext cx="5429250" cy="293688"/>
          </a:xfrm>
        </p:spPr>
        <p:txBody>
          <a:bodyPr vert="horz" lIns="0" tIns="45720" rIns="0" bIns="0" rtlCol="0">
            <a:noAutofit/>
          </a:bodyPr>
          <a:lstStyle/>
          <a:p>
            <a:pPr marL="0" indent="0">
              <a:buNone/>
            </a:pPr>
            <a:r>
              <a:rPr lang="zh-CN" altLang="en-US" sz="1400" dirty="0" smtClean="0">
                <a:latin typeface="SimSun" panose="02010600030101010101" pitchFamily="2" charset="-122"/>
                <a:ea typeface="SimSun" panose="02010600030101010101" pitchFamily="2" charset="-122"/>
              </a:rPr>
              <a:t>精益专注于</a:t>
            </a:r>
            <a:r>
              <a:rPr lang="en-GB" sz="1400" dirty="0" smtClean="0">
                <a:latin typeface="SimSun" panose="02010600030101010101" pitchFamily="2" charset="-122"/>
                <a:ea typeface="SimSun" panose="02010600030101010101" pitchFamily="2" charset="-122"/>
              </a:rPr>
              <a:t>:</a:t>
            </a:r>
            <a:endParaRPr lang="en-GB" sz="1400" dirty="0">
              <a:latin typeface="SimSun" panose="02010600030101010101" pitchFamily="2" charset="-122"/>
              <a:ea typeface="SimSun" panose="02010600030101010101" pitchFamily="2" charset="-122"/>
            </a:endParaRPr>
          </a:p>
        </p:txBody>
      </p:sp>
      <p:sp>
        <p:nvSpPr>
          <p:cNvPr id="12" name="Rectangle 80"/>
          <p:cNvSpPr>
            <a:spLocks noChangeArrowheads="1"/>
          </p:cNvSpPr>
          <p:nvPr/>
        </p:nvSpPr>
        <p:spPr bwMode="auto">
          <a:xfrm>
            <a:off x="3393192" y="2652677"/>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zh-CN" altLang="en-US" sz="1400" spc="-20" dirty="0" smtClean="0">
                <a:solidFill>
                  <a:schemeClr val="accent5"/>
                </a:solidFill>
                <a:latin typeface="SimSun" panose="02010600030101010101" pitchFamily="2" charset="-122"/>
                <a:ea typeface="SimSun" panose="02010600030101010101" pitchFamily="2" charset="-122"/>
              </a:rPr>
              <a:t>发现延迟</a:t>
            </a:r>
            <a:endParaRPr lang="en-GB" altLang="en-US" sz="1400" spc="-20" dirty="0">
              <a:solidFill>
                <a:schemeClr val="accent5"/>
              </a:solidFill>
              <a:latin typeface="SimSun" panose="02010600030101010101" pitchFamily="2" charset="-122"/>
              <a:ea typeface="SimSun" panose="02010600030101010101" pitchFamily="2" charset="-122"/>
            </a:endParaRPr>
          </a:p>
        </p:txBody>
      </p:sp>
      <p:sp>
        <p:nvSpPr>
          <p:cNvPr id="13" name="Rectangle 80"/>
          <p:cNvSpPr>
            <a:spLocks noChangeArrowheads="1"/>
          </p:cNvSpPr>
          <p:nvPr/>
        </p:nvSpPr>
        <p:spPr bwMode="auto">
          <a:xfrm>
            <a:off x="3393192" y="3400163"/>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zh-CN" altLang="en-US" sz="1400" b="1" spc="-20" dirty="0" smtClean="0">
                <a:solidFill>
                  <a:schemeClr val="accent5"/>
                </a:solidFill>
                <a:latin typeface="SimSun" panose="02010600030101010101" pitchFamily="2" charset="-122"/>
                <a:ea typeface="SimSun" panose="02010600030101010101" pitchFamily="2" charset="-122"/>
              </a:rPr>
              <a:t>发现无价值的附加活动</a:t>
            </a:r>
            <a:endParaRPr lang="en-GB" altLang="en-US" sz="1400" b="1" spc="-20" dirty="0">
              <a:solidFill>
                <a:schemeClr val="accent5"/>
              </a:solidFill>
              <a:latin typeface="SimSun" panose="02010600030101010101" pitchFamily="2" charset="-122"/>
              <a:ea typeface="SimSun" panose="02010600030101010101" pitchFamily="2" charset="-122"/>
            </a:endParaRPr>
          </a:p>
        </p:txBody>
      </p:sp>
      <p:sp>
        <p:nvSpPr>
          <p:cNvPr id="14" name="Rectangle 80"/>
          <p:cNvSpPr>
            <a:spLocks noChangeArrowheads="1"/>
          </p:cNvSpPr>
          <p:nvPr/>
        </p:nvSpPr>
        <p:spPr bwMode="auto">
          <a:xfrm>
            <a:off x="3393192" y="4147649"/>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zh-CN" altLang="en-US" sz="1400" spc="-20" dirty="0" smtClean="0">
                <a:solidFill>
                  <a:schemeClr val="accent5"/>
                </a:solidFill>
                <a:latin typeface="SimSun" panose="02010600030101010101" pitchFamily="2" charset="-122"/>
                <a:ea typeface="SimSun" panose="02010600030101010101" pitchFamily="2" charset="-122"/>
              </a:rPr>
              <a:t>不断减少延迟和无价值活动</a:t>
            </a:r>
            <a:endParaRPr lang="en-US" altLang="en-US" sz="1400" spc="-20" dirty="0">
              <a:solidFill>
                <a:schemeClr val="accent5"/>
              </a:solidFill>
              <a:latin typeface="SimSun" panose="02010600030101010101" pitchFamily="2" charset="-122"/>
              <a:ea typeface="SimSun" panose="02010600030101010101" pitchFamily="2" charset="-122"/>
            </a:endParaRPr>
          </a:p>
        </p:txBody>
      </p:sp>
      <p:sp>
        <p:nvSpPr>
          <p:cNvPr id="15" name="Rectangle 80"/>
          <p:cNvSpPr>
            <a:spLocks noChangeArrowheads="1"/>
          </p:cNvSpPr>
          <p:nvPr/>
        </p:nvSpPr>
        <p:spPr bwMode="auto">
          <a:xfrm>
            <a:off x="3393192" y="4895134"/>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zh-CN" altLang="en-US" sz="1400" b="1" spc="-20" dirty="0" smtClean="0">
                <a:solidFill>
                  <a:schemeClr val="accent5"/>
                </a:solidFill>
                <a:latin typeface="SimSun" panose="02010600030101010101" pitchFamily="2" charset="-122"/>
                <a:ea typeface="SimSun" panose="02010600030101010101" pitchFamily="2" charset="-122"/>
              </a:rPr>
              <a:t>减少浪费并保持低库存量</a:t>
            </a:r>
            <a:endParaRPr lang="en-US" altLang="en-US" sz="1400" b="1" spc="-20" dirty="0">
              <a:solidFill>
                <a:schemeClr val="accent5"/>
              </a:solidFill>
              <a:latin typeface="SimSun" panose="02010600030101010101" pitchFamily="2" charset="-122"/>
              <a:ea typeface="SimSun" panose="02010600030101010101" pitchFamily="2" charset="-122"/>
            </a:endParaRPr>
          </a:p>
        </p:txBody>
      </p:sp>
      <p:grpSp>
        <p:nvGrpSpPr>
          <p:cNvPr id="24" name="Group 23"/>
          <p:cNvGrpSpPr/>
          <p:nvPr/>
        </p:nvGrpSpPr>
        <p:grpSpPr>
          <a:xfrm>
            <a:off x="3208316" y="1841141"/>
            <a:ext cx="805657" cy="773907"/>
            <a:chOff x="3336134" y="2007395"/>
            <a:chExt cx="805657" cy="773907"/>
          </a:xfrm>
        </p:grpSpPr>
        <p:grpSp>
          <p:nvGrpSpPr>
            <p:cNvPr id="23" name="Group 22"/>
            <p:cNvGrpSpPr/>
            <p:nvPr/>
          </p:nvGrpSpPr>
          <p:grpSpPr>
            <a:xfrm>
              <a:off x="3336134" y="2007395"/>
              <a:ext cx="805657" cy="773907"/>
              <a:chOff x="3336134" y="2007395"/>
              <a:chExt cx="805657" cy="773907"/>
            </a:xfrm>
          </p:grpSpPr>
          <p:sp>
            <p:nvSpPr>
              <p:cNvPr id="19" name="Oval 18"/>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21"/>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7" name="Oval 16"/>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6" name="Group 25"/>
          <p:cNvGrpSpPr/>
          <p:nvPr/>
        </p:nvGrpSpPr>
        <p:grpSpPr>
          <a:xfrm>
            <a:off x="3208316" y="2588852"/>
            <a:ext cx="805657" cy="773907"/>
            <a:chOff x="3336134" y="2007395"/>
            <a:chExt cx="805657" cy="773907"/>
          </a:xfrm>
        </p:grpSpPr>
        <p:grpSp>
          <p:nvGrpSpPr>
            <p:cNvPr id="27" name="Group 26"/>
            <p:cNvGrpSpPr/>
            <p:nvPr/>
          </p:nvGrpSpPr>
          <p:grpSpPr>
            <a:xfrm>
              <a:off x="3336134" y="2007395"/>
              <a:ext cx="805657" cy="773907"/>
              <a:chOff x="3336134" y="2007395"/>
              <a:chExt cx="805657" cy="773907"/>
            </a:xfrm>
          </p:grpSpPr>
          <p:sp>
            <p:nvSpPr>
              <p:cNvPr id="29" name="Oval 28"/>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Rectangle 29"/>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8" name="Oval 27"/>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1" name="Group 30"/>
          <p:cNvGrpSpPr/>
          <p:nvPr/>
        </p:nvGrpSpPr>
        <p:grpSpPr>
          <a:xfrm>
            <a:off x="3208316" y="3336205"/>
            <a:ext cx="805657" cy="773907"/>
            <a:chOff x="3336134" y="2007395"/>
            <a:chExt cx="805657" cy="773907"/>
          </a:xfrm>
        </p:grpSpPr>
        <p:grpSp>
          <p:nvGrpSpPr>
            <p:cNvPr id="32" name="Group 31"/>
            <p:cNvGrpSpPr/>
            <p:nvPr/>
          </p:nvGrpSpPr>
          <p:grpSpPr>
            <a:xfrm>
              <a:off x="3336134" y="2007395"/>
              <a:ext cx="805657" cy="773907"/>
              <a:chOff x="3336134" y="2007395"/>
              <a:chExt cx="805657" cy="773907"/>
            </a:xfrm>
          </p:grpSpPr>
          <p:sp>
            <p:nvSpPr>
              <p:cNvPr id="34" name="Oval 33"/>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Rectangle 34"/>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3" name="Oval 32"/>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6" name="Group 35"/>
          <p:cNvGrpSpPr/>
          <p:nvPr/>
        </p:nvGrpSpPr>
        <p:grpSpPr>
          <a:xfrm>
            <a:off x="3208316" y="4083691"/>
            <a:ext cx="805657" cy="773907"/>
            <a:chOff x="3336134" y="2007395"/>
            <a:chExt cx="805657" cy="773907"/>
          </a:xfrm>
        </p:grpSpPr>
        <p:grpSp>
          <p:nvGrpSpPr>
            <p:cNvPr id="37" name="Group 36"/>
            <p:cNvGrpSpPr/>
            <p:nvPr/>
          </p:nvGrpSpPr>
          <p:grpSpPr>
            <a:xfrm>
              <a:off x="3336134" y="2007395"/>
              <a:ext cx="805657" cy="773907"/>
              <a:chOff x="3336134" y="2007395"/>
              <a:chExt cx="805657" cy="773907"/>
            </a:xfrm>
          </p:grpSpPr>
          <p:sp>
            <p:nvSpPr>
              <p:cNvPr id="39" name="Oval 38"/>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Rectangle 39"/>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8" name="Oval 37"/>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41" name="Group 40"/>
          <p:cNvGrpSpPr/>
          <p:nvPr/>
        </p:nvGrpSpPr>
        <p:grpSpPr>
          <a:xfrm>
            <a:off x="3208316" y="4825250"/>
            <a:ext cx="805657" cy="773907"/>
            <a:chOff x="3336134" y="2007395"/>
            <a:chExt cx="805657" cy="773907"/>
          </a:xfrm>
        </p:grpSpPr>
        <p:grpSp>
          <p:nvGrpSpPr>
            <p:cNvPr id="42" name="Group 41"/>
            <p:cNvGrpSpPr/>
            <p:nvPr/>
          </p:nvGrpSpPr>
          <p:grpSpPr>
            <a:xfrm>
              <a:off x="3336134" y="2007395"/>
              <a:ext cx="805657" cy="773907"/>
              <a:chOff x="3336134" y="2007395"/>
              <a:chExt cx="805657" cy="773907"/>
            </a:xfrm>
          </p:grpSpPr>
          <p:sp>
            <p:nvSpPr>
              <p:cNvPr id="44" name="Oval 43"/>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5" name="Rectangle 44"/>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43" name="Oval 42"/>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5" name="Group 5"/>
          <p:cNvGrpSpPr>
            <a:grpSpLocks noChangeAspect="1"/>
          </p:cNvGrpSpPr>
          <p:nvPr/>
        </p:nvGrpSpPr>
        <p:grpSpPr bwMode="auto">
          <a:xfrm>
            <a:off x="3401267" y="2776596"/>
            <a:ext cx="402408" cy="441282"/>
            <a:chOff x="1468" y="611"/>
            <a:chExt cx="2826" cy="3099"/>
          </a:xfrm>
          <a:solidFill>
            <a:schemeClr val="accent1"/>
          </a:solidFill>
        </p:grpSpPr>
        <p:sp>
          <p:nvSpPr>
            <p:cNvPr id="47" name="Freeform 6"/>
            <p:cNvSpPr>
              <a:spLocks/>
            </p:cNvSpPr>
            <p:nvPr/>
          </p:nvSpPr>
          <p:spPr bwMode="auto">
            <a:xfrm>
              <a:off x="1468" y="611"/>
              <a:ext cx="2826" cy="3099"/>
            </a:xfrm>
            <a:custGeom>
              <a:avLst/>
              <a:gdLst>
                <a:gd name="T0" fmla="*/ 1083 w 1196"/>
                <a:gd name="T1" fmla="*/ 249 h 1312"/>
                <a:gd name="T2" fmla="*/ 1068 w 1196"/>
                <a:gd name="T3" fmla="*/ 230 h 1312"/>
                <a:gd name="T4" fmla="*/ 1053 w 1196"/>
                <a:gd name="T5" fmla="*/ 211 h 1312"/>
                <a:gd name="T6" fmla="*/ 973 w 1196"/>
                <a:gd name="T7" fmla="*/ 133 h 1312"/>
                <a:gd name="T8" fmla="*/ 954 w 1196"/>
                <a:gd name="T9" fmla="*/ 118 h 1312"/>
                <a:gd name="T10" fmla="*/ 934 w 1196"/>
                <a:gd name="T11" fmla="*/ 104 h 1312"/>
                <a:gd name="T12" fmla="*/ 717 w 1196"/>
                <a:gd name="T13" fmla="*/ 12 h 1312"/>
                <a:gd name="T14" fmla="*/ 693 w 1196"/>
                <a:gd name="T15" fmla="*/ 8 h 1312"/>
                <a:gd name="T16" fmla="*/ 669 w 1196"/>
                <a:gd name="T17" fmla="*/ 4 h 1312"/>
                <a:gd name="T18" fmla="*/ 598 w 1196"/>
                <a:gd name="T19" fmla="*/ 0 h 1312"/>
                <a:gd name="T20" fmla="*/ 527 w 1196"/>
                <a:gd name="T21" fmla="*/ 4 h 1312"/>
                <a:gd name="T22" fmla="*/ 503 w 1196"/>
                <a:gd name="T23" fmla="*/ 8 h 1312"/>
                <a:gd name="T24" fmla="*/ 479 w 1196"/>
                <a:gd name="T25" fmla="*/ 12 h 1312"/>
                <a:gd name="T26" fmla="*/ 0 w 1196"/>
                <a:gd name="T27" fmla="*/ 598 h 1312"/>
                <a:gd name="T28" fmla="*/ 185 w 1196"/>
                <a:gd name="T29" fmla="*/ 1029 h 1312"/>
                <a:gd name="T30" fmla="*/ 315 w 1196"/>
                <a:gd name="T31" fmla="*/ 928 h 1312"/>
                <a:gd name="T32" fmla="*/ 163 w 1196"/>
                <a:gd name="T33" fmla="*/ 598 h 1312"/>
                <a:gd name="T34" fmla="*/ 598 w 1196"/>
                <a:gd name="T35" fmla="*/ 163 h 1312"/>
                <a:gd name="T36" fmla="*/ 1033 w 1196"/>
                <a:gd name="T37" fmla="*/ 598 h 1312"/>
                <a:gd name="T38" fmla="*/ 635 w 1196"/>
                <a:gd name="T39" fmla="*/ 1031 h 1312"/>
                <a:gd name="T40" fmla="*/ 635 w 1196"/>
                <a:gd name="T41" fmla="*/ 959 h 1312"/>
                <a:gd name="T42" fmla="*/ 635 w 1196"/>
                <a:gd name="T43" fmla="*/ 923 h 1312"/>
                <a:gd name="T44" fmla="*/ 620 w 1196"/>
                <a:gd name="T45" fmla="*/ 897 h 1312"/>
                <a:gd name="T46" fmla="*/ 591 w 1196"/>
                <a:gd name="T47" fmla="*/ 899 h 1312"/>
                <a:gd name="T48" fmla="*/ 330 w 1196"/>
                <a:gd name="T49" fmla="*/ 1080 h 1312"/>
                <a:gd name="T50" fmla="*/ 318 w 1196"/>
                <a:gd name="T51" fmla="*/ 1103 h 1312"/>
                <a:gd name="T52" fmla="*/ 330 w 1196"/>
                <a:gd name="T53" fmla="*/ 1127 h 1312"/>
                <a:gd name="T54" fmla="*/ 591 w 1196"/>
                <a:gd name="T55" fmla="*/ 1307 h 1312"/>
                <a:gd name="T56" fmla="*/ 607 w 1196"/>
                <a:gd name="T57" fmla="*/ 1312 h 1312"/>
                <a:gd name="T58" fmla="*/ 620 w 1196"/>
                <a:gd name="T59" fmla="*/ 1309 h 1312"/>
                <a:gd name="T60" fmla="*/ 635 w 1196"/>
                <a:gd name="T61" fmla="*/ 1284 h 1312"/>
                <a:gd name="T62" fmla="*/ 635 w 1196"/>
                <a:gd name="T63" fmla="*/ 1266 h 1312"/>
                <a:gd name="T64" fmla="*/ 635 w 1196"/>
                <a:gd name="T65" fmla="*/ 1194 h 1312"/>
                <a:gd name="T66" fmla="*/ 1196 w 1196"/>
                <a:gd name="T67" fmla="*/ 598 h 1312"/>
                <a:gd name="T68" fmla="*/ 1083 w 1196"/>
                <a:gd name="T69" fmla="*/ 249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6" h="1312">
                  <a:moveTo>
                    <a:pt x="1083" y="249"/>
                  </a:moveTo>
                  <a:cubicBezTo>
                    <a:pt x="1078" y="242"/>
                    <a:pt x="1073" y="236"/>
                    <a:pt x="1068" y="230"/>
                  </a:cubicBezTo>
                  <a:cubicBezTo>
                    <a:pt x="1063" y="223"/>
                    <a:pt x="1058" y="217"/>
                    <a:pt x="1053" y="211"/>
                  </a:cubicBezTo>
                  <a:cubicBezTo>
                    <a:pt x="1029" y="182"/>
                    <a:pt x="1002" y="156"/>
                    <a:pt x="973" y="133"/>
                  </a:cubicBezTo>
                  <a:cubicBezTo>
                    <a:pt x="967" y="128"/>
                    <a:pt x="960" y="123"/>
                    <a:pt x="954" y="118"/>
                  </a:cubicBezTo>
                  <a:cubicBezTo>
                    <a:pt x="947" y="113"/>
                    <a:pt x="941" y="108"/>
                    <a:pt x="934" y="104"/>
                  </a:cubicBezTo>
                  <a:cubicBezTo>
                    <a:pt x="869" y="60"/>
                    <a:pt x="796" y="28"/>
                    <a:pt x="717" y="12"/>
                  </a:cubicBezTo>
                  <a:cubicBezTo>
                    <a:pt x="709" y="10"/>
                    <a:pt x="701" y="9"/>
                    <a:pt x="693" y="8"/>
                  </a:cubicBezTo>
                  <a:cubicBezTo>
                    <a:pt x="685" y="6"/>
                    <a:pt x="677" y="5"/>
                    <a:pt x="669" y="4"/>
                  </a:cubicBezTo>
                  <a:cubicBezTo>
                    <a:pt x="646" y="1"/>
                    <a:pt x="622" y="0"/>
                    <a:pt x="598" y="0"/>
                  </a:cubicBezTo>
                  <a:cubicBezTo>
                    <a:pt x="574" y="0"/>
                    <a:pt x="550" y="1"/>
                    <a:pt x="527" y="4"/>
                  </a:cubicBezTo>
                  <a:cubicBezTo>
                    <a:pt x="519" y="5"/>
                    <a:pt x="511" y="6"/>
                    <a:pt x="503" y="8"/>
                  </a:cubicBezTo>
                  <a:cubicBezTo>
                    <a:pt x="495" y="9"/>
                    <a:pt x="487" y="10"/>
                    <a:pt x="479" y="12"/>
                  </a:cubicBezTo>
                  <a:cubicBezTo>
                    <a:pt x="206" y="67"/>
                    <a:pt x="0" y="309"/>
                    <a:pt x="0" y="598"/>
                  </a:cubicBezTo>
                  <a:cubicBezTo>
                    <a:pt x="0" y="767"/>
                    <a:pt x="71" y="920"/>
                    <a:pt x="185" y="1029"/>
                  </a:cubicBezTo>
                  <a:cubicBezTo>
                    <a:pt x="315" y="928"/>
                    <a:pt x="315" y="928"/>
                    <a:pt x="315" y="928"/>
                  </a:cubicBezTo>
                  <a:cubicBezTo>
                    <a:pt x="222" y="848"/>
                    <a:pt x="163" y="730"/>
                    <a:pt x="163" y="598"/>
                  </a:cubicBezTo>
                  <a:cubicBezTo>
                    <a:pt x="163" y="358"/>
                    <a:pt x="358" y="163"/>
                    <a:pt x="598" y="163"/>
                  </a:cubicBezTo>
                  <a:cubicBezTo>
                    <a:pt x="838" y="163"/>
                    <a:pt x="1033" y="358"/>
                    <a:pt x="1033" y="598"/>
                  </a:cubicBezTo>
                  <a:cubicBezTo>
                    <a:pt x="1033" y="825"/>
                    <a:pt x="858" y="1012"/>
                    <a:pt x="635" y="1031"/>
                  </a:cubicBezTo>
                  <a:cubicBezTo>
                    <a:pt x="635" y="959"/>
                    <a:pt x="635" y="959"/>
                    <a:pt x="635" y="959"/>
                  </a:cubicBezTo>
                  <a:cubicBezTo>
                    <a:pt x="635" y="923"/>
                    <a:pt x="635" y="923"/>
                    <a:pt x="635" y="923"/>
                  </a:cubicBezTo>
                  <a:cubicBezTo>
                    <a:pt x="635" y="912"/>
                    <a:pt x="630" y="902"/>
                    <a:pt x="620" y="897"/>
                  </a:cubicBezTo>
                  <a:cubicBezTo>
                    <a:pt x="611" y="892"/>
                    <a:pt x="599" y="893"/>
                    <a:pt x="591" y="899"/>
                  </a:cubicBezTo>
                  <a:cubicBezTo>
                    <a:pt x="330" y="1080"/>
                    <a:pt x="330" y="1080"/>
                    <a:pt x="330" y="1080"/>
                  </a:cubicBezTo>
                  <a:cubicBezTo>
                    <a:pt x="322" y="1085"/>
                    <a:pt x="318" y="1094"/>
                    <a:pt x="318" y="1103"/>
                  </a:cubicBezTo>
                  <a:cubicBezTo>
                    <a:pt x="318" y="1113"/>
                    <a:pt x="322" y="1121"/>
                    <a:pt x="330" y="1127"/>
                  </a:cubicBezTo>
                  <a:cubicBezTo>
                    <a:pt x="591" y="1307"/>
                    <a:pt x="591" y="1307"/>
                    <a:pt x="591" y="1307"/>
                  </a:cubicBezTo>
                  <a:cubicBezTo>
                    <a:pt x="596" y="1311"/>
                    <a:pt x="601" y="1312"/>
                    <a:pt x="607" y="1312"/>
                  </a:cubicBezTo>
                  <a:cubicBezTo>
                    <a:pt x="611" y="1312"/>
                    <a:pt x="616" y="1311"/>
                    <a:pt x="620" y="1309"/>
                  </a:cubicBezTo>
                  <a:cubicBezTo>
                    <a:pt x="630" y="1304"/>
                    <a:pt x="635" y="1295"/>
                    <a:pt x="635" y="1284"/>
                  </a:cubicBezTo>
                  <a:cubicBezTo>
                    <a:pt x="635" y="1266"/>
                    <a:pt x="635" y="1266"/>
                    <a:pt x="635" y="1266"/>
                  </a:cubicBezTo>
                  <a:cubicBezTo>
                    <a:pt x="635" y="1194"/>
                    <a:pt x="635" y="1194"/>
                    <a:pt x="635" y="1194"/>
                  </a:cubicBezTo>
                  <a:cubicBezTo>
                    <a:pt x="948" y="1175"/>
                    <a:pt x="1196" y="915"/>
                    <a:pt x="1196" y="598"/>
                  </a:cubicBezTo>
                  <a:cubicBezTo>
                    <a:pt x="1196" y="468"/>
                    <a:pt x="1154" y="347"/>
                    <a:pt x="1083"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7"/>
            <p:cNvSpPr>
              <a:spLocks/>
            </p:cNvSpPr>
            <p:nvPr/>
          </p:nvSpPr>
          <p:spPr bwMode="auto">
            <a:xfrm>
              <a:off x="2614" y="1178"/>
              <a:ext cx="929" cy="1113"/>
            </a:xfrm>
            <a:custGeom>
              <a:avLst/>
              <a:gdLst>
                <a:gd name="T0" fmla="*/ 226 w 393"/>
                <a:gd name="T1" fmla="*/ 367 h 471"/>
                <a:gd name="T2" fmla="*/ 368 w 393"/>
                <a:gd name="T3" fmla="*/ 316 h 471"/>
                <a:gd name="T4" fmla="*/ 389 w 393"/>
                <a:gd name="T5" fmla="*/ 277 h 471"/>
                <a:gd name="T6" fmla="*/ 349 w 393"/>
                <a:gd name="T7" fmla="*/ 253 h 471"/>
                <a:gd name="T8" fmla="*/ 203 w 393"/>
                <a:gd name="T9" fmla="*/ 289 h 471"/>
                <a:gd name="T10" fmla="*/ 165 w 393"/>
                <a:gd name="T11" fmla="*/ 257 h 471"/>
                <a:gd name="T12" fmla="*/ 153 w 393"/>
                <a:gd name="T13" fmla="*/ 40 h 471"/>
                <a:gd name="T14" fmla="*/ 114 w 393"/>
                <a:gd name="T15" fmla="*/ 1 h 471"/>
                <a:gd name="T16" fmla="*/ 71 w 393"/>
                <a:gd name="T17" fmla="*/ 40 h 471"/>
                <a:gd name="T18" fmla="*/ 61 w 393"/>
                <a:gd name="T19" fmla="*/ 257 h 471"/>
                <a:gd name="T20" fmla="*/ 0 w 393"/>
                <a:gd name="T21" fmla="*/ 358 h 471"/>
                <a:gd name="T22" fmla="*/ 113 w 393"/>
                <a:gd name="T23" fmla="*/ 471 h 471"/>
                <a:gd name="T24" fmla="*/ 226 w 393"/>
                <a:gd name="T25" fmla="*/ 36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471">
                  <a:moveTo>
                    <a:pt x="226" y="367"/>
                  </a:moveTo>
                  <a:cubicBezTo>
                    <a:pt x="368" y="316"/>
                    <a:pt x="368" y="316"/>
                    <a:pt x="368" y="316"/>
                  </a:cubicBezTo>
                  <a:cubicBezTo>
                    <a:pt x="384" y="311"/>
                    <a:pt x="393" y="294"/>
                    <a:pt x="389" y="277"/>
                  </a:cubicBezTo>
                  <a:cubicBezTo>
                    <a:pt x="385" y="260"/>
                    <a:pt x="367" y="249"/>
                    <a:pt x="349" y="253"/>
                  </a:cubicBezTo>
                  <a:cubicBezTo>
                    <a:pt x="203" y="289"/>
                    <a:pt x="203" y="289"/>
                    <a:pt x="203" y="289"/>
                  </a:cubicBezTo>
                  <a:cubicBezTo>
                    <a:pt x="193" y="276"/>
                    <a:pt x="180" y="265"/>
                    <a:pt x="165" y="257"/>
                  </a:cubicBezTo>
                  <a:cubicBezTo>
                    <a:pt x="153" y="40"/>
                    <a:pt x="153" y="40"/>
                    <a:pt x="153" y="40"/>
                  </a:cubicBezTo>
                  <a:cubicBezTo>
                    <a:pt x="152" y="19"/>
                    <a:pt x="135" y="2"/>
                    <a:pt x="114" y="1"/>
                  </a:cubicBezTo>
                  <a:cubicBezTo>
                    <a:pt x="92" y="0"/>
                    <a:pt x="72" y="18"/>
                    <a:pt x="71" y="40"/>
                  </a:cubicBezTo>
                  <a:cubicBezTo>
                    <a:pt x="61" y="257"/>
                    <a:pt x="61" y="257"/>
                    <a:pt x="61" y="257"/>
                  </a:cubicBezTo>
                  <a:cubicBezTo>
                    <a:pt x="24" y="276"/>
                    <a:pt x="0" y="314"/>
                    <a:pt x="0" y="358"/>
                  </a:cubicBezTo>
                  <a:cubicBezTo>
                    <a:pt x="0" y="420"/>
                    <a:pt x="50" y="471"/>
                    <a:pt x="113" y="471"/>
                  </a:cubicBezTo>
                  <a:cubicBezTo>
                    <a:pt x="172" y="471"/>
                    <a:pt x="221" y="425"/>
                    <a:pt x="226"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11"/>
          <p:cNvGrpSpPr>
            <a:grpSpLocks noChangeAspect="1"/>
          </p:cNvGrpSpPr>
          <p:nvPr/>
        </p:nvGrpSpPr>
        <p:grpSpPr bwMode="auto">
          <a:xfrm>
            <a:off x="3407936" y="2041415"/>
            <a:ext cx="379606" cy="378117"/>
            <a:chOff x="2627" y="1905"/>
            <a:chExt cx="510" cy="508"/>
          </a:xfrm>
          <a:solidFill>
            <a:schemeClr val="accent1"/>
          </a:solidFill>
        </p:grpSpPr>
        <p:sp>
          <p:nvSpPr>
            <p:cNvPr id="51" name="Freeform 12"/>
            <p:cNvSpPr>
              <a:spLocks noEditPoints="1"/>
            </p:cNvSpPr>
            <p:nvPr/>
          </p:nvSpPr>
          <p:spPr bwMode="auto">
            <a:xfrm>
              <a:off x="2670" y="1905"/>
              <a:ext cx="467" cy="213"/>
            </a:xfrm>
            <a:custGeom>
              <a:avLst/>
              <a:gdLst>
                <a:gd name="T0" fmla="*/ 134 w 198"/>
                <a:gd name="T1" fmla="*/ 26 h 90"/>
                <a:gd name="T2" fmla="*/ 66 w 198"/>
                <a:gd name="T3" fmla="*/ 18 h 90"/>
                <a:gd name="T4" fmla="*/ 0 w 198"/>
                <a:gd name="T5" fmla="*/ 86 h 90"/>
                <a:gd name="T6" fmla="*/ 1 w 198"/>
                <a:gd name="T7" fmla="*/ 89 h 90"/>
                <a:gd name="T8" fmla="*/ 4 w 198"/>
                <a:gd name="T9" fmla="*/ 90 h 90"/>
                <a:gd name="T10" fmla="*/ 31 w 198"/>
                <a:gd name="T11" fmla="*/ 89 h 90"/>
                <a:gd name="T12" fmla="*/ 34 w 198"/>
                <a:gd name="T13" fmla="*/ 87 h 90"/>
                <a:gd name="T14" fmla="*/ 75 w 198"/>
                <a:gd name="T15" fmla="*/ 49 h 90"/>
                <a:gd name="T16" fmla="*/ 117 w 198"/>
                <a:gd name="T17" fmla="*/ 54 h 90"/>
                <a:gd name="T18" fmla="*/ 119 w 198"/>
                <a:gd name="T19" fmla="*/ 56 h 90"/>
                <a:gd name="T20" fmla="*/ 119 w 198"/>
                <a:gd name="T21" fmla="*/ 59 h 90"/>
                <a:gd name="T22" fmla="*/ 106 w 198"/>
                <a:gd name="T23" fmla="*/ 81 h 90"/>
                <a:gd name="T24" fmla="*/ 106 w 198"/>
                <a:gd name="T25" fmla="*/ 84 h 90"/>
                <a:gd name="T26" fmla="*/ 109 w 198"/>
                <a:gd name="T27" fmla="*/ 86 h 90"/>
                <a:gd name="T28" fmla="*/ 195 w 198"/>
                <a:gd name="T29" fmla="*/ 83 h 90"/>
                <a:gd name="T30" fmla="*/ 198 w 198"/>
                <a:gd name="T31" fmla="*/ 81 h 90"/>
                <a:gd name="T32" fmla="*/ 198 w 198"/>
                <a:gd name="T33" fmla="*/ 78 h 90"/>
                <a:gd name="T34" fmla="*/ 157 w 198"/>
                <a:gd name="T35" fmla="*/ 2 h 90"/>
                <a:gd name="T36" fmla="*/ 155 w 198"/>
                <a:gd name="T37" fmla="*/ 0 h 90"/>
                <a:gd name="T38" fmla="*/ 152 w 198"/>
                <a:gd name="T39" fmla="*/ 2 h 90"/>
                <a:gd name="T40" fmla="*/ 138 w 198"/>
                <a:gd name="T41" fmla="*/ 25 h 90"/>
                <a:gd name="T42" fmla="*/ 134 w 198"/>
                <a:gd name="T43" fmla="*/ 26 h 90"/>
                <a:gd name="T44" fmla="*/ 182 w 198"/>
                <a:gd name="T45" fmla="*/ 68 h 90"/>
                <a:gd name="T46" fmla="*/ 180 w 198"/>
                <a:gd name="T47" fmla="*/ 74 h 90"/>
                <a:gd name="T48" fmla="*/ 174 w 198"/>
                <a:gd name="T49" fmla="*/ 72 h 90"/>
                <a:gd name="T50" fmla="*/ 150 w 198"/>
                <a:gd name="T51" fmla="*/ 27 h 90"/>
                <a:gd name="T52" fmla="*/ 152 w 198"/>
                <a:gd name="T53" fmla="*/ 20 h 90"/>
                <a:gd name="T54" fmla="*/ 158 w 198"/>
                <a:gd name="T55" fmla="*/ 22 h 90"/>
                <a:gd name="T56" fmla="*/ 182 w 198"/>
                <a:gd name="T57" fmla="*/ 6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90">
                  <a:moveTo>
                    <a:pt x="134" y="26"/>
                  </a:moveTo>
                  <a:cubicBezTo>
                    <a:pt x="113" y="15"/>
                    <a:pt x="89" y="12"/>
                    <a:pt x="66" y="18"/>
                  </a:cubicBezTo>
                  <a:cubicBezTo>
                    <a:pt x="33" y="27"/>
                    <a:pt x="8" y="53"/>
                    <a:pt x="0" y="86"/>
                  </a:cubicBezTo>
                  <a:cubicBezTo>
                    <a:pt x="0" y="87"/>
                    <a:pt x="0" y="88"/>
                    <a:pt x="1" y="89"/>
                  </a:cubicBezTo>
                  <a:cubicBezTo>
                    <a:pt x="1" y="90"/>
                    <a:pt x="2" y="90"/>
                    <a:pt x="4" y="90"/>
                  </a:cubicBezTo>
                  <a:cubicBezTo>
                    <a:pt x="31" y="89"/>
                    <a:pt x="31" y="89"/>
                    <a:pt x="31" y="89"/>
                  </a:cubicBezTo>
                  <a:cubicBezTo>
                    <a:pt x="32" y="89"/>
                    <a:pt x="33" y="88"/>
                    <a:pt x="34" y="87"/>
                  </a:cubicBezTo>
                  <a:cubicBezTo>
                    <a:pt x="40" y="68"/>
                    <a:pt x="56" y="54"/>
                    <a:pt x="75" y="49"/>
                  </a:cubicBezTo>
                  <a:cubicBezTo>
                    <a:pt x="89" y="45"/>
                    <a:pt x="104" y="47"/>
                    <a:pt x="117" y="54"/>
                  </a:cubicBezTo>
                  <a:cubicBezTo>
                    <a:pt x="118" y="54"/>
                    <a:pt x="119" y="55"/>
                    <a:pt x="119" y="56"/>
                  </a:cubicBezTo>
                  <a:cubicBezTo>
                    <a:pt x="119" y="57"/>
                    <a:pt x="119" y="58"/>
                    <a:pt x="119" y="59"/>
                  </a:cubicBezTo>
                  <a:cubicBezTo>
                    <a:pt x="106" y="81"/>
                    <a:pt x="106" y="81"/>
                    <a:pt x="106" y="81"/>
                  </a:cubicBezTo>
                  <a:cubicBezTo>
                    <a:pt x="105" y="82"/>
                    <a:pt x="105" y="83"/>
                    <a:pt x="106" y="84"/>
                  </a:cubicBezTo>
                  <a:cubicBezTo>
                    <a:pt x="107" y="86"/>
                    <a:pt x="108" y="86"/>
                    <a:pt x="109" y="86"/>
                  </a:cubicBezTo>
                  <a:cubicBezTo>
                    <a:pt x="195" y="83"/>
                    <a:pt x="195" y="83"/>
                    <a:pt x="195" y="83"/>
                  </a:cubicBezTo>
                  <a:cubicBezTo>
                    <a:pt x="196" y="83"/>
                    <a:pt x="197" y="82"/>
                    <a:pt x="198" y="81"/>
                  </a:cubicBezTo>
                  <a:cubicBezTo>
                    <a:pt x="198" y="80"/>
                    <a:pt x="198" y="79"/>
                    <a:pt x="198" y="78"/>
                  </a:cubicBezTo>
                  <a:cubicBezTo>
                    <a:pt x="157" y="2"/>
                    <a:pt x="157" y="2"/>
                    <a:pt x="157" y="2"/>
                  </a:cubicBezTo>
                  <a:cubicBezTo>
                    <a:pt x="157" y="0"/>
                    <a:pt x="156" y="0"/>
                    <a:pt x="155" y="0"/>
                  </a:cubicBezTo>
                  <a:cubicBezTo>
                    <a:pt x="153" y="0"/>
                    <a:pt x="152" y="0"/>
                    <a:pt x="152" y="2"/>
                  </a:cubicBezTo>
                  <a:cubicBezTo>
                    <a:pt x="138" y="25"/>
                    <a:pt x="138" y="25"/>
                    <a:pt x="138" y="25"/>
                  </a:cubicBezTo>
                  <a:cubicBezTo>
                    <a:pt x="137" y="26"/>
                    <a:pt x="135" y="27"/>
                    <a:pt x="134" y="26"/>
                  </a:cubicBezTo>
                  <a:close/>
                  <a:moveTo>
                    <a:pt x="182" y="68"/>
                  </a:moveTo>
                  <a:cubicBezTo>
                    <a:pt x="183" y="70"/>
                    <a:pt x="182" y="73"/>
                    <a:pt x="180" y="74"/>
                  </a:cubicBezTo>
                  <a:cubicBezTo>
                    <a:pt x="178" y="75"/>
                    <a:pt x="175" y="74"/>
                    <a:pt x="174" y="72"/>
                  </a:cubicBezTo>
                  <a:cubicBezTo>
                    <a:pt x="150" y="27"/>
                    <a:pt x="150" y="27"/>
                    <a:pt x="150" y="27"/>
                  </a:cubicBezTo>
                  <a:cubicBezTo>
                    <a:pt x="149" y="24"/>
                    <a:pt x="150" y="22"/>
                    <a:pt x="152" y="20"/>
                  </a:cubicBezTo>
                  <a:cubicBezTo>
                    <a:pt x="154" y="19"/>
                    <a:pt x="157" y="20"/>
                    <a:pt x="158" y="22"/>
                  </a:cubicBezTo>
                  <a:cubicBezTo>
                    <a:pt x="182" y="68"/>
                    <a:pt x="182" y="68"/>
                    <a:pt x="18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3"/>
            <p:cNvSpPr>
              <a:spLocks noEditPoints="1"/>
            </p:cNvSpPr>
            <p:nvPr/>
          </p:nvSpPr>
          <p:spPr bwMode="auto">
            <a:xfrm>
              <a:off x="2627" y="2200"/>
              <a:ext cx="470" cy="213"/>
            </a:xfrm>
            <a:custGeom>
              <a:avLst/>
              <a:gdLst>
                <a:gd name="T0" fmla="*/ 65 w 199"/>
                <a:gd name="T1" fmla="*/ 64 h 90"/>
                <a:gd name="T2" fmla="*/ 132 w 199"/>
                <a:gd name="T3" fmla="*/ 72 h 90"/>
                <a:gd name="T4" fmla="*/ 198 w 199"/>
                <a:gd name="T5" fmla="*/ 4 h 90"/>
                <a:gd name="T6" fmla="*/ 198 w 199"/>
                <a:gd name="T7" fmla="*/ 1 h 90"/>
                <a:gd name="T8" fmla="*/ 195 w 199"/>
                <a:gd name="T9" fmla="*/ 0 h 90"/>
                <a:gd name="T10" fmla="*/ 168 w 199"/>
                <a:gd name="T11" fmla="*/ 1 h 90"/>
                <a:gd name="T12" fmla="*/ 165 w 199"/>
                <a:gd name="T13" fmla="*/ 3 h 90"/>
                <a:gd name="T14" fmla="*/ 124 w 199"/>
                <a:gd name="T15" fmla="*/ 41 h 90"/>
                <a:gd name="T16" fmla="*/ 81 w 199"/>
                <a:gd name="T17" fmla="*/ 36 h 90"/>
                <a:gd name="T18" fmla="*/ 79 w 199"/>
                <a:gd name="T19" fmla="*/ 34 h 90"/>
                <a:gd name="T20" fmla="*/ 80 w 199"/>
                <a:gd name="T21" fmla="*/ 32 h 90"/>
                <a:gd name="T22" fmla="*/ 93 w 199"/>
                <a:gd name="T23" fmla="*/ 9 h 90"/>
                <a:gd name="T24" fmla="*/ 92 w 199"/>
                <a:gd name="T25" fmla="*/ 6 h 90"/>
                <a:gd name="T26" fmla="*/ 89 w 199"/>
                <a:gd name="T27" fmla="*/ 4 h 90"/>
                <a:gd name="T28" fmla="*/ 4 w 199"/>
                <a:gd name="T29" fmla="*/ 7 h 90"/>
                <a:gd name="T30" fmla="*/ 1 w 199"/>
                <a:gd name="T31" fmla="*/ 9 h 90"/>
                <a:gd name="T32" fmla="*/ 1 w 199"/>
                <a:gd name="T33" fmla="*/ 12 h 90"/>
                <a:gd name="T34" fmla="*/ 41 w 199"/>
                <a:gd name="T35" fmla="*/ 88 h 90"/>
                <a:gd name="T36" fmla="*/ 44 w 199"/>
                <a:gd name="T37" fmla="*/ 90 h 90"/>
                <a:gd name="T38" fmla="*/ 47 w 199"/>
                <a:gd name="T39" fmla="*/ 89 h 90"/>
                <a:gd name="T40" fmla="*/ 60 w 199"/>
                <a:gd name="T41" fmla="*/ 66 h 90"/>
                <a:gd name="T42" fmla="*/ 65 w 199"/>
                <a:gd name="T43" fmla="*/ 64 h 90"/>
                <a:gd name="T44" fmla="*/ 16 w 199"/>
                <a:gd name="T45" fmla="*/ 22 h 90"/>
                <a:gd name="T46" fmla="*/ 18 w 199"/>
                <a:gd name="T47" fmla="*/ 16 h 90"/>
                <a:gd name="T48" fmla="*/ 24 w 199"/>
                <a:gd name="T49" fmla="*/ 18 h 90"/>
                <a:gd name="T50" fmla="*/ 48 w 199"/>
                <a:gd name="T51" fmla="*/ 64 h 90"/>
                <a:gd name="T52" fmla="*/ 47 w 199"/>
                <a:gd name="T53" fmla="*/ 70 h 90"/>
                <a:gd name="T54" fmla="*/ 40 w 199"/>
                <a:gd name="T55" fmla="*/ 68 h 90"/>
                <a:gd name="T56" fmla="*/ 16 w 199"/>
                <a:gd name="T57"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9" h="90">
                  <a:moveTo>
                    <a:pt x="65" y="64"/>
                  </a:moveTo>
                  <a:cubicBezTo>
                    <a:pt x="85" y="75"/>
                    <a:pt x="110" y="78"/>
                    <a:pt x="132" y="72"/>
                  </a:cubicBezTo>
                  <a:cubicBezTo>
                    <a:pt x="165" y="63"/>
                    <a:pt x="191" y="37"/>
                    <a:pt x="198" y="4"/>
                  </a:cubicBezTo>
                  <a:cubicBezTo>
                    <a:pt x="199" y="3"/>
                    <a:pt x="198" y="2"/>
                    <a:pt x="198" y="1"/>
                  </a:cubicBezTo>
                  <a:cubicBezTo>
                    <a:pt x="197" y="0"/>
                    <a:pt x="196" y="0"/>
                    <a:pt x="195" y="0"/>
                  </a:cubicBezTo>
                  <a:cubicBezTo>
                    <a:pt x="168" y="1"/>
                    <a:pt x="168" y="1"/>
                    <a:pt x="168" y="1"/>
                  </a:cubicBezTo>
                  <a:cubicBezTo>
                    <a:pt x="166" y="1"/>
                    <a:pt x="165" y="2"/>
                    <a:pt x="165" y="3"/>
                  </a:cubicBezTo>
                  <a:cubicBezTo>
                    <a:pt x="158" y="22"/>
                    <a:pt x="143" y="36"/>
                    <a:pt x="124" y="41"/>
                  </a:cubicBezTo>
                  <a:cubicBezTo>
                    <a:pt x="110" y="45"/>
                    <a:pt x="94" y="43"/>
                    <a:pt x="81" y="36"/>
                  </a:cubicBezTo>
                  <a:cubicBezTo>
                    <a:pt x="80" y="36"/>
                    <a:pt x="80" y="35"/>
                    <a:pt x="79" y="34"/>
                  </a:cubicBezTo>
                  <a:cubicBezTo>
                    <a:pt x="79" y="33"/>
                    <a:pt x="79" y="32"/>
                    <a:pt x="80" y="32"/>
                  </a:cubicBezTo>
                  <a:cubicBezTo>
                    <a:pt x="93" y="9"/>
                    <a:pt x="93" y="9"/>
                    <a:pt x="93" y="9"/>
                  </a:cubicBezTo>
                  <a:cubicBezTo>
                    <a:pt x="93" y="8"/>
                    <a:pt x="93" y="7"/>
                    <a:pt x="92" y="6"/>
                  </a:cubicBezTo>
                  <a:cubicBezTo>
                    <a:pt x="92" y="5"/>
                    <a:pt x="91" y="4"/>
                    <a:pt x="89" y="4"/>
                  </a:cubicBezTo>
                  <a:cubicBezTo>
                    <a:pt x="4" y="7"/>
                    <a:pt x="4" y="7"/>
                    <a:pt x="4" y="7"/>
                  </a:cubicBezTo>
                  <a:cubicBezTo>
                    <a:pt x="2" y="7"/>
                    <a:pt x="1" y="8"/>
                    <a:pt x="1" y="9"/>
                  </a:cubicBezTo>
                  <a:cubicBezTo>
                    <a:pt x="0" y="10"/>
                    <a:pt x="0" y="11"/>
                    <a:pt x="1" y="12"/>
                  </a:cubicBezTo>
                  <a:cubicBezTo>
                    <a:pt x="41" y="88"/>
                    <a:pt x="41" y="88"/>
                    <a:pt x="41" y="88"/>
                  </a:cubicBezTo>
                  <a:cubicBezTo>
                    <a:pt x="42" y="90"/>
                    <a:pt x="43" y="90"/>
                    <a:pt x="44" y="90"/>
                  </a:cubicBezTo>
                  <a:cubicBezTo>
                    <a:pt x="45" y="90"/>
                    <a:pt x="46" y="90"/>
                    <a:pt x="47" y="89"/>
                  </a:cubicBezTo>
                  <a:cubicBezTo>
                    <a:pt x="60" y="66"/>
                    <a:pt x="60" y="66"/>
                    <a:pt x="60" y="66"/>
                  </a:cubicBezTo>
                  <a:cubicBezTo>
                    <a:pt x="61" y="64"/>
                    <a:pt x="63" y="63"/>
                    <a:pt x="65" y="64"/>
                  </a:cubicBezTo>
                  <a:close/>
                  <a:moveTo>
                    <a:pt x="16" y="22"/>
                  </a:moveTo>
                  <a:cubicBezTo>
                    <a:pt x="15" y="20"/>
                    <a:pt x="16" y="17"/>
                    <a:pt x="18" y="16"/>
                  </a:cubicBezTo>
                  <a:cubicBezTo>
                    <a:pt x="20" y="15"/>
                    <a:pt x="23" y="16"/>
                    <a:pt x="24" y="18"/>
                  </a:cubicBezTo>
                  <a:cubicBezTo>
                    <a:pt x="48" y="64"/>
                    <a:pt x="48" y="64"/>
                    <a:pt x="48" y="64"/>
                  </a:cubicBezTo>
                  <a:cubicBezTo>
                    <a:pt x="50" y="66"/>
                    <a:pt x="49" y="69"/>
                    <a:pt x="47" y="70"/>
                  </a:cubicBezTo>
                  <a:cubicBezTo>
                    <a:pt x="44" y="71"/>
                    <a:pt x="42" y="70"/>
                    <a:pt x="40" y="68"/>
                  </a:cubicBezTo>
                  <a:cubicBezTo>
                    <a:pt x="16" y="22"/>
                    <a:pt x="16" y="22"/>
                    <a:pt x="1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17"/>
          <p:cNvGrpSpPr>
            <a:grpSpLocks noChangeAspect="1"/>
          </p:cNvGrpSpPr>
          <p:nvPr/>
        </p:nvGrpSpPr>
        <p:grpSpPr bwMode="auto">
          <a:xfrm>
            <a:off x="3379431" y="4253171"/>
            <a:ext cx="441124" cy="441343"/>
            <a:chOff x="1879" y="1159"/>
            <a:chExt cx="2011" cy="2012"/>
          </a:xfrm>
          <a:solidFill>
            <a:schemeClr val="accent1"/>
          </a:solidFill>
        </p:grpSpPr>
        <p:sp>
          <p:nvSpPr>
            <p:cNvPr id="55" name="Freeform 18"/>
            <p:cNvSpPr>
              <a:spLocks noEditPoints="1"/>
            </p:cNvSpPr>
            <p:nvPr/>
          </p:nvSpPr>
          <p:spPr bwMode="auto">
            <a:xfrm>
              <a:off x="2092" y="1371"/>
              <a:ext cx="1583" cy="1582"/>
            </a:xfrm>
            <a:custGeom>
              <a:avLst/>
              <a:gdLst>
                <a:gd name="T0" fmla="*/ 335 w 670"/>
                <a:gd name="T1" fmla="*/ 0 h 670"/>
                <a:gd name="T2" fmla="*/ 307 w 670"/>
                <a:gd name="T3" fmla="*/ 11 h 670"/>
                <a:gd name="T4" fmla="*/ 12 w 670"/>
                <a:gd name="T5" fmla="*/ 307 h 670"/>
                <a:gd name="T6" fmla="*/ 0 w 670"/>
                <a:gd name="T7" fmla="*/ 335 h 670"/>
                <a:gd name="T8" fmla="*/ 12 w 670"/>
                <a:gd name="T9" fmla="*/ 363 h 670"/>
                <a:gd name="T10" fmla="*/ 307 w 670"/>
                <a:gd name="T11" fmla="*/ 658 h 670"/>
                <a:gd name="T12" fmla="*/ 335 w 670"/>
                <a:gd name="T13" fmla="*/ 670 h 670"/>
                <a:gd name="T14" fmla="*/ 363 w 670"/>
                <a:gd name="T15" fmla="*/ 658 h 670"/>
                <a:gd name="T16" fmla="*/ 658 w 670"/>
                <a:gd name="T17" fmla="*/ 363 h 670"/>
                <a:gd name="T18" fmla="*/ 670 w 670"/>
                <a:gd name="T19" fmla="*/ 335 h 670"/>
                <a:gd name="T20" fmla="*/ 658 w 670"/>
                <a:gd name="T21" fmla="*/ 307 h 670"/>
                <a:gd name="T22" fmla="*/ 363 w 670"/>
                <a:gd name="T23" fmla="*/ 11 h 670"/>
                <a:gd name="T24" fmla="*/ 335 w 670"/>
                <a:gd name="T25" fmla="*/ 0 h 670"/>
                <a:gd name="T26" fmla="*/ 471 w 670"/>
                <a:gd name="T27" fmla="*/ 262 h 670"/>
                <a:gd name="T28" fmla="*/ 587 w 670"/>
                <a:gd name="T29" fmla="*/ 335 h 670"/>
                <a:gd name="T30" fmla="*/ 587 w 670"/>
                <a:gd name="T31" fmla="*/ 335 h 670"/>
                <a:gd name="T32" fmla="*/ 471 w 670"/>
                <a:gd name="T33" fmla="*/ 408 h 670"/>
                <a:gd name="T34" fmla="*/ 471 w 670"/>
                <a:gd name="T35" fmla="*/ 365 h 670"/>
                <a:gd name="T36" fmla="*/ 336 w 670"/>
                <a:gd name="T37" fmla="*/ 365 h 670"/>
                <a:gd name="T38" fmla="*/ 144 w 670"/>
                <a:gd name="T39" fmla="*/ 365 h 670"/>
                <a:gd name="T40" fmla="*/ 144 w 670"/>
                <a:gd name="T41" fmla="*/ 305 h 670"/>
                <a:gd name="T42" fmla="*/ 336 w 670"/>
                <a:gd name="T43" fmla="*/ 305 h 670"/>
                <a:gd name="T44" fmla="*/ 471 w 670"/>
                <a:gd name="T45" fmla="*/ 305 h 670"/>
                <a:gd name="T46" fmla="*/ 471 w 670"/>
                <a:gd name="T47" fmla="*/ 26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0" h="670">
                  <a:moveTo>
                    <a:pt x="335" y="0"/>
                  </a:moveTo>
                  <a:cubicBezTo>
                    <a:pt x="325" y="0"/>
                    <a:pt x="315" y="3"/>
                    <a:pt x="307" y="11"/>
                  </a:cubicBezTo>
                  <a:cubicBezTo>
                    <a:pt x="12" y="307"/>
                    <a:pt x="12" y="307"/>
                    <a:pt x="12" y="307"/>
                  </a:cubicBezTo>
                  <a:cubicBezTo>
                    <a:pt x="4" y="314"/>
                    <a:pt x="0" y="324"/>
                    <a:pt x="0" y="335"/>
                  </a:cubicBezTo>
                  <a:cubicBezTo>
                    <a:pt x="0" y="345"/>
                    <a:pt x="4" y="355"/>
                    <a:pt x="12" y="363"/>
                  </a:cubicBezTo>
                  <a:cubicBezTo>
                    <a:pt x="307" y="658"/>
                    <a:pt x="307" y="658"/>
                    <a:pt x="307" y="658"/>
                  </a:cubicBezTo>
                  <a:cubicBezTo>
                    <a:pt x="315" y="666"/>
                    <a:pt x="325" y="670"/>
                    <a:pt x="335" y="670"/>
                  </a:cubicBezTo>
                  <a:cubicBezTo>
                    <a:pt x="345" y="670"/>
                    <a:pt x="355" y="666"/>
                    <a:pt x="363" y="658"/>
                  </a:cubicBezTo>
                  <a:cubicBezTo>
                    <a:pt x="658" y="363"/>
                    <a:pt x="658" y="363"/>
                    <a:pt x="658" y="363"/>
                  </a:cubicBezTo>
                  <a:cubicBezTo>
                    <a:pt x="666" y="355"/>
                    <a:pt x="670" y="345"/>
                    <a:pt x="670" y="335"/>
                  </a:cubicBezTo>
                  <a:cubicBezTo>
                    <a:pt x="670" y="324"/>
                    <a:pt x="666" y="314"/>
                    <a:pt x="658" y="307"/>
                  </a:cubicBezTo>
                  <a:cubicBezTo>
                    <a:pt x="363" y="11"/>
                    <a:pt x="363" y="11"/>
                    <a:pt x="363" y="11"/>
                  </a:cubicBezTo>
                  <a:cubicBezTo>
                    <a:pt x="355" y="3"/>
                    <a:pt x="345" y="0"/>
                    <a:pt x="335" y="0"/>
                  </a:cubicBezTo>
                  <a:close/>
                  <a:moveTo>
                    <a:pt x="471" y="262"/>
                  </a:moveTo>
                  <a:cubicBezTo>
                    <a:pt x="587" y="335"/>
                    <a:pt x="587" y="335"/>
                    <a:pt x="587" y="335"/>
                  </a:cubicBezTo>
                  <a:cubicBezTo>
                    <a:pt x="587" y="335"/>
                    <a:pt x="587" y="335"/>
                    <a:pt x="587" y="335"/>
                  </a:cubicBezTo>
                  <a:cubicBezTo>
                    <a:pt x="471" y="408"/>
                    <a:pt x="471" y="408"/>
                    <a:pt x="471" y="408"/>
                  </a:cubicBezTo>
                  <a:cubicBezTo>
                    <a:pt x="471" y="365"/>
                    <a:pt x="471" y="365"/>
                    <a:pt x="471" y="365"/>
                  </a:cubicBezTo>
                  <a:cubicBezTo>
                    <a:pt x="336" y="365"/>
                    <a:pt x="336" y="365"/>
                    <a:pt x="336" y="365"/>
                  </a:cubicBezTo>
                  <a:cubicBezTo>
                    <a:pt x="144" y="365"/>
                    <a:pt x="144" y="365"/>
                    <a:pt x="144" y="365"/>
                  </a:cubicBezTo>
                  <a:cubicBezTo>
                    <a:pt x="144" y="305"/>
                    <a:pt x="144" y="305"/>
                    <a:pt x="144" y="305"/>
                  </a:cubicBezTo>
                  <a:cubicBezTo>
                    <a:pt x="336" y="305"/>
                    <a:pt x="336" y="305"/>
                    <a:pt x="336" y="305"/>
                  </a:cubicBezTo>
                  <a:cubicBezTo>
                    <a:pt x="471" y="305"/>
                    <a:pt x="471" y="305"/>
                    <a:pt x="471" y="305"/>
                  </a:cubicBezTo>
                  <a:lnTo>
                    <a:pt x="471"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9"/>
            <p:cNvSpPr>
              <a:spLocks/>
            </p:cNvSpPr>
            <p:nvPr/>
          </p:nvSpPr>
          <p:spPr bwMode="auto">
            <a:xfrm>
              <a:off x="3646" y="2072"/>
              <a:ext cx="24" cy="24"/>
            </a:xfrm>
            <a:custGeom>
              <a:avLst/>
              <a:gdLst>
                <a:gd name="T0" fmla="*/ 12 w 24"/>
                <a:gd name="T1" fmla="*/ 12 h 24"/>
                <a:gd name="T2" fmla="*/ 24 w 24"/>
                <a:gd name="T3" fmla="*/ 0 h 24"/>
                <a:gd name="T4" fmla="*/ 0 w 24"/>
                <a:gd name="T5" fmla="*/ 24 h 24"/>
                <a:gd name="T6" fmla="*/ 12 w 24"/>
                <a:gd name="T7" fmla="*/ 12 h 24"/>
              </a:gdLst>
              <a:ahLst/>
              <a:cxnLst>
                <a:cxn ang="0">
                  <a:pos x="T0" y="T1"/>
                </a:cxn>
                <a:cxn ang="0">
                  <a:pos x="T2" y="T3"/>
                </a:cxn>
                <a:cxn ang="0">
                  <a:pos x="T4" y="T5"/>
                </a:cxn>
                <a:cxn ang="0">
                  <a:pos x="T6" y="T7"/>
                </a:cxn>
              </a:cxnLst>
              <a:rect l="0" t="0" r="r" b="b"/>
              <a:pathLst>
                <a:path w="24" h="24">
                  <a:moveTo>
                    <a:pt x="12" y="12"/>
                  </a:moveTo>
                  <a:lnTo>
                    <a:pt x="24" y="0"/>
                  </a:lnTo>
                  <a:lnTo>
                    <a:pt x="0" y="24"/>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0"/>
            <p:cNvSpPr>
              <a:spLocks noEditPoints="1"/>
            </p:cNvSpPr>
            <p:nvPr/>
          </p:nvSpPr>
          <p:spPr bwMode="auto">
            <a:xfrm>
              <a:off x="1879" y="1159"/>
              <a:ext cx="2011" cy="2012"/>
            </a:xfrm>
            <a:custGeom>
              <a:avLst/>
              <a:gdLst>
                <a:gd name="T0" fmla="*/ 793 w 809"/>
                <a:gd name="T1" fmla="*/ 366 h 809"/>
                <a:gd name="T2" fmla="*/ 444 w 809"/>
                <a:gd name="T3" fmla="*/ 16 h 809"/>
                <a:gd name="T4" fmla="*/ 405 w 809"/>
                <a:gd name="T5" fmla="*/ 0 h 809"/>
                <a:gd name="T6" fmla="*/ 366 w 809"/>
                <a:gd name="T7" fmla="*/ 16 h 809"/>
                <a:gd name="T8" fmla="*/ 16 w 809"/>
                <a:gd name="T9" fmla="*/ 366 h 809"/>
                <a:gd name="T10" fmla="*/ 0 w 809"/>
                <a:gd name="T11" fmla="*/ 405 h 809"/>
                <a:gd name="T12" fmla="*/ 16 w 809"/>
                <a:gd name="T13" fmla="*/ 443 h 809"/>
                <a:gd name="T14" fmla="*/ 366 w 809"/>
                <a:gd name="T15" fmla="*/ 793 h 809"/>
                <a:gd name="T16" fmla="*/ 405 w 809"/>
                <a:gd name="T17" fmla="*/ 809 h 809"/>
                <a:gd name="T18" fmla="*/ 444 w 809"/>
                <a:gd name="T19" fmla="*/ 793 h 809"/>
                <a:gd name="T20" fmla="*/ 793 w 809"/>
                <a:gd name="T21" fmla="*/ 443 h 809"/>
                <a:gd name="T22" fmla="*/ 809 w 809"/>
                <a:gd name="T23" fmla="*/ 405 h 809"/>
                <a:gd name="T24" fmla="*/ 793 w 809"/>
                <a:gd name="T25" fmla="*/ 366 h 809"/>
                <a:gd name="T26" fmla="*/ 739 w 809"/>
                <a:gd name="T27" fmla="*/ 442 h 809"/>
                <a:gd name="T28" fmla="*/ 444 w 809"/>
                <a:gd name="T29" fmla="*/ 738 h 809"/>
                <a:gd name="T30" fmla="*/ 406 w 809"/>
                <a:gd name="T31" fmla="*/ 753 h 809"/>
                <a:gd name="T32" fmla="*/ 406 w 809"/>
                <a:gd name="T33" fmla="*/ 753 h 809"/>
                <a:gd name="T34" fmla="*/ 368 w 809"/>
                <a:gd name="T35" fmla="*/ 738 h 809"/>
                <a:gd name="T36" fmla="*/ 73 w 809"/>
                <a:gd name="T37" fmla="*/ 442 h 809"/>
                <a:gd name="T38" fmla="*/ 57 w 809"/>
                <a:gd name="T39" fmla="*/ 405 h 809"/>
                <a:gd name="T40" fmla="*/ 73 w 809"/>
                <a:gd name="T41" fmla="*/ 367 h 809"/>
                <a:gd name="T42" fmla="*/ 368 w 809"/>
                <a:gd name="T43" fmla="*/ 71 h 809"/>
                <a:gd name="T44" fmla="*/ 406 w 809"/>
                <a:gd name="T45" fmla="*/ 56 h 809"/>
                <a:gd name="T46" fmla="*/ 444 w 809"/>
                <a:gd name="T47" fmla="*/ 71 h 809"/>
                <a:gd name="T48" fmla="*/ 739 w 809"/>
                <a:gd name="T49" fmla="*/ 367 h 809"/>
                <a:gd name="T50" fmla="*/ 755 w 809"/>
                <a:gd name="T51" fmla="*/ 405 h 809"/>
                <a:gd name="T52" fmla="*/ 739 w 809"/>
                <a:gd name="T53" fmla="*/ 44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9" h="809">
                  <a:moveTo>
                    <a:pt x="793" y="366"/>
                  </a:moveTo>
                  <a:cubicBezTo>
                    <a:pt x="444" y="16"/>
                    <a:pt x="444" y="16"/>
                    <a:pt x="444" y="16"/>
                  </a:cubicBezTo>
                  <a:cubicBezTo>
                    <a:pt x="433" y="6"/>
                    <a:pt x="419" y="0"/>
                    <a:pt x="405" y="0"/>
                  </a:cubicBezTo>
                  <a:cubicBezTo>
                    <a:pt x="390" y="0"/>
                    <a:pt x="376" y="6"/>
                    <a:pt x="366" y="16"/>
                  </a:cubicBezTo>
                  <a:cubicBezTo>
                    <a:pt x="16" y="366"/>
                    <a:pt x="16" y="366"/>
                    <a:pt x="16" y="366"/>
                  </a:cubicBezTo>
                  <a:cubicBezTo>
                    <a:pt x="6" y="376"/>
                    <a:pt x="0" y="390"/>
                    <a:pt x="0" y="405"/>
                  </a:cubicBezTo>
                  <a:cubicBezTo>
                    <a:pt x="0" y="419"/>
                    <a:pt x="6" y="433"/>
                    <a:pt x="16" y="443"/>
                  </a:cubicBezTo>
                  <a:cubicBezTo>
                    <a:pt x="366" y="793"/>
                    <a:pt x="366" y="793"/>
                    <a:pt x="366" y="793"/>
                  </a:cubicBezTo>
                  <a:cubicBezTo>
                    <a:pt x="376" y="804"/>
                    <a:pt x="390" y="809"/>
                    <a:pt x="405" y="809"/>
                  </a:cubicBezTo>
                  <a:cubicBezTo>
                    <a:pt x="419" y="809"/>
                    <a:pt x="433" y="804"/>
                    <a:pt x="444" y="793"/>
                  </a:cubicBezTo>
                  <a:cubicBezTo>
                    <a:pt x="793" y="443"/>
                    <a:pt x="793" y="443"/>
                    <a:pt x="793" y="443"/>
                  </a:cubicBezTo>
                  <a:cubicBezTo>
                    <a:pt x="804" y="433"/>
                    <a:pt x="809" y="419"/>
                    <a:pt x="809" y="405"/>
                  </a:cubicBezTo>
                  <a:cubicBezTo>
                    <a:pt x="809" y="390"/>
                    <a:pt x="804" y="376"/>
                    <a:pt x="793" y="366"/>
                  </a:cubicBezTo>
                  <a:close/>
                  <a:moveTo>
                    <a:pt x="739" y="442"/>
                  </a:moveTo>
                  <a:cubicBezTo>
                    <a:pt x="444" y="738"/>
                    <a:pt x="444" y="738"/>
                    <a:pt x="444" y="738"/>
                  </a:cubicBezTo>
                  <a:cubicBezTo>
                    <a:pt x="433" y="748"/>
                    <a:pt x="420" y="753"/>
                    <a:pt x="406" y="753"/>
                  </a:cubicBezTo>
                  <a:cubicBezTo>
                    <a:pt x="406" y="753"/>
                    <a:pt x="406" y="753"/>
                    <a:pt x="406" y="753"/>
                  </a:cubicBezTo>
                  <a:cubicBezTo>
                    <a:pt x="392" y="753"/>
                    <a:pt x="379" y="748"/>
                    <a:pt x="368" y="738"/>
                  </a:cubicBezTo>
                  <a:cubicBezTo>
                    <a:pt x="73" y="442"/>
                    <a:pt x="73" y="442"/>
                    <a:pt x="73" y="442"/>
                  </a:cubicBezTo>
                  <a:cubicBezTo>
                    <a:pt x="62" y="432"/>
                    <a:pt x="57" y="418"/>
                    <a:pt x="57" y="405"/>
                  </a:cubicBezTo>
                  <a:cubicBezTo>
                    <a:pt x="57" y="391"/>
                    <a:pt x="62" y="377"/>
                    <a:pt x="73" y="367"/>
                  </a:cubicBezTo>
                  <a:cubicBezTo>
                    <a:pt x="368" y="71"/>
                    <a:pt x="368" y="71"/>
                    <a:pt x="368" y="71"/>
                  </a:cubicBezTo>
                  <a:cubicBezTo>
                    <a:pt x="379" y="61"/>
                    <a:pt x="392" y="56"/>
                    <a:pt x="406" y="56"/>
                  </a:cubicBezTo>
                  <a:cubicBezTo>
                    <a:pt x="420" y="56"/>
                    <a:pt x="433" y="61"/>
                    <a:pt x="444" y="71"/>
                  </a:cubicBezTo>
                  <a:cubicBezTo>
                    <a:pt x="739" y="367"/>
                    <a:pt x="739" y="367"/>
                    <a:pt x="739" y="367"/>
                  </a:cubicBezTo>
                  <a:cubicBezTo>
                    <a:pt x="750" y="377"/>
                    <a:pt x="755" y="391"/>
                    <a:pt x="755" y="405"/>
                  </a:cubicBezTo>
                  <a:cubicBezTo>
                    <a:pt x="755" y="418"/>
                    <a:pt x="750" y="432"/>
                    <a:pt x="739" y="4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55" name="Freeform 41"/>
          <p:cNvSpPr>
            <a:spLocks/>
          </p:cNvSpPr>
          <p:nvPr/>
        </p:nvSpPr>
        <p:spPr bwMode="auto">
          <a:xfrm>
            <a:off x="3387359" y="3515158"/>
            <a:ext cx="420760" cy="420760"/>
          </a:xfrm>
          <a:custGeom>
            <a:avLst/>
            <a:gdLst>
              <a:gd name="T0" fmla="*/ 237 w 262"/>
              <a:gd name="T1" fmla="*/ 123 h 262"/>
              <a:gd name="T2" fmla="*/ 153 w 262"/>
              <a:gd name="T3" fmla="*/ 57 h 262"/>
              <a:gd name="T4" fmla="*/ 194 w 262"/>
              <a:gd name="T5" fmla="*/ 123 h 262"/>
              <a:gd name="T6" fmla="*/ 153 w 262"/>
              <a:gd name="T7" fmla="*/ 106 h 262"/>
              <a:gd name="T8" fmla="*/ 150 w 262"/>
              <a:gd name="T9" fmla="*/ 123 h 262"/>
              <a:gd name="T10" fmla="*/ 138 w 262"/>
              <a:gd name="T11" fmla="*/ 98 h 262"/>
              <a:gd name="T12" fmla="*/ 138 w 262"/>
              <a:gd name="T13" fmla="*/ 54 h 262"/>
              <a:gd name="T14" fmla="*/ 138 w 262"/>
              <a:gd name="T15" fmla="*/ 8 h 262"/>
              <a:gd name="T16" fmla="*/ 123 w 262"/>
              <a:gd name="T17" fmla="*/ 8 h 262"/>
              <a:gd name="T18" fmla="*/ 26 w 262"/>
              <a:gd name="T19" fmla="*/ 108 h 262"/>
              <a:gd name="T20" fmla="*/ 123 w 262"/>
              <a:gd name="T21" fmla="*/ 55 h 262"/>
              <a:gd name="T22" fmla="*/ 71 w 262"/>
              <a:gd name="T23" fmla="*/ 108 h 262"/>
              <a:gd name="T24" fmla="*/ 123 w 262"/>
              <a:gd name="T25" fmla="*/ 98 h 262"/>
              <a:gd name="T26" fmla="*/ 112 w 262"/>
              <a:gd name="T27" fmla="*/ 123 h 262"/>
              <a:gd name="T28" fmla="*/ 68 w 262"/>
              <a:gd name="T29" fmla="*/ 123 h 262"/>
              <a:gd name="T30" fmla="*/ 24 w 262"/>
              <a:gd name="T31" fmla="*/ 123 h 262"/>
              <a:gd name="T32" fmla="*/ 0 w 262"/>
              <a:gd name="T33" fmla="*/ 131 h 262"/>
              <a:gd name="T34" fmla="*/ 24 w 262"/>
              <a:gd name="T35" fmla="*/ 138 h 262"/>
              <a:gd name="T36" fmla="*/ 108 w 262"/>
              <a:gd name="T37" fmla="*/ 204 h 262"/>
              <a:gd name="T38" fmla="*/ 68 w 262"/>
              <a:gd name="T39" fmla="*/ 138 h 262"/>
              <a:gd name="T40" fmla="*/ 108 w 262"/>
              <a:gd name="T41" fmla="*/ 156 h 262"/>
              <a:gd name="T42" fmla="*/ 112 w 262"/>
              <a:gd name="T43" fmla="*/ 138 h 262"/>
              <a:gd name="T44" fmla="*/ 123 w 262"/>
              <a:gd name="T45" fmla="*/ 164 h 262"/>
              <a:gd name="T46" fmla="*/ 123 w 262"/>
              <a:gd name="T47" fmla="*/ 207 h 262"/>
              <a:gd name="T48" fmla="*/ 123 w 262"/>
              <a:gd name="T49" fmla="*/ 254 h 262"/>
              <a:gd name="T50" fmla="*/ 138 w 262"/>
              <a:gd name="T51" fmla="*/ 254 h 262"/>
              <a:gd name="T52" fmla="*/ 235 w 262"/>
              <a:gd name="T53" fmla="*/ 153 h 262"/>
              <a:gd name="T54" fmla="*/ 138 w 262"/>
              <a:gd name="T55" fmla="*/ 207 h 262"/>
              <a:gd name="T56" fmla="*/ 190 w 262"/>
              <a:gd name="T57" fmla="*/ 153 h 262"/>
              <a:gd name="T58" fmla="*/ 138 w 262"/>
              <a:gd name="T59" fmla="*/ 164 h 262"/>
              <a:gd name="T60" fmla="*/ 150 w 262"/>
              <a:gd name="T61" fmla="*/ 138 h 262"/>
              <a:gd name="T62" fmla="*/ 194 w 262"/>
              <a:gd name="T63" fmla="*/ 138 h 262"/>
              <a:gd name="T64" fmla="*/ 237 w 262"/>
              <a:gd name="T65" fmla="*/ 138 h 262"/>
              <a:gd name="T66" fmla="*/ 262 w 262"/>
              <a:gd name="T67"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262">
                <a:moveTo>
                  <a:pt x="254" y="123"/>
                </a:moveTo>
                <a:cubicBezTo>
                  <a:pt x="237" y="123"/>
                  <a:pt x="237" y="123"/>
                  <a:pt x="237" y="123"/>
                </a:cubicBezTo>
                <a:cubicBezTo>
                  <a:pt x="234" y="76"/>
                  <a:pt x="199" y="36"/>
                  <a:pt x="153" y="27"/>
                </a:cubicBezTo>
                <a:cubicBezTo>
                  <a:pt x="153" y="57"/>
                  <a:pt x="153" y="57"/>
                  <a:pt x="153" y="57"/>
                </a:cubicBezTo>
                <a:cubicBezTo>
                  <a:pt x="182" y="66"/>
                  <a:pt x="204" y="92"/>
                  <a:pt x="207" y="123"/>
                </a:cubicBezTo>
                <a:cubicBezTo>
                  <a:pt x="194" y="123"/>
                  <a:pt x="194" y="123"/>
                  <a:pt x="194" y="123"/>
                </a:cubicBezTo>
                <a:cubicBezTo>
                  <a:pt x="191" y="100"/>
                  <a:pt x="175" y="80"/>
                  <a:pt x="153" y="72"/>
                </a:cubicBezTo>
                <a:cubicBezTo>
                  <a:pt x="153" y="106"/>
                  <a:pt x="153" y="106"/>
                  <a:pt x="153" y="106"/>
                </a:cubicBezTo>
                <a:cubicBezTo>
                  <a:pt x="158" y="110"/>
                  <a:pt x="162" y="116"/>
                  <a:pt x="163" y="123"/>
                </a:cubicBezTo>
                <a:cubicBezTo>
                  <a:pt x="150" y="123"/>
                  <a:pt x="150" y="123"/>
                  <a:pt x="150" y="123"/>
                </a:cubicBezTo>
                <a:cubicBezTo>
                  <a:pt x="147" y="118"/>
                  <a:pt x="143" y="114"/>
                  <a:pt x="138" y="112"/>
                </a:cubicBezTo>
                <a:cubicBezTo>
                  <a:pt x="138" y="98"/>
                  <a:pt x="138" y="98"/>
                  <a:pt x="138" y="98"/>
                </a:cubicBezTo>
                <a:cubicBezTo>
                  <a:pt x="138" y="68"/>
                  <a:pt x="138" y="68"/>
                  <a:pt x="138" y="68"/>
                </a:cubicBezTo>
                <a:cubicBezTo>
                  <a:pt x="138" y="54"/>
                  <a:pt x="138" y="54"/>
                  <a:pt x="138" y="54"/>
                </a:cubicBezTo>
                <a:cubicBezTo>
                  <a:pt x="138" y="25"/>
                  <a:pt x="138" y="25"/>
                  <a:pt x="138" y="25"/>
                </a:cubicBezTo>
                <a:cubicBezTo>
                  <a:pt x="138" y="8"/>
                  <a:pt x="138" y="8"/>
                  <a:pt x="138" y="8"/>
                </a:cubicBezTo>
                <a:cubicBezTo>
                  <a:pt x="138" y="3"/>
                  <a:pt x="135" y="0"/>
                  <a:pt x="131" y="0"/>
                </a:cubicBezTo>
                <a:cubicBezTo>
                  <a:pt x="127" y="0"/>
                  <a:pt x="123" y="3"/>
                  <a:pt x="123" y="8"/>
                </a:cubicBezTo>
                <a:cubicBezTo>
                  <a:pt x="123" y="25"/>
                  <a:pt x="123" y="25"/>
                  <a:pt x="123" y="25"/>
                </a:cubicBezTo>
                <a:cubicBezTo>
                  <a:pt x="75" y="28"/>
                  <a:pt x="36" y="63"/>
                  <a:pt x="26" y="108"/>
                </a:cubicBezTo>
                <a:cubicBezTo>
                  <a:pt x="57" y="108"/>
                  <a:pt x="57" y="108"/>
                  <a:pt x="57" y="108"/>
                </a:cubicBezTo>
                <a:cubicBezTo>
                  <a:pt x="66" y="79"/>
                  <a:pt x="92" y="58"/>
                  <a:pt x="123" y="55"/>
                </a:cubicBezTo>
                <a:cubicBezTo>
                  <a:pt x="123" y="68"/>
                  <a:pt x="123" y="68"/>
                  <a:pt x="123" y="68"/>
                </a:cubicBezTo>
                <a:cubicBezTo>
                  <a:pt x="99" y="71"/>
                  <a:pt x="80" y="87"/>
                  <a:pt x="71" y="108"/>
                </a:cubicBezTo>
                <a:cubicBezTo>
                  <a:pt x="106" y="108"/>
                  <a:pt x="106" y="108"/>
                  <a:pt x="106" y="108"/>
                </a:cubicBezTo>
                <a:cubicBezTo>
                  <a:pt x="110" y="103"/>
                  <a:pt x="116" y="100"/>
                  <a:pt x="123" y="98"/>
                </a:cubicBezTo>
                <a:cubicBezTo>
                  <a:pt x="123" y="112"/>
                  <a:pt x="123" y="112"/>
                  <a:pt x="123" y="112"/>
                </a:cubicBezTo>
                <a:cubicBezTo>
                  <a:pt x="118" y="114"/>
                  <a:pt x="114" y="118"/>
                  <a:pt x="112" y="123"/>
                </a:cubicBezTo>
                <a:cubicBezTo>
                  <a:pt x="98" y="123"/>
                  <a:pt x="98" y="123"/>
                  <a:pt x="98" y="123"/>
                </a:cubicBezTo>
                <a:cubicBezTo>
                  <a:pt x="68" y="123"/>
                  <a:pt x="68" y="123"/>
                  <a:pt x="68" y="123"/>
                </a:cubicBezTo>
                <a:cubicBezTo>
                  <a:pt x="54" y="123"/>
                  <a:pt x="54" y="123"/>
                  <a:pt x="54" y="123"/>
                </a:cubicBezTo>
                <a:cubicBezTo>
                  <a:pt x="24" y="123"/>
                  <a:pt x="24" y="123"/>
                  <a:pt x="24" y="123"/>
                </a:cubicBezTo>
                <a:cubicBezTo>
                  <a:pt x="7" y="123"/>
                  <a:pt x="7" y="123"/>
                  <a:pt x="7" y="123"/>
                </a:cubicBezTo>
                <a:cubicBezTo>
                  <a:pt x="3" y="123"/>
                  <a:pt x="0" y="127"/>
                  <a:pt x="0" y="131"/>
                </a:cubicBezTo>
                <a:cubicBezTo>
                  <a:pt x="0" y="135"/>
                  <a:pt x="3" y="138"/>
                  <a:pt x="7" y="138"/>
                </a:cubicBezTo>
                <a:cubicBezTo>
                  <a:pt x="24" y="138"/>
                  <a:pt x="24" y="138"/>
                  <a:pt x="24" y="138"/>
                </a:cubicBezTo>
                <a:cubicBezTo>
                  <a:pt x="28" y="186"/>
                  <a:pt x="62" y="225"/>
                  <a:pt x="108" y="235"/>
                </a:cubicBezTo>
                <a:cubicBezTo>
                  <a:pt x="108" y="204"/>
                  <a:pt x="108" y="204"/>
                  <a:pt x="108" y="204"/>
                </a:cubicBezTo>
                <a:cubicBezTo>
                  <a:pt x="79" y="195"/>
                  <a:pt x="57" y="169"/>
                  <a:pt x="54" y="138"/>
                </a:cubicBezTo>
                <a:cubicBezTo>
                  <a:pt x="68" y="138"/>
                  <a:pt x="68" y="138"/>
                  <a:pt x="68" y="138"/>
                </a:cubicBezTo>
                <a:cubicBezTo>
                  <a:pt x="70" y="162"/>
                  <a:pt x="86" y="182"/>
                  <a:pt x="108" y="190"/>
                </a:cubicBezTo>
                <a:cubicBezTo>
                  <a:pt x="108" y="156"/>
                  <a:pt x="108" y="156"/>
                  <a:pt x="108" y="156"/>
                </a:cubicBezTo>
                <a:cubicBezTo>
                  <a:pt x="103" y="151"/>
                  <a:pt x="99" y="145"/>
                  <a:pt x="98" y="138"/>
                </a:cubicBezTo>
                <a:cubicBezTo>
                  <a:pt x="112" y="138"/>
                  <a:pt x="112" y="138"/>
                  <a:pt x="112" y="138"/>
                </a:cubicBezTo>
                <a:cubicBezTo>
                  <a:pt x="114" y="144"/>
                  <a:pt x="118" y="148"/>
                  <a:pt x="123" y="150"/>
                </a:cubicBezTo>
                <a:cubicBezTo>
                  <a:pt x="123" y="164"/>
                  <a:pt x="123" y="164"/>
                  <a:pt x="123" y="164"/>
                </a:cubicBezTo>
                <a:cubicBezTo>
                  <a:pt x="123" y="194"/>
                  <a:pt x="123" y="194"/>
                  <a:pt x="123" y="194"/>
                </a:cubicBezTo>
                <a:cubicBezTo>
                  <a:pt x="123" y="207"/>
                  <a:pt x="123" y="207"/>
                  <a:pt x="123" y="207"/>
                </a:cubicBezTo>
                <a:cubicBezTo>
                  <a:pt x="123" y="237"/>
                  <a:pt x="123" y="237"/>
                  <a:pt x="123" y="237"/>
                </a:cubicBezTo>
                <a:cubicBezTo>
                  <a:pt x="123" y="254"/>
                  <a:pt x="123" y="254"/>
                  <a:pt x="123" y="254"/>
                </a:cubicBezTo>
                <a:cubicBezTo>
                  <a:pt x="123" y="258"/>
                  <a:pt x="127" y="262"/>
                  <a:pt x="131" y="262"/>
                </a:cubicBezTo>
                <a:cubicBezTo>
                  <a:pt x="135" y="262"/>
                  <a:pt x="138" y="258"/>
                  <a:pt x="138" y="254"/>
                </a:cubicBezTo>
                <a:cubicBezTo>
                  <a:pt x="138" y="237"/>
                  <a:pt x="138" y="237"/>
                  <a:pt x="138" y="237"/>
                </a:cubicBezTo>
                <a:cubicBezTo>
                  <a:pt x="186" y="234"/>
                  <a:pt x="225" y="199"/>
                  <a:pt x="235" y="153"/>
                </a:cubicBezTo>
                <a:cubicBezTo>
                  <a:pt x="204" y="153"/>
                  <a:pt x="204" y="153"/>
                  <a:pt x="204" y="153"/>
                </a:cubicBezTo>
                <a:cubicBezTo>
                  <a:pt x="195" y="182"/>
                  <a:pt x="169" y="204"/>
                  <a:pt x="138" y="207"/>
                </a:cubicBezTo>
                <a:cubicBezTo>
                  <a:pt x="138" y="194"/>
                  <a:pt x="138" y="194"/>
                  <a:pt x="138" y="194"/>
                </a:cubicBezTo>
                <a:cubicBezTo>
                  <a:pt x="162" y="191"/>
                  <a:pt x="182" y="175"/>
                  <a:pt x="190" y="153"/>
                </a:cubicBezTo>
                <a:cubicBezTo>
                  <a:pt x="156" y="153"/>
                  <a:pt x="156" y="153"/>
                  <a:pt x="156" y="153"/>
                </a:cubicBezTo>
                <a:cubicBezTo>
                  <a:pt x="151" y="158"/>
                  <a:pt x="145" y="162"/>
                  <a:pt x="138" y="164"/>
                </a:cubicBezTo>
                <a:cubicBezTo>
                  <a:pt x="138" y="150"/>
                  <a:pt x="138" y="150"/>
                  <a:pt x="138" y="150"/>
                </a:cubicBezTo>
                <a:cubicBezTo>
                  <a:pt x="143" y="148"/>
                  <a:pt x="147" y="144"/>
                  <a:pt x="150" y="138"/>
                </a:cubicBezTo>
                <a:cubicBezTo>
                  <a:pt x="163" y="138"/>
                  <a:pt x="163" y="138"/>
                  <a:pt x="163" y="138"/>
                </a:cubicBezTo>
                <a:cubicBezTo>
                  <a:pt x="194" y="138"/>
                  <a:pt x="194" y="138"/>
                  <a:pt x="194" y="138"/>
                </a:cubicBezTo>
                <a:cubicBezTo>
                  <a:pt x="207" y="138"/>
                  <a:pt x="207" y="138"/>
                  <a:pt x="207" y="138"/>
                </a:cubicBezTo>
                <a:cubicBezTo>
                  <a:pt x="237" y="138"/>
                  <a:pt x="237" y="138"/>
                  <a:pt x="237" y="138"/>
                </a:cubicBezTo>
                <a:cubicBezTo>
                  <a:pt x="254" y="138"/>
                  <a:pt x="254" y="138"/>
                  <a:pt x="254" y="138"/>
                </a:cubicBezTo>
                <a:cubicBezTo>
                  <a:pt x="258" y="138"/>
                  <a:pt x="262" y="135"/>
                  <a:pt x="262" y="131"/>
                </a:cubicBezTo>
                <a:cubicBezTo>
                  <a:pt x="262" y="127"/>
                  <a:pt x="258" y="123"/>
                  <a:pt x="254" y="12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158" name="Freeform 46"/>
          <p:cNvSpPr>
            <a:spLocks noEditPoints="1"/>
          </p:cNvSpPr>
          <p:nvPr/>
        </p:nvSpPr>
        <p:spPr bwMode="auto">
          <a:xfrm>
            <a:off x="3448653" y="5037157"/>
            <a:ext cx="294481" cy="363538"/>
          </a:xfrm>
          <a:custGeom>
            <a:avLst/>
            <a:gdLst>
              <a:gd name="T0" fmla="*/ 8 w 157"/>
              <a:gd name="T1" fmla="*/ 59 h 194"/>
              <a:gd name="T2" fmla="*/ 25 w 157"/>
              <a:gd name="T3" fmla="*/ 194 h 194"/>
              <a:gd name="T4" fmla="*/ 132 w 157"/>
              <a:gd name="T5" fmla="*/ 194 h 194"/>
              <a:gd name="T6" fmla="*/ 149 w 157"/>
              <a:gd name="T7" fmla="*/ 59 h 194"/>
              <a:gd name="T8" fmla="*/ 8 w 157"/>
              <a:gd name="T9" fmla="*/ 59 h 194"/>
              <a:gd name="T10" fmla="*/ 49 w 157"/>
              <a:gd name="T11" fmla="*/ 171 h 194"/>
              <a:gd name="T12" fmla="*/ 49 w 157"/>
              <a:gd name="T13" fmla="*/ 171 h 194"/>
              <a:gd name="T14" fmla="*/ 45 w 157"/>
              <a:gd name="T15" fmla="*/ 168 h 194"/>
              <a:gd name="T16" fmla="*/ 40 w 157"/>
              <a:gd name="T17" fmla="*/ 84 h 194"/>
              <a:gd name="T18" fmla="*/ 43 w 157"/>
              <a:gd name="T19" fmla="*/ 80 h 194"/>
              <a:gd name="T20" fmla="*/ 48 w 157"/>
              <a:gd name="T21" fmla="*/ 84 h 194"/>
              <a:gd name="T22" fmla="*/ 53 w 157"/>
              <a:gd name="T23" fmla="*/ 167 h 194"/>
              <a:gd name="T24" fmla="*/ 49 w 157"/>
              <a:gd name="T25" fmla="*/ 171 h 194"/>
              <a:gd name="T26" fmla="*/ 83 w 157"/>
              <a:gd name="T27" fmla="*/ 167 h 194"/>
              <a:gd name="T28" fmla="*/ 79 w 157"/>
              <a:gd name="T29" fmla="*/ 171 h 194"/>
              <a:gd name="T30" fmla="*/ 75 w 157"/>
              <a:gd name="T31" fmla="*/ 167 h 194"/>
              <a:gd name="T32" fmla="*/ 75 w 157"/>
              <a:gd name="T33" fmla="*/ 84 h 194"/>
              <a:gd name="T34" fmla="*/ 79 w 157"/>
              <a:gd name="T35" fmla="*/ 80 h 194"/>
              <a:gd name="T36" fmla="*/ 83 w 157"/>
              <a:gd name="T37" fmla="*/ 84 h 194"/>
              <a:gd name="T38" fmla="*/ 83 w 157"/>
              <a:gd name="T39" fmla="*/ 167 h 194"/>
              <a:gd name="T40" fmla="*/ 112 w 157"/>
              <a:gd name="T41" fmla="*/ 168 h 194"/>
              <a:gd name="T42" fmla="*/ 108 w 157"/>
              <a:gd name="T43" fmla="*/ 171 h 194"/>
              <a:gd name="T44" fmla="*/ 108 w 157"/>
              <a:gd name="T45" fmla="*/ 171 h 194"/>
              <a:gd name="T46" fmla="*/ 104 w 157"/>
              <a:gd name="T47" fmla="*/ 167 h 194"/>
              <a:gd name="T48" fmla="*/ 110 w 157"/>
              <a:gd name="T49" fmla="*/ 84 h 194"/>
              <a:gd name="T50" fmla="*/ 114 w 157"/>
              <a:gd name="T51" fmla="*/ 80 h 194"/>
              <a:gd name="T52" fmla="*/ 118 w 157"/>
              <a:gd name="T53" fmla="*/ 84 h 194"/>
              <a:gd name="T54" fmla="*/ 112 w 157"/>
              <a:gd name="T55" fmla="*/ 168 h 194"/>
              <a:gd name="T56" fmla="*/ 157 w 157"/>
              <a:gd name="T57" fmla="*/ 43 h 194"/>
              <a:gd name="T58" fmla="*/ 151 w 157"/>
              <a:gd name="T59" fmla="*/ 25 h 194"/>
              <a:gd name="T60" fmla="*/ 145 w 157"/>
              <a:gd name="T61" fmla="*/ 21 h 194"/>
              <a:gd name="T62" fmla="*/ 116 w 157"/>
              <a:gd name="T63" fmla="*/ 21 h 194"/>
              <a:gd name="T64" fmla="*/ 113 w 157"/>
              <a:gd name="T65" fmla="*/ 5 h 194"/>
              <a:gd name="T66" fmla="*/ 107 w 157"/>
              <a:gd name="T67" fmla="*/ 0 h 194"/>
              <a:gd name="T68" fmla="*/ 50 w 157"/>
              <a:gd name="T69" fmla="*/ 0 h 194"/>
              <a:gd name="T70" fmla="*/ 44 w 157"/>
              <a:gd name="T71" fmla="*/ 5 h 194"/>
              <a:gd name="T72" fmla="*/ 41 w 157"/>
              <a:gd name="T73" fmla="*/ 21 h 194"/>
              <a:gd name="T74" fmla="*/ 12 w 157"/>
              <a:gd name="T75" fmla="*/ 21 h 194"/>
              <a:gd name="T76" fmla="*/ 6 w 157"/>
              <a:gd name="T77" fmla="*/ 25 h 194"/>
              <a:gd name="T78" fmla="*/ 0 w 157"/>
              <a:gd name="T79" fmla="*/ 43 h 194"/>
              <a:gd name="T80" fmla="*/ 1 w 157"/>
              <a:gd name="T81" fmla="*/ 48 h 194"/>
              <a:gd name="T82" fmla="*/ 6 w 157"/>
              <a:gd name="T83" fmla="*/ 51 h 194"/>
              <a:gd name="T84" fmla="*/ 151 w 157"/>
              <a:gd name="T85" fmla="*/ 51 h 194"/>
              <a:gd name="T86" fmla="*/ 156 w 157"/>
              <a:gd name="T87" fmla="*/ 48 h 194"/>
              <a:gd name="T88" fmla="*/ 157 w 157"/>
              <a:gd name="T89" fmla="*/ 43 h 194"/>
              <a:gd name="T90" fmla="*/ 55 w 157"/>
              <a:gd name="T91" fmla="*/ 12 h 194"/>
              <a:gd name="T92" fmla="*/ 102 w 157"/>
              <a:gd name="T93" fmla="*/ 12 h 194"/>
              <a:gd name="T94" fmla="*/ 104 w 157"/>
              <a:gd name="T95" fmla="*/ 21 h 194"/>
              <a:gd name="T96" fmla="*/ 53 w 157"/>
              <a:gd name="T97" fmla="*/ 21 h 194"/>
              <a:gd name="T98" fmla="*/ 55 w 157"/>
              <a:gd name="T99" fmla="*/ 1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 h="194">
                <a:moveTo>
                  <a:pt x="8" y="59"/>
                </a:moveTo>
                <a:cubicBezTo>
                  <a:pt x="25" y="194"/>
                  <a:pt x="25" y="194"/>
                  <a:pt x="25" y="194"/>
                </a:cubicBezTo>
                <a:cubicBezTo>
                  <a:pt x="132" y="194"/>
                  <a:pt x="132" y="194"/>
                  <a:pt x="132" y="194"/>
                </a:cubicBezTo>
                <a:cubicBezTo>
                  <a:pt x="149" y="59"/>
                  <a:pt x="149" y="59"/>
                  <a:pt x="149" y="59"/>
                </a:cubicBezTo>
                <a:lnTo>
                  <a:pt x="8" y="59"/>
                </a:lnTo>
                <a:close/>
                <a:moveTo>
                  <a:pt x="49" y="171"/>
                </a:moveTo>
                <a:cubicBezTo>
                  <a:pt x="49" y="171"/>
                  <a:pt x="49" y="171"/>
                  <a:pt x="49" y="171"/>
                </a:cubicBezTo>
                <a:cubicBezTo>
                  <a:pt x="47" y="171"/>
                  <a:pt x="45" y="170"/>
                  <a:pt x="45" y="168"/>
                </a:cubicBezTo>
                <a:cubicBezTo>
                  <a:pt x="40" y="84"/>
                  <a:pt x="40" y="84"/>
                  <a:pt x="40" y="84"/>
                </a:cubicBezTo>
                <a:cubicBezTo>
                  <a:pt x="39" y="82"/>
                  <a:pt x="41" y="80"/>
                  <a:pt x="43" y="80"/>
                </a:cubicBezTo>
                <a:cubicBezTo>
                  <a:pt x="45" y="80"/>
                  <a:pt x="47" y="81"/>
                  <a:pt x="48" y="84"/>
                </a:cubicBezTo>
                <a:cubicBezTo>
                  <a:pt x="53" y="167"/>
                  <a:pt x="53" y="167"/>
                  <a:pt x="53" y="167"/>
                </a:cubicBezTo>
                <a:cubicBezTo>
                  <a:pt x="53" y="169"/>
                  <a:pt x="52" y="171"/>
                  <a:pt x="49" y="171"/>
                </a:cubicBezTo>
                <a:close/>
                <a:moveTo>
                  <a:pt x="83" y="167"/>
                </a:moveTo>
                <a:cubicBezTo>
                  <a:pt x="83" y="170"/>
                  <a:pt x="81" y="171"/>
                  <a:pt x="79" y="171"/>
                </a:cubicBezTo>
                <a:cubicBezTo>
                  <a:pt x="76" y="171"/>
                  <a:pt x="75" y="170"/>
                  <a:pt x="75" y="167"/>
                </a:cubicBezTo>
                <a:cubicBezTo>
                  <a:pt x="75" y="84"/>
                  <a:pt x="75" y="84"/>
                  <a:pt x="75" y="84"/>
                </a:cubicBezTo>
                <a:cubicBezTo>
                  <a:pt x="75" y="82"/>
                  <a:pt x="76" y="80"/>
                  <a:pt x="79" y="80"/>
                </a:cubicBezTo>
                <a:cubicBezTo>
                  <a:pt x="81" y="80"/>
                  <a:pt x="83" y="82"/>
                  <a:pt x="83" y="84"/>
                </a:cubicBezTo>
                <a:lnTo>
                  <a:pt x="83" y="167"/>
                </a:lnTo>
                <a:close/>
                <a:moveTo>
                  <a:pt x="112" y="168"/>
                </a:moveTo>
                <a:cubicBezTo>
                  <a:pt x="112" y="170"/>
                  <a:pt x="110" y="171"/>
                  <a:pt x="108" y="171"/>
                </a:cubicBezTo>
                <a:cubicBezTo>
                  <a:pt x="108" y="171"/>
                  <a:pt x="108" y="171"/>
                  <a:pt x="108" y="171"/>
                </a:cubicBezTo>
                <a:cubicBezTo>
                  <a:pt x="105" y="171"/>
                  <a:pt x="104" y="169"/>
                  <a:pt x="104" y="167"/>
                </a:cubicBezTo>
                <a:cubicBezTo>
                  <a:pt x="110" y="84"/>
                  <a:pt x="110" y="84"/>
                  <a:pt x="110" y="84"/>
                </a:cubicBezTo>
                <a:cubicBezTo>
                  <a:pt x="110" y="81"/>
                  <a:pt x="112" y="80"/>
                  <a:pt x="114" y="80"/>
                </a:cubicBezTo>
                <a:cubicBezTo>
                  <a:pt x="116" y="80"/>
                  <a:pt x="118" y="82"/>
                  <a:pt x="118" y="84"/>
                </a:cubicBezTo>
                <a:lnTo>
                  <a:pt x="112" y="168"/>
                </a:lnTo>
                <a:close/>
                <a:moveTo>
                  <a:pt x="157" y="43"/>
                </a:moveTo>
                <a:cubicBezTo>
                  <a:pt x="151" y="25"/>
                  <a:pt x="151" y="25"/>
                  <a:pt x="151" y="25"/>
                </a:cubicBezTo>
                <a:cubicBezTo>
                  <a:pt x="150" y="23"/>
                  <a:pt x="148" y="21"/>
                  <a:pt x="145" y="21"/>
                </a:cubicBezTo>
                <a:cubicBezTo>
                  <a:pt x="116" y="21"/>
                  <a:pt x="116" y="21"/>
                  <a:pt x="116" y="21"/>
                </a:cubicBezTo>
                <a:cubicBezTo>
                  <a:pt x="113" y="5"/>
                  <a:pt x="113" y="5"/>
                  <a:pt x="113" y="5"/>
                </a:cubicBezTo>
                <a:cubicBezTo>
                  <a:pt x="113" y="2"/>
                  <a:pt x="110" y="0"/>
                  <a:pt x="107" y="0"/>
                </a:cubicBezTo>
                <a:cubicBezTo>
                  <a:pt x="50" y="0"/>
                  <a:pt x="50" y="0"/>
                  <a:pt x="50" y="0"/>
                </a:cubicBezTo>
                <a:cubicBezTo>
                  <a:pt x="47" y="0"/>
                  <a:pt x="44" y="2"/>
                  <a:pt x="44" y="5"/>
                </a:cubicBezTo>
                <a:cubicBezTo>
                  <a:pt x="41" y="21"/>
                  <a:pt x="41" y="21"/>
                  <a:pt x="41" y="21"/>
                </a:cubicBezTo>
                <a:cubicBezTo>
                  <a:pt x="12" y="21"/>
                  <a:pt x="12" y="21"/>
                  <a:pt x="12" y="21"/>
                </a:cubicBezTo>
                <a:cubicBezTo>
                  <a:pt x="9" y="21"/>
                  <a:pt x="7" y="23"/>
                  <a:pt x="6" y="25"/>
                </a:cubicBezTo>
                <a:cubicBezTo>
                  <a:pt x="0" y="43"/>
                  <a:pt x="0" y="43"/>
                  <a:pt x="0" y="43"/>
                </a:cubicBezTo>
                <a:cubicBezTo>
                  <a:pt x="0" y="45"/>
                  <a:pt x="0" y="47"/>
                  <a:pt x="1" y="48"/>
                </a:cubicBezTo>
                <a:cubicBezTo>
                  <a:pt x="2" y="50"/>
                  <a:pt x="4" y="51"/>
                  <a:pt x="6" y="51"/>
                </a:cubicBezTo>
                <a:cubicBezTo>
                  <a:pt x="151" y="51"/>
                  <a:pt x="151" y="51"/>
                  <a:pt x="151" y="51"/>
                </a:cubicBezTo>
                <a:cubicBezTo>
                  <a:pt x="153" y="51"/>
                  <a:pt x="155" y="50"/>
                  <a:pt x="156" y="48"/>
                </a:cubicBezTo>
                <a:cubicBezTo>
                  <a:pt x="157" y="47"/>
                  <a:pt x="157" y="45"/>
                  <a:pt x="157" y="43"/>
                </a:cubicBezTo>
                <a:close/>
                <a:moveTo>
                  <a:pt x="55" y="12"/>
                </a:moveTo>
                <a:cubicBezTo>
                  <a:pt x="102" y="12"/>
                  <a:pt x="102" y="12"/>
                  <a:pt x="102" y="12"/>
                </a:cubicBezTo>
                <a:cubicBezTo>
                  <a:pt x="104" y="21"/>
                  <a:pt x="104" y="21"/>
                  <a:pt x="104" y="21"/>
                </a:cubicBezTo>
                <a:cubicBezTo>
                  <a:pt x="53" y="21"/>
                  <a:pt x="53" y="21"/>
                  <a:pt x="53" y="21"/>
                </a:cubicBezTo>
                <a:lnTo>
                  <a:pt x="55" y="1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ooter Placeholder 17"/>
          <p:cNvSpPr>
            <a:spLocks noGrp="1"/>
          </p:cNvSpPr>
          <p:nvPr>
            <p:ph type="ftr" sz="quarter" idx="13"/>
          </p:nvPr>
        </p:nvSpPr>
        <p:spPr>
          <a:xfrm>
            <a:off x="455613" y="6575425"/>
            <a:ext cx="3600000" cy="128588"/>
          </a:xfrm>
        </p:spPr>
        <p:txBody>
          <a:bodyPr/>
          <a:lstStyle/>
          <a:p>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2916462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68"/>
          <p:cNvSpPr/>
          <p:nvPr/>
        </p:nvSpPr>
        <p:spPr>
          <a:xfrm>
            <a:off x="5410830" y="2666434"/>
            <a:ext cx="1745672" cy="2478704"/>
          </a:xfrm>
          <a:custGeom>
            <a:avLst/>
            <a:gdLst>
              <a:gd name="connsiteX0" fmla="*/ 1307365 w 1745672"/>
              <a:gd name="connsiteY0" fmla="*/ 0 h 2478704"/>
              <a:gd name="connsiteX1" fmla="*/ 1745672 w 1745672"/>
              <a:gd name="connsiteY1" fmla="*/ 0 h 2478704"/>
              <a:gd name="connsiteX2" fmla="*/ 1745672 w 1745672"/>
              <a:gd name="connsiteY2" fmla="*/ 2478704 h 2478704"/>
              <a:gd name="connsiteX3" fmla="*/ 0 w 1745672"/>
              <a:gd name="connsiteY3" fmla="*/ 2478704 h 2478704"/>
            </a:gdLst>
            <a:ahLst/>
            <a:cxnLst>
              <a:cxn ang="0">
                <a:pos x="connsiteX0" y="connsiteY0"/>
              </a:cxn>
              <a:cxn ang="0">
                <a:pos x="connsiteX1" y="connsiteY1"/>
              </a:cxn>
              <a:cxn ang="0">
                <a:pos x="connsiteX2" y="connsiteY2"/>
              </a:cxn>
              <a:cxn ang="0">
                <a:pos x="connsiteX3" y="connsiteY3"/>
              </a:cxn>
            </a:cxnLst>
            <a:rect l="l" t="t" r="r" b="b"/>
            <a:pathLst>
              <a:path w="1745672" h="2478704">
                <a:moveTo>
                  <a:pt x="1307365" y="0"/>
                </a:moveTo>
                <a:lnTo>
                  <a:pt x="1745672" y="0"/>
                </a:lnTo>
                <a:lnTo>
                  <a:pt x="1745672" y="2478704"/>
                </a:lnTo>
                <a:lnTo>
                  <a:pt x="0" y="2478704"/>
                </a:lnTo>
              </a:path>
            </a:pathLst>
          </a:custGeom>
          <a:noFill/>
          <a:ln w="12700">
            <a:solidFill>
              <a:srgbClr val="CB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什么是 </a:t>
            </a:r>
            <a:r>
              <a:rPr lang="en-US" altLang="en-US" b="1" dirty="0" err="1" smtClean="0">
                <a:latin typeface="SimSun" panose="02010600030101010101" pitchFamily="2" charset="-122"/>
                <a:ea typeface="SimSun" panose="02010600030101010101" pitchFamily="2" charset="-122"/>
              </a:rPr>
              <a:t>DevOps</a:t>
            </a:r>
            <a:r>
              <a:rPr lang="en-US" altLang="en-US" dirty="0" smtClean="0">
                <a:latin typeface="SimSun" panose="02010600030101010101" pitchFamily="2" charset="-122"/>
                <a:ea typeface="SimSun" panose="02010600030101010101" pitchFamily="2" charset="-122"/>
              </a:rPr>
              <a:t>?</a:t>
            </a:r>
            <a:endParaRPr lang="en-US" dirty="0">
              <a:latin typeface="SimSun" panose="02010600030101010101" pitchFamily="2" charset="-122"/>
              <a:ea typeface="SimSun" panose="02010600030101010101" pitchFamily="2" charset="-122"/>
            </a:endParaRPr>
          </a:p>
        </p:txBody>
      </p:sp>
      <p:sp>
        <p:nvSpPr>
          <p:cNvPr id="5" name="Footer Placeholder 4"/>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grpSp>
        <p:nvGrpSpPr>
          <p:cNvPr id="2" name="Group 1"/>
          <p:cNvGrpSpPr/>
          <p:nvPr/>
        </p:nvGrpSpPr>
        <p:grpSpPr>
          <a:xfrm>
            <a:off x="455613" y="3967364"/>
            <a:ext cx="4940838" cy="1480055"/>
            <a:chOff x="455613" y="3529618"/>
            <a:chExt cx="4940838" cy="1480055"/>
          </a:xfrm>
        </p:grpSpPr>
        <p:sp>
          <p:nvSpPr>
            <p:cNvPr id="11" name="Left Arrow 10"/>
            <p:cNvSpPr/>
            <p:nvPr/>
          </p:nvSpPr>
          <p:spPr>
            <a:xfrm>
              <a:off x="1237637" y="3937844"/>
              <a:ext cx="4158814" cy="1071829"/>
            </a:xfrm>
            <a:prstGeom prst="leftArrow">
              <a:avLst>
                <a:gd name="adj1" fmla="val 72049"/>
                <a:gd name="adj2" fmla="val 50000"/>
              </a:avLst>
            </a:prstGeom>
            <a:solidFill>
              <a:schemeClr val="accent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403200" anchor="ctr"/>
            <a:lstStyle/>
            <a:p>
              <a:pPr>
                <a:defRPr/>
              </a:pPr>
              <a:r>
                <a:rPr lang="zh-CN" altLang="en-US" sz="1200" dirty="0" smtClean="0">
                  <a:solidFill>
                    <a:schemeClr val="bg1"/>
                  </a:solidFill>
                  <a:latin typeface="SimSun" panose="02010600030101010101" pitchFamily="2" charset="-122"/>
                  <a:ea typeface="SimSun" panose="02010600030101010101" pitchFamily="2" charset="-122"/>
                </a:rPr>
                <a:t>可进行低风险，高生产力的修改</a:t>
              </a:r>
              <a:endParaRPr lang="en-GB" sz="1200" dirty="0">
                <a:solidFill>
                  <a:schemeClr val="bg1"/>
                </a:solidFill>
                <a:latin typeface="SimSun" panose="02010600030101010101" pitchFamily="2" charset="-122"/>
                <a:ea typeface="SimSun" panose="02010600030101010101" pitchFamily="2" charset="-122"/>
              </a:endParaRPr>
            </a:p>
            <a:p>
              <a:pPr>
                <a:defRPr/>
              </a:pPr>
              <a:r>
                <a:rPr lang="zh-CN" altLang="en-US" sz="1200" dirty="0" smtClean="0">
                  <a:solidFill>
                    <a:schemeClr val="bg1"/>
                  </a:solidFill>
                  <a:latin typeface="SimSun" panose="02010600030101010101" pitchFamily="2" charset="-122"/>
                  <a:ea typeface="SimSun" panose="02010600030101010101" pitchFamily="2" charset="-122"/>
                </a:rPr>
                <a:t>整合信心以及构筑的完整性</a:t>
              </a:r>
              <a:endParaRPr lang="en-GB" sz="1200" dirty="0">
                <a:solidFill>
                  <a:schemeClr val="bg1"/>
                </a:solidFill>
                <a:latin typeface="SimSun" panose="02010600030101010101" pitchFamily="2" charset="-122"/>
                <a:ea typeface="SimSun" panose="02010600030101010101" pitchFamily="2" charset="-122"/>
              </a:endParaRPr>
            </a:p>
            <a:p>
              <a:pPr>
                <a:defRPr/>
              </a:pPr>
              <a:r>
                <a:rPr lang="zh-CN" altLang="en-US" sz="1200" dirty="0" smtClean="0">
                  <a:solidFill>
                    <a:schemeClr val="bg1"/>
                  </a:solidFill>
                  <a:latin typeface="SimSun" panose="02010600030101010101" pitchFamily="2" charset="-122"/>
                  <a:ea typeface="SimSun" panose="02010600030101010101" pitchFamily="2" charset="-122"/>
                </a:rPr>
                <a:t>高度可用及可靠的环境</a:t>
              </a:r>
              <a:endParaRPr lang="en-GB" sz="1200" dirty="0">
                <a:solidFill>
                  <a:schemeClr val="bg1"/>
                </a:solidFill>
                <a:latin typeface="SimSun" panose="02010600030101010101" pitchFamily="2" charset="-122"/>
                <a:ea typeface="SimSun" panose="02010600030101010101" pitchFamily="2" charset="-122"/>
              </a:endParaRPr>
            </a:p>
          </p:txBody>
        </p:sp>
        <p:sp>
          <p:nvSpPr>
            <p:cNvPr id="57" name="Rectangular Callout 56"/>
            <p:cNvSpPr/>
            <p:nvPr/>
          </p:nvSpPr>
          <p:spPr>
            <a:xfrm>
              <a:off x="455613" y="3529618"/>
              <a:ext cx="1224000" cy="357800"/>
            </a:xfrm>
            <a:prstGeom prst="wedgeRectCallout">
              <a:avLst>
                <a:gd name="adj1" fmla="val 33669"/>
                <a:gd name="adj2" fmla="val 95529"/>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smtClean="0">
                  <a:solidFill>
                    <a:schemeClr val="accent1"/>
                  </a:solidFill>
                  <a:latin typeface="SimSun" panose="02010600030101010101" pitchFamily="2" charset="-122"/>
                  <a:ea typeface="SimSun" panose="02010600030101010101" pitchFamily="2" charset="-122"/>
                </a:rPr>
                <a:t>我喜欢 ♥</a:t>
              </a:r>
              <a:endParaRPr lang="en-US" sz="1200" dirty="0">
                <a:solidFill>
                  <a:schemeClr val="accent1"/>
                </a:solidFill>
                <a:latin typeface="SimSun" panose="02010600030101010101" pitchFamily="2" charset="-122"/>
                <a:ea typeface="SimSun" panose="02010600030101010101" pitchFamily="2" charset="-122"/>
              </a:endParaRPr>
            </a:p>
          </p:txBody>
        </p:sp>
      </p:grpSp>
      <p:sp>
        <p:nvSpPr>
          <p:cNvPr id="59" name="Rectangular Callout 58"/>
          <p:cNvSpPr/>
          <p:nvPr/>
        </p:nvSpPr>
        <p:spPr>
          <a:xfrm>
            <a:off x="5396451" y="2481242"/>
            <a:ext cx="1224000" cy="357800"/>
          </a:xfrm>
          <a:prstGeom prst="wedgeRectCallout">
            <a:avLst>
              <a:gd name="adj1" fmla="val -33433"/>
              <a:gd name="adj2" fmla="val 93381"/>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smtClean="0">
                <a:solidFill>
                  <a:schemeClr val="accent2"/>
                </a:solidFill>
                <a:latin typeface="SimSun" panose="02010600030101010101" pitchFamily="2" charset="-122"/>
                <a:ea typeface="SimSun" panose="02010600030101010101" pitchFamily="2" charset="-122"/>
              </a:rPr>
              <a:t>我想要稳定性</a:t>
            </a:r>
            <a:endParaRPr lang="en-US" sz="1200" dirty="0">
              <a:solidFill>
                <a:schemeClr val="accent2"/>
              </a:solidFill>
              <a:latin typeface="SimSun" panose="02010600030101010101" pitchFamily="2" charset="-122"/>
              <a:ea typeface="SimSun" panose="02010600030101010101" pitchFamily="2" charset="-122"/>
            </a:endParaRPr>
          </a:p>
        </p:txBody>
      </p:sp>
      <p:sp>
        <p:nvSpPr>
          <p:cNvPr id="4" name="Pentagon 3"/>
          <p:cNvSpPr/>
          <p:nvPr/>
        </p:nvSpPr>
        <p:spPr>
          <a:xfrm>
            <a:off x="1836042" y="2447525"/>
            <a:ext cx="2231841" cy="1059095"/>
          </a:xfrm>
          <a:prstGeom prst="homePlat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Pentagon 59"/>
          <p:cNvSpPr/>
          <p:nvPr/>
        </p:nvSpPr>
        <p:spPr>
          <a:xfrm rot="10800000">
            <a:off x="3004862" y="2447525"/>
            <a:ext cx="2231841" cy="1059095"/>
          </a:xfrm>
          <a:prstGeom prst="homePlat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1865964" y="2133154"/>
            <a:ext cx="3370739" cy="30777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9691"/>
              <a:gd name="connsiteY0" fmla="*/ 5000 h 10000"/>
              <a:gd name="connsiteX1" fmla="*/ 5000 w 19691"/>
              <a:gd name="connsiteY1" fmla="*/ 0 h 10000"/>
              <a:gd name="connsiteX2" fmla="*/ 19691 w 19691"/>
              <a:gd name="connsiteY2" fmla="*/ 6448 h 10000"/>
              <a:gd name="connsiteX3" fmla="*/ 5000 w 19691"/>
              <a:gd name="connsiteY3" fmla="*/ 10000 h 10000"/>
              <a:gd name="connsiteX4" fmla="*/ 0 w 19691"/>
              <a:gd name="connsiteY4" fmla="*/ 5000 h 10000"/>
              <a:gd name="connsiteX0" fmla="*/ 0 w 34064"/>
              <a:gd name="connsiteY0" fmla="*/ 10011 h 10011"/>
              <a:gd name="connsiteX1" fmla="*/ 19373 w 34064"/>
              <a:gd name="connsiteY1" fmla="*/ 0 h 10011"/>
              <a:gd name="connsiteX2" fmla="*/ 34064 w 34064"/>
              <a:gd name="connsiteY2" fmla="*/ 6448 h 10011"/>
              <a:gd name="connsiteX3" fmla="*/ 19373 w 34064"/>
              <a:gd name="connsiteY3" fmla="*/ 10000 h 10011"/>
              <a:gd name="connsiteX4" fmla="*/ 0 w 34064"/>
              <a:gd name="connsiteY4" fmla="*/ 10011 h 10011"/>
              <a:gd name="connsiteX0" fmla="*/ 0 w 30906"/>
              <a:gd name="connsiteY0" fmla="*/ 10011 h 10012"/>
              <a:gd name="connsiteX1" fmla="*/ 19373 w 30906"/>
              <a:gd name="connsiteY1" fmla="*/ 0 h 10012"/>
              <a:gd name="connsiteX2" fmla="*/ 30906 w 30906"/>
              <a:gd name="connsiteY2" fmla="*/ 10012 h 10012"/>
              <a:gd name="connsiteX3" fmla="*/ 19373 w 30906"/>
              <a:gd name="connsiteY3" fmla="*/ 10000 h 10012"/>
              <a:gd name="connsiteX4" fmla="*/ 0 w 30906"/>
              <a:gd name="connsiteY4" fmla="*/ 10011 h 10012"/>
              <a:gd name="connsiteX0" fmla="*/ 0 w 30906"/>
              <a:gd name="connsiteY0" fmla="*/ 3663 h 3664"/>
              <a:gd name="connsiteX1" fmla="*/ 15018 w 30906"/>
              <a:gd name="connsiteY1" fmla="*/ 0 h 3664"/>
              <a:gd name="connsiteX2" fmla="*/ 30906 w 30906"/>
              <a:gd name="connsiteY2" fmla="*/ 3664 h 3664"/>
              <a:gd name="connsiteX3" fmla="*/ 19373 w 30906"/>
              <a:gd name="connsiteY3" fmla="*/ 3652 h 3664"/>
              <a:gd name="connsiteX4" fmla="*/ 0 w 30906"/>
              <a:gd name="connsiteY4" fmla="*/ 3663 h 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06" h="3664">
                <a:moveTo>
                  <a:pt x="0" y="3663"/>
                </a:moveTo>
                <a:lnTo>
                  <a:pt x="15018" y="0"/>
                </a:lnTo>
                <a:lnTo>
                  <a:pt x="30906" y="3664"/>
                </a:lnTo>
                <a:lnTo>
                  <a:pt x="19373" y="3652"/>
                </a:lnTo>
                <a:lnTo>
                  <a:pt x="0" y="3663"/>
                </a:lnTo>
                <a:close/>
              </a:path>
            </a:pathLst>
          </a:custGeom>
          <a:solidFill>
            <a:schemeClr val="accent3"/>
          </a:solidFill>
          <a:effectLst/>
        </p:spPr>
        <p:txBody>
          <a:bodyPr wrap="square" lIns="0" rIns="0">
            <a:spAutoFit/>
          </a:bodyPr>
          <a:lstStyle/>
          <a:p>
            <a:pPr algn="ctr">
              <a:defRPr/>
            </a:pPr>
            <a:r>
              <a:rPr lang="en-GB" sz="1400" dirty="0" smtClean="0">
                <a:solidFill>
                  <a:schemeClr val="bg1"/>
                </a:solidFill>
              </a:rPr>
              <a:t>DevOps</a:t>
            </a:r>
            <a:endParaRPr lang="en-GB" sz="1400" dirty="0">
              <a:solidFill>
                <a:schemeClr val="bg1"/>
              </a:solidFill>
            </a:endParaRPr>
          </a:p>
        </p:txBody>
      </p:sp>
      <p:sp>
        <p:nvSpPr>
          <p:cNvPr id="22" name="Text Box 108"/>
          <p:cNvSpPr txBox="1">
            <a:spLocks noChangeArrowheads="1"/>
          </p:cNvSpPr>
          <p:nvPr/>
        </p:nvSpPr>
        <p:spPr bwMode="auto">
          <a:xfrm>
            <a:off x="7545604" y="3650512"/>
            <a:ext cx="1166596" cy="578544"/>
          </a:xfrm>
          <a:prstGeom prst="rect">
            <a:avLst/>
          </a:prstGeom>
          <a:noFill/>
          <a:ln>
            <a:noFill/>
          </a:ln>
          <a:effectLst/>
          <a:extLst/>
        </p:spPr>
        <p:txBody>
          <a:bodyPr wrap="square" lIns="0" tIns="44450" rIns="0" bIns="44450" anchor="ctr">
            <a:noAutofit/>
          </a:bodyPr>
          <a:lstStyle/>
          <a:p>
            <a:pPr>
              <a:lnSpc>
                <a:spcPct val="80000"/>
              </a:lnSpc>
              <a:spcBef>
                <a:spcPct val="50000"/>
              </a:spcBef>
              <a:buClrTx/>
              <a:buFontTx/>
              <a:buNone/>
            </a:pPr>
            <a:r>
              <a:rPr lang="zh-CN" altLang="en-US" sz="1200" i="0" dirty="0" smtClean="0">
                <a:solidFill>
                  <a:schemeClr val="accent5"/>
                </a:solidFill>
                <a:latin typeface="SimSun" panose="02010600030101010101" pitchFamily="2" charset="-122"/>
                <a:ea typeface="SimSun" panose="02010600030101010101" pitchFamily="2" charset="-122"/>
              </a:rPr>
              <a:t>典型特性</a:t>
            </a:r>
            <a:endParaRPr lang="en-GB" altLang="en-US" sz="1200" i="0" dirty="0">
              <a:solidFill>
                <a:schemeClr val="accent5"/>
              </a:solidFill>
              <a:latin typeface="SimSun" panose="02010600030101010101" pitchFamily="2" charset="-122"/>
              <a:ea typeface="SimSun" panose="02010600030101010101" pitchFamily="2" charset="-122"/>
            </a:endParaRPr>
          </a:p>
        </p:txBody>
      </p:sp>
      <p:grpSp>
        <p:nvGrpSpPr>
          <p:cNvPr id="23" name="Group 22"/>
          <p:cNvGrpSpPr/>
          <p:nvPr/>
        </p:nvGrpSpPr>
        <p:grpSpPr>
          <a:xfrm>
            <a:off x="6856507" y="3648253"/>
            <a:ext cx="578545" cy="578544"/>
            <a:chOff x="7128987" y="1446231"/>
            <a:chExt cx="578545" cy="578544"/>
          </a:xfrm>
        </p:grpSpPr>
        <p:sp>
          <p:nvSpPr>
            <p:cNvPr id="24" name="Oval 23"/>
            <p:cNvSpPr/>
            <p:nvPr/>
          </p:nvSpPr>
          <p:spPr>
            <a:xfrm>
              <a:off x="7128987" y="1446231"/>
              <a:ext cx="578545" cy="578544"/>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6" name="Group 25"/>
            <p:cNvGrpSpPr/>
            <p:nvPr/>
          </p:nvGrpSpPr>
          <p:grpSpPr>
            <a:xfrm>
              <a:off x="7275072" y="1563960"/>
              <a:ext cx="352512" cy="353077"/>
              <a:chOff x="3082925" y="3916655"/>
              <a:chExt cx="1006475" cy="1008087"/>
            </a:xfrm>
            <a:solidFill>
              <a:schemeClr val="accent6"/>
            </a:solidFill>
          </p:grpSpPr>
          <p:sp>
            <p:nvSpPr>
              <p:cNvPr id="27" name="Freeform 176"/>
              <p:cNvSpPr>
                <a:spLocks noEditPoints="1"/>
              </p:cNvSpPr>
              <p:nvPr/>
            </p:nvSpPr>
            <p:spPr bwMode="auto">
              <a:xfrm>
                <a:off x="3514425" y="4348155"/>
                <a:ext cx="574975" cy="143475"/>
              </a:xfrm>
              <a:custGeom>
                <a:avLst/>
                <a:gdLst>
                  <a:gd name="T0" fmla="*/ 57 w 453"/>
                  <a:gd name="T1" fmla="*/ 0 h 113"/>
                  <a:gd name="T2" fmla="*/ 0 w 453"/>
                  <a:gd name="T3" fmla="*/ 57 h 113"/>
                  <a:gd name="T4" fmla="*/ 57 w 453"/>
                  <a:gd name="T5" fmla="*/ 113 h 113"/>
                  <a:gd name="T6" fmla="*/ 113 w 453"/>
                  <a:gd name="T7" fmla="*/ 57 h 113"/>
                  <a:gd name="T8" fmla="*/ 57 w 453"/>
                  <a:gd name="T9" fmla="*/ 0 h 113"/>
                  <a:gd name="T10" fmla="*/ 227 w 453"/>
                  <a:gd name="T11" fmla="*/ 0 h 113"/>
                  <a:gd name="T12" fmla="*/ 170 w 453"/>
                  <a:gd name="T13" fmla="*/ 57 h 113"/>
                  <a:gd name="T14" fmla="*/ 227 w 453"/>
                  <a:gd name="T15" fmla="*/ 113 h 113"/>
                  <a:gd name="T16" fmla="*/ 283 w 453"/>
                  <a:gd name="T17" fmla="*/ 57 h 113"/>
                  <a:gd name="T18" fmla="*/ 227 w 453"/>
                  <a:gd name="T19" fmla="*/ 0 h 113"/>
                  <a:gd name="T20" fmla="*/ 397 w 453"/>
                  <a:gd name="T21" fmla="*/ 0 h 113"/>
                  <a:gd name="T22" fmla="*/ 340 w 453"/>
                  <a:gd name="T23" fmla="*/ 57 h 113"/>
                  <a:gd name="T24" fmla="*/ 397 w 453"/>
                  <a:gd name="T25" fmla="*/ 113 h 113"/>
                  <a:gd name="T26" fmla="*/ 453 w 453"/>
                  <a:gd name="T27" fmla="*/ 57 h 113"/>
                  <a:gd name="T28" fmla="*/ 397 w 453"/>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113">
                    <a:moveTo>
                      <a:pt x="57" y="0"/>
                    </a:moveTo>
                    <a:cubicBezTo>
                      <a:pt x="25" y="0"/>
                      <a:pt x="0" y="25"/>
                      <a:pt x="0" y="57"/>
                    </a:cubicBezTo>
                    <a:cubicBezTo>
                      <a:pt x="0" y="88"/>
                      <a:pt x="25" y="113"/>
                      <a:pt x="57" y="113"/>
                    </a:cubicBezTo>
                    <a:cubicBezTo>
                      <a:pt x="88" y="113"/>
                      <a:pt x="113" y="88"/>
                      <a:pt x="113" y="57"/>
                    </a:cubicBezTo>
                    <a:cubicBezTo>
                      <a:pt x="113" y="25"/>
                      <a:pt x="88" y="0"/>
                      <a:pt x="57" y="0"/>
                    </a:cubicBezTo>
                    <a:close/>
                    <a:moveTo>
                      <a:pt x="227" y="0"/>
                    </a:moveTo>
                    <a:cubicBezTo>
                      <a:pt x="195" y="0"/>
                      <a:pt x="170" y="25"/>
                      <a:pt x="170" y="57"/>
                    </a:cubicBezTo>
                    <a:cubicBezTo>
                      <a:pt x="170" y="88"/>
                      <a:pt x="195" y="113"/>
                      <a:pt x="227" y="113"/>
                    </a:cubicBezTo>
                    <a:cubicBezTo>
                      <a:pt x="258" y="113"/>
                      <a:pt x="283" y="88"/>
                      <a:pt x="283" y="57"/>
                    </a:cubicBezTo>
                    <a:cubicBezTo>
                      <a:pt x="283" y="25"/>
                      <a:pt x="258" y="0"/>
                      <a:pt x="227" y="0"/>
                    </a:cubicBezTo>
                    <a:close/>
                    <a:moveTo>
                      <a:pt x="397" y="0"/>
                    </a:moveTo>
                    <a:cubicBezTo>
                      <a:pt x="365" y="0"/>
                      <a:pt x="340" y="25"/>
                      <a:pt x="340" y="57"/>
                    </a:cubicBezTo>
                    <a:cubicBezTo>
                      <a:pt x="340" y="88"/>
                      <a:pt x="365" y="113"/>
                      <a:pt x="397" y="113"/>
                    </a:cubicBezTo>
                    <a:cubicBezTo>
                      <a:pt x="428" y="113"/>
                      <a:pt x="453" y="88"/>
                      <a:pt x="453" y="57"/>
                    </a:cubicBezTo>
                    <a:cubicBezTo>
                      <a:pt x="453" y="25"/>
                      <a:pt x="428" y="0"/>
                      <a:pt x="3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7"/>
              <p:cNvSpPr>
                <a:spLocks noEditPoints="1"/>
              </p:cNvSpPr>
              <p:nvPr/>
            </p:nvSpPr>
            <p:spPr bwMode="auto">
              <a:xfrm>
                <a:off x="3298406" y="4564173"/>
                <a:ext cx="575512" cy="144550"/>
              </a:xfrm>
              <a:custGeom>
                <a:avLst/>
                <a:gdLst>
                  <a:gd name="T0" fmla="*/ 57 w 453"/>
                  <a:gd name="T1" fmla="*/ 0 h 114"/>
                  <a:gd name="T2" fmla="*/ 0 w 453"/>
                  <a:gd name="T3" fmla="*/ 57 h 114"/>
                  <a:gd name="T4" fmla="*/ 57 w 453"/>
                  <a:gd name="T5" fmla="*/ 114 h 114"/>
                  <a:gd name="T6" fmla="*/ 113 w 453"/>
                  <a:gd name="T7" fmla="*/ 57 h 114"/>
                  <a:gd name="T8" fmla="*/ 57 w 453"/>
                  <a:gd name="T9" fmla="*/ 0 h 114"/>
                  <a:gd name="T10" fmla="*/ 227 w 453"/>
                  <a:gd name="T11" fmla="*/ 0 h 114"/>
                  <a:gd name="T12" fmla="*/ 170 w 453"/>
                  <a:gd name="T13" fmla="*/ 57 h 114"/>
                  <a:gd name="T14" fmla="*/ 227 w 453"/>
                  <a:gd name="T15" fmla="*/ 114 h 114"/>
                  <a:gd name="T16" fmla="*/ 283 w 453"/>
                  <a:gd name="T17" fmla="*/ 57 h 114"/>
                  <a:gd name="T18" fmla="*/ 227 w 453"/>
                  <a:gd name="T19" fmla="*/ 0 h 114"/>
                  <a:gd name="T20" fmla="*/ 397 w 453"/>
                  <a:gd name="T21" fmla="*/ 0 h 114"/>
                  <a:gd name="T22" fmla="*/ 340 w 453"/>
                  <a:gd name="T23" fmla="*/ 57 h 114"/>
                  <a:gd name="T24" fmla="*/ 397 w 453"/>
                  <a:gd name="T25" fmla="*/ 114 h 114"/>
                  <a:gd name="T26" fmla="*/ 453 w 453"/>
                  <a:gd name="T27" fmla="*/ 57 h 114"/>
                  <a:gd name="T28" fmla="*/ 397 w 453"/>
                  <a:gd name="T2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114">
                    <a:moveTo>
                      <a:pt x="57" y="0"/>
                    </a:moveTo>
                    <a:cubicBezTo>
                      <a:pt x="25" y="0"/>
                      <a:pt x="0" y="26"/>
                      <a:pt x="0" y="57"/>
                    </a:cubicBezTo>
                    <a:cubicBezTo>
                      <a:pt x="0" y="88"/>
                      <a:pt x="25" y="114"/>
                      <a:pt x="57" y="114"/>
                    </a:cubicBezTo>
                    <a:cubicBezTo>
                      <a:pt x="88" y="114"/>
                      <a:pt x="113" y="88"/>
                      <a:pt x="113" y="57"/>
                    </a:cubicBezTo>
                    <a:cubicBezTo>
                      <a:pt x="113" y="26"/>
                      <a:pt x="88" y="0"/>
                      <a:pt x="57" y="0"/>
                    </a:cubicBezTo>
                    <a:close/>
                    <a:moveTo>
                      <a:pt x="227" y="0"/>
                    </a:moveTo>
                    <a:cubicBezTo>
                      <a:pt x="195" y="0"/>
                      <a:pt x="170" y="26"/>
                      <a:pt x="170" y="57"/>
                    </a:cubicBezTo>
                    <a:cubicBezTo>
                      <a:pt x="170" y="88"/>
                      <a:pt x="195" y="114"/>
                      <a:pt x="227" y="114"/>
                    </a:cubicBezTo>
                    <a:cubicBezTo>
                      <a:pt x="258" y="114"/>
                      <a:pt x="283" y="88"/>
                      <a:pt x="283" y="57"/>
                    </a:cubicBezTo>
                    <a:cubicBezTo>
                      <a:pt x="283" y="26"/>
                      <a:pt x="258" y="0"/>
                      <a:pt x="227" y="0"/>
                    </a:cubicBezTo>
                    <a:close/>
                    <a:moveTo>
                      <a:pt x="397" y="0"/>
                    </a:moveTo>
                    <a:cubicBezTo>
                      <a:pt x="365" y="0"/>
                      <a:pt x="340" y="26"/>
                      <a:pt x="340" y="57"/>
                    </a:cubicBezTo>
                    <a:cubicBezTo>
                      <a:pt x="340" y="88"/>
                      <a:pt x="365" y="114"/>
                      <a:pt x="397" y="114"/>
                    </a:cubicBezTo>
                    <a:cubicBezTo>
                      <a:pt x="428" y="114"/>
                      <a:pt x="453" y="88"/>
                      <a:pt x="453" y="57"/>
                    </a:cubicBezTo>
                    <a:cubicBezTo>
                      <a:pt x="453" y="26"/>
                      <a:pt x="428" y="0"/>
                      <a:pt x="3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8"/>
              <p:cNvSpPr>
                <a:spLocks noEditPoints="1"/>
              </p:cNvSpPr>
              <p:nvPr/>
            </p:nvSpPr>
            <p:spPr bwMode="auto">
              <a:xfrm>
                <a:off x="3082925" y="4779655"/>
                <a:ext cx="574975" cy="145087"/>
              </a:xfrm>
              <a:custGeom>
                <a:avLst/>
                <a:gdLst>
                  <a:gd name="T0" fmla="*/ 56 w 453"/>
                  <a:gd name="T1" fmla="*/ 0 h 114"/>
                  <a:gd name="T2" fmla="*/ 0 w 453"/>
                  <a:gd name="T3" fmla="*/ 57 h 114"/>
                  <a:gd name="T4" fmla="*/ 56 w 453"/>
                  <a:gd name="T5" fmla="*/ 114 h 114"/>
                  <a:gd name="T6" fmla="*/ 113 w 453"/>
                  <a:gd name="T7" fmla="*/ 57 h 114"/>
                  <a:gd name="T8" fmla="*/ 56 w 453"/>
                  <a:gd name="T9" fmla="*/ 0 h 114"/>
                  <a:gd name="T10" fmla="*/ 227 w 453"/>
                  <a:gd name="T11" fmla="*/ 0 h 114"/>
                  <a:gd name="T12" fmla="*/ 170 w 453"/>
                  <a:gd name="T13" fmla="*/ 57 h 114"/>
                  <a:gd name="T14" fmla="*/ 227 w 453"/>
                  <a:gd name="T15" fmla="*/ 114 h 114"/>
                  <a:gd name="T16" fmla="*/ 283 w 453"/>
                  <a:gd name="T17" fmla="*/ 57 h 114"/>
                  <a:gd name="T18" fmla="*/ 227 w 453"/>
                  <a:gd name="T19" fmla="*/ 0 h 114"/>
                  <a:gd name="T20" fmla="*/ 397 w 453"/>
                  <a:gd name="T21" fmla="*/ 0 h 114"/>
                  <a:gd name="T22" fmla="*/ 340 w 453"/>
                  <a:gd name="T23" fmla="*/ 57 h 114"/>
                  <a:gd name="T24" fmla="*/ 397 w 453"/>
                  <a:gd name="T25" fmla="*/ 114 h 114"/>
                  <a:gd name="T26" fmla="*/ 453 w 453"/>
                  <a:gd name="T27" fmla="*/ 57 h 114"/>
                  <a:gd name="T28" fmla="*/ 397 w 453"/>
                  <a:gd name="T2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114">
                    <a:moveTo>
                      <a:pt x="56" y="0"/>
                    </a:moveTo>
                    <a:cubicBezTo>
                      <a:pt x="25" y="0"/>
                      <a:pt x="0" y="26"/>
                      <a:pt x="0" y="57"/>
                    </a:cubicBezTo>
                    <a:cubicBezTo>
                      <a:pt x="0" y="88"/>
                      <a:pt x="25" y="114"/>
                      <a:pt x="56" y="114"/>
                    </a:cubicBezTo>
                    <a:cubicBezTo>
                      <a:pt x="88" y="114"/>
                      <a:pt x="113" y="88"/>
                      <a:pt x="113" y="57"/>
                    </a:cubicBezTo>
                    <a:cubicBezTo>
                      <a:pt x="113" y="26"/>
                      <a:pt x="88" y="0"/>
                      <a:pt x="56" y="0"/>
                    </a:cubicBezTo>
                    <a:close/>
                    <a:moveTo>
                      <a:pt x="227" y="0"/>
                    </a:moveTo>
                    <a:cubicBezTo>
                      <a:pt x="195" y="0"/>
                      <a:pt x="170" y="26"/>
                      <a:pt x="170" y="57"/>
                    </a:cubicBezTo>
                    <a:cubicBezTo>
                      <a:pt x="170" y="88"/>
                      <a:pt x="195" y="114"/>
                      <a:pt x="227" y="114"/>
                    </a:cubicBezTo>
                    <a:cubicBezTo>
                      <a:pt x="258" y="114"/>
                      <a:pt x="283" y="88"/>
                      <a:pt x="283" y="57"/>
                    </a:cubicBezTo>
                    <a:cubicBezTo>
                      <a:pt x="283" y="26"/>
                      <a:pt x="258" y="0"/>
                      <a:pt x="227" y="0"/>
                    </a:cubicBezTo>
                    <a:close/>
                    <a:moveTo>
                      <a:pt x="397" y="0"/>
                    </a:moveTo>
                    <a:cubicBezTo>
                      <a:pt x="365" y="0"/>
                      <a:pt x="340" y="26"/>
                      <a:pt x="340" y="57"/>
                    </a:cubicBezTo>
                    <a:cubicBezTo>
                      <a:pt x="340" y="88"/>
                      <a:pt x="365" y="114"/>
                      <a:pt x="397" y="114"/>
                    </a:cubicBezTo>
                    <a:cubicBezTo>
                      <a:pt x="428" y="114"/>
                      <a:pt x="453" y="88"/>
                      <a:pt x="453" y="57"/>
                    </a:cubicBezTo>
                    <a:cubicBezTo>
                      <a:pt x="453" y="26"/>
                      <a:pt x="428" y="0"/>
                      <a:pt x="3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79"/>
              <p:cNvSpPr>
                <a:spLocks noEditPoints="1"/>
              </p:cNvSpPr>
              <p:nvPr/>
            </p:nvSpPr>
            <p:spPr bwMode="auto">
              <a:xfrm>
                <a:off x="3298406" y="4132674"/>
                <a:ext cx="575512" cy="143475"/>
              </a:xfrm>
              <a:custGeom>
                <a:avLst/>
                <a:gdLst>
                  <a:gd name="T0" fmla="*/ 57 w 453"/>
                  <a:gd name="T1" fmla="*/ 0 h 113"/>
                  <a:gd name="T2" fmla="*/ 0 w 453"/>
                  <a:gd name="T3" fmla="*/ 57 h 113"/>
                  <a:gd name="T4" fmla="*/ 57 w 453"/>
                  <a:gd name="T5" fmla="*/ 113 h 113"/>
                  <a:gd name="T6" fmla="*/ 113 w 453"/>
                  <a:gd name="T7" fmla="*/ 57 h 113"/>
                  <a:gd name="T8" fmla="*/ 57 w 453"/>
                  <a:gd name="T9" fmla="*/ 0 h 113"/>
                  <a:gd name="T10" fmla="*/ 227 w 453"/>
                  <a:gd name="T11" fmla="*/ 0 h 113"/>
                  <a:gd name="T12" fmla="*/ 170 w 453"/>
                  <a:gd name="T13" fmla="*/ 57 h 113"/>
                  <a:gd name="T14" fmla="*/ 227 w 453"/>
                  <a:gd name="T15" fmla="*/ 113 h 113"/>
                  <a:gd name="T16" fmla="*/ 283 w 453"/>
                  <a:gd name="T17" fmla="*/ 57 h 113"/>
                  <a:gd name="T18" fmla="*/ 227 w 453"/>
                  <a:gd name="T19" fmla="*/ 0 h 113"/>
                  <a:gd name="T20" fmla="*/ 397 w 453"/>
                  <a:gd name="T21" fmla="*/ 0 h 113"/>
                  <a:gd name="T22" fmla="*/ 340 w 453"/>
                  <a:gd name="T23" fmla="*/ 57 h 113"/>
                  <a:gd name="T24" fmla="*/ 397 w 453"/>
                  <a:gd name="T25" fmla="*/ 113 h 113"/>
                  <a:gd name="T26" fmla="*/ 453 w 453"/>
                  <a:gd name="T27" fmla="*/ 57 h 113"/>
                  <a:gd name="T28" fmla="*/ 397 w 453"/>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113">
                    <a:moveTo>
                      <a:pt x="57" y="0"/>
                    </a:moveTo>
                    <a:cubicBezTo>
                      <a:pt x="25" y="0"/>
                      <a:pt x="0" y="25"/>
                      <a:pt x="0" y="57"/>
                    </a:cubicBezTo>
                    <a:cubicBezTo>
                      <a:pt x="0" y="88"/>
                      <a:pt x="25" y="113"/>
                      <a:pt x="57" y="113"/>
                    </a:cubicBezTo>
                    <a:cubicBezTo>
                      <a:pt x="88" y="113"/>
                      <a:pt x="113" y="88"/>
                      <a:pt x="113" y="57"/>
                    </a:cubicBezTo>
                    <a:cubicBezTo>
                      <a:pt x="113" y="25"/>
                      <a:pt x="88" y="0"/>
                      <a:pt x="57" y="0"/>
                    </a:cubicBezTo>
                    <a:close/>
                    <a:moveTo>
                      <a:pt x="227" y="0"/>
                    </a:moveTo>
                    <a:cubicBezTo>
                      <a:pt x="195" y="0"/>
                      <a:pt x="170" y="25"/>
                      <a:pt x="170" y="57"/>
                    </a:cubicBezTo>
                    <a:cubicBezTo>
                      <a:pt x="170" y="88"/>
                      <a:pt x="195" y="113"/>
                      <a:pt x="227" y="113"/>
                    </a:cubicBezTo>
                    <a:cubicBezTo>
                      <a:pt x="258" y="113"/>
                      <a:pt x="283" y="88"/>
                      <a:pt x="283" y="57"/>
                    </a:cubicBezTo>
                    <a:cubicBezTo>
                      <a:pt x="283" y="25"/>
                      <a:pt x="258" y="0"/>
                      <a:pt x="227" y="0"/>
                    </a:cubicBezTo>
                    <a:close/>
                    <a:moveTo>
                      <a:pt x="397" y="0"/>
                    </a:moveTo>
                    <a:cubicBezTo>
                      <a:pt x="365" y="0"/>
                      <a:pt x="340" y="25"/>
                      <a:pt x="340" y="57"/>
                    </a:cubicBezTo>
                    <a:cubicBezTo>
                      <a:pt x="340" y="88"/>
                      <a:pt x="365" y="113"/>
                      <a:pt x="397" y="113"/>
                    </a:cubicBezTo>
                    <a:cubicBezTo>
                      <a:pt x="428" y="113"/>
                      <a:pt x="453" y="88"/>
                      <a:pt x="453" y="57"/>
                    </a:cubicBezTo>
                    <a:cubicBezTo>
                      <a:pt x="453" y="25"/>
                      <a:pt x="428" y="0"/>
                      <a:pt x="3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0"/>
              <p:cNvSpPr>
                <a:spLocks noEditPoints="1"/>
              </p:cNvSpPr>
              <p:nvPr/>
            </p:nvSpPr>
            <p:spPr bwMode="auto">
              <a:xfrm>
                <a:off x="3082925" y="3916655"/>
                <a:ext cx="574975" cy="143475"/>
              </a:xfrm>
              <a:custGeom>
                <a:avLst/>
                <a:gdLst>
                  <a:gd name="T0" fmla="*/ 56 w 453"/>
                  <a:gd name="T1" fmla="*/ 0 h 113"/>
                  <a:gd name="T2" fmla="*/ 0 w 453"/>
                  <a:gd name="T3" fmla="*/ 57 h 113"/>
                  <a:gd name="T4" fmla="*/ 56 w 453"/>
                  <a:gd name="T5" fmla="*/ 113 h 113"/>
                  <a:gd name="T6" fmla="*/ 113 w 453"/>
                  <a:gd name="T7" fmla="*/ 57 h 113"/>
                  <a:gd name="T8" fmla="*/ 56 w 453"/>
                  <a:gd name="T9" fmla="*/ 0 h 113"/>
                  <a:gd name="T10" fmla="*/ 227 w 453"/>
                  <a:gd name="T11" fmla="*/ 0 h 113"/>
                  <a:gd name="T12" fmla="*/ 170 w 453"/>
                  <a:gd name="T13" fmla="*/ 57 h 113"/>
                  <a:gd name="T14" fmla="*/ 227 w 453"/>
                  <a:gd name="T15" fmla="*/ 113 h 113"/>
                  <a:gd name="T16" fmla="*/ 283 w 453"/>
                  <a:gd name="T17" fmla="*/ 57 h 113"/>
                  <a:gd name="T18" fmla="*/ 227 w 453"/>
                  <a:gd name="T19" fmla="*/ 0 h 113"/>
                  <a:gd name="T20" fmla="*/ 397 w 453"/>
                  <a:gd name="T21" fmla="*/ 0 h 113"/>
                  <a:gd name="T22" fmla="*/ 340 w 453"/>
                  <a:gd name="T23" fmla="*/ 57 h 113"/>
                  <a:gd name="T24" fmla="*/ 397 w 453"/>
                  <a:gd name="T25" fmla="*/ 113 h 113"/>
                  <a:gd name="T26" fmla="*/ 453 w 453"/>
                  <a:gd name="T27" fmla="*/ 57 h 113"/>
                  <a:gd name="T28" fmla="*/ 397 w 453"/>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3" h="113">
                    <a:moveTo>
                      <a:pt x="56" y="0"/>
                    </a:moveTo>
                    <a:cubicBezTo>
                      <a:pt x="25" y="0"/>
                      <a:pt x="0" y="25"/>
                      <a:pt x="0" y="57"/>
                    </a:cubicBezTo>
                    <a:cubicBezTo>
                      <a:pt x="0" y="88"/>
                      <a:pt x="25" y="113"/>
                      <a:pt x="56" y="113"/>
                    </a:cubicBezTo>
                    <a:cubicBezTo>
                      <a:pt x="88" y="113"/>
                      <a:pt x="113" y="88"/>
                      <a:pt x="113" y="57"/>
                    </a:cubicBezTo>
                    <a:cubicBezTo>
                      <a:pt x="113" y="25"/>
                      <a:pt x="88" y="0"/>
                      <a:pt x="56" y="0"/>
                    </a:cubicBezTo>
                    <a:close/>
                    <a:moveTo>
                      <a:pt x="227" y="0"/>
                    </a:moveTo>
                    <a:cubicBezTo>
                      <a:pt x="195" y="0"/>
                      <a:pt x="170" y="25"/>
                      <a:pt x="170" y="57"/>
                    </a:cubicBezTo>
                    <a:cubicBezTo>
                      <a:pt x="170" y="88"/>
                      <a:pt x="195" y="113"/>
                      <a:pt x="227" y="113"/>
                    </a:cubicBezTo>
                    <a:cubicBezTo>
                      <a:pt x="258" y="113"/>
                      <a:pt x="283" y="88"/>
                      <a:pt x="283" y="57"/>
                    </a:cubicBezTo>
                    <a:cubicBezTo>
                      <a:pt x="283" y="25"/>
                      <a:pt x="258" y="0"/>
                      <a:pt x="227" y="0"/>
                    </a:cubicBezTo>
                    <a:close/>
                    <a:moveTo>
                      <a:pt x="397" y="0"/>
                    </a:moveTo>
                    <a:cubicBezTo>
                      <a:pt x="365" y="0"/>
                      <a:pt x="340" y="25"/>
                      <a:pt x="340" y="57"/>
                    </a:cubicBezTo>
                    <a:cubicBezTo>
                      <a:pt x="340" y="88"/>
                      <a:pt x="365" y="113"/>
                      <a:pt x="397" y="113"/>
                    </a:cubicBezTo>
                    <a:cubicBezTo>
                      <a:pt x="428" y="113"/>
                      <a:pt x="453" y="88"/>
                      <a:pt x="453" y="57"/>
                    </a:cubicBezTo>
                    <a:cubicBezTo>
                      <a:pt x="453" y="25"/>
                      <a:pt x="428" y="0"/>
                      <a:pt x="3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 name="Rectangle 6"/>
          <p:cNvSpPr/>
          <p:nvPr/>
        </p:nvSpPr>
        <p:spPr bwMode="auto">
          <a:xfrm>
            <a:off x="1865964" y="2838573"/>
            <a:ext cx="1206829"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anchor="ctr">
            <a:spAutoFit/>
          </a:bodyPr>
          <a:lstStyle/>
          <a:p>
            <a:pPr algn="ctr">
              <a:defRPr/>
            </a:pPr>
            <a:r>
              <a:rPr lang="en-GB" sz="1200" dirty="0">
                <a:solidFill>
                  <a:schemeClr val="bg1"/>
                </a:solidFill>
              </a:rPr>
              <a:t>Development</a:t>
            </a:r>
          </a:p>
        </p:txBody>
      </p:sp>
      <p:sp>
        <p:nvSpPr>
          <p:cNvPr id="18" name="Rectangle 17"/>
          <p:cNvSpPr/>
          <p:nvPr/>
        </p:nvSpPr>
        <p:spPr bwMode="auto">
          <a:xfrm>
            <a:off x="3961861" y="2838573"/>
            <a:ext cx="1206829"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Ins="0" anchor="ctr">
            <a:spAutoFit/>
          </a:bodyPr>
          <a:lstStyle/>
          <a:p>
            <a:pPr algn="ctr">
              <a:defRPr/>
            </a:pPr>
            <a:r>
              <a:rPr lang="en-GB" sz="1200" dirty="0">
                <a:solidFill>
                  <a:schemeClr val="bg1"/>
                </a:solidFill>
              </a:rPr>
              <a:t>Operations</a:t>
            </a:r>
          </a:p>
        </p:txBody>
      </p:sp>
      <p:sp>
        <p:nvSpPr>
          <p:cNvPr id="62" name="Pentagon 61"/>
          <p:cNvSpPr/>
          <p:nvPr/>
        </p:nvSpPr>
        <p:spPr>
          <a:xfrm>
            <a:off x="1836042" y="2447525"/>
            <a:ext cx="2231841" cy="1059095"/>
          </a:xfrm>
          <a:prstGeom prst="homePlat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Pentagon 63"/>
          <p:cNvSpPr/>
          <p:nvPr/>
        </p:nvSpPr>
        <p:spPr>
          <a:xfrm rot="10800000">
            <a:off x="3004862" y="2447525"/>
            <a:ext cx="2231841" cy="1059095"/>
          </a:xfrm>
          <a:prstGeom prst="homePlat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1790164" y="3290453"/>
            <a:ext cx="5105502" cy="1335727"/>
            <a:chOff x="1790164" y="2852707"/>
            <a:chExt cx="5105502" cy="1335727"/>
          </a:xfrm>
        </p:grpSpPr>
        <p:sp>
          <p:nvSpPr>
            <p:cNvPr id="10" name="Right Arrow 9"/>
            <p:cNvSpPr/>
            <p:nvPr/>
          </p:nvSpPr>
          <p:spPr>
            <a:xfrm>
              <a:off x="1790164" y="3091899"/>
              <a:ext cx="4170797" cy="1096535"/>
            </a:xfrm>
            <a:prstGeom prst="rightArrow">
              <a:avLst>
                <a:gd name="adj1" fmla="val 68236"/>
                <a:gd name="adj2" fmla="val 50000"/>
              </a:avLst>
            </a:prstGeom>
            <a:solidFill>
              <a:schemeClr val="accent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200" dirty="0" smtClean="0">
                  <a:solidFill>
                    <a:schemeClr val="bg1"/>
                  </a:solidFill>
                  <a:latin typeface="SimSun" panose="02010600030101010101" pitchFamily="2" charset="-122"/>
                  <a:ea typeface="SimSun" panose="02010600030101010101" pitchFamily="2" charset="-122"/>
                </a:rPr>
                <a:t>稳定并保持可操作性的软件</a:t>
              </a:r>
              <a:endParaRPr lang="en-GB" sz="1200" dirty="0">
                <a:solidFill>
                  <a:schemeClr val="bg1"/>
                </a:solidFill>
                <a:latin typeface="SimSun" panose="02010600030101010101" pitchFamily="2" charset="-122"/>
                <a:ea typeface="SimSun" panose="02010600030101010101" pitchFamily="2" charset="-122"/>
              </a:endParaRPr>
            </a:p>
            <a:p>
              <a:pPr>
                <a:defRPr/>
              </a:pPr>
              <a:r>
                <a:rPr lang="zh-CN" altLang="en-US" sz="1200" dirty="0" smtClean="0">
                  <a:solidFill>
                    <a:schemeClr val="bg1"/>
                  </a:solidFill>
                  <a:latin typeface="SimSun" panose="02010600030101010101" pitchFamily="2" charset="-122"/>
                  <a:ea typeface="SimSun" panose="02010600030101010101" pitchFamily="2" charset="-122"/>
                </a:rPr>
                <a:t>可持续性，以及最优质的发布流程</a:t>
              </a:r>
              <a:endParaRPr lang="en-GB" sz="1200" dirty="0">
                <a:solidFill>
                  <a:schemeClr val="bg1"/>
                </a:solidFill>
                <a:latin typeface="SimSun" panose="02010600030101010101" pitchFamily="2" charset="-122"/>
                <a:ea typeface="SimSun" panose="02010600030101010101" pitchFamily="2" charset="-122"/>
              </a:endParaRPr>
            </a:p>
            <a:p>
              <a:pPr>
                <a:defRPr/>
              </a:pPr>
              <a:r>
                <a:rPr lang="zh-CN" altLang="en-US" sz="1200" dirty="0" smtClean="0">
                  <a:solidFill>
                    <a:schemeClr val="bg1"/>
                  </a:solidFill>
                  <a:latin typeface="SimSun" panose="02010600030101010101" pitchFamily="2" charset="-122"/>
                  <a:ea typeface="SimSun" panose="02010600030101010101" pitchFamily="2" charset="-122"/>
                </a:rPr>
                <a:t>坚持构筑性和平台标准</a:t>
              </a:r>
              <a:endParaRPr lang="en-GB" sz="1200" dirty="0">
                <a:solidFill>
                  <a:schemeClr val="bg1"/>
                </a:solidFill>
                <a:latin typeface="SimSun" panose="02010600030101010101" pitchFamily="2" charset="-122"/>
                <a:ea typeface="SimSun" panose="02010600030101010101" pitchFamily="2" charset="-122"/>
              </a:endParaRPr>
            </a:p>
          </p:txBody>
        </p:sp>
        <p:sp>
          <p:nvSpPr>
            <p:cNvPr id="32" name="Rectangular Callout 31"/>
            <p:cNvSpPr/>
            <p:nvPr/>
          </p:nvSpPr>
          <p:spPr>
            <a:xfrm>
              <a:off x="5671666" y="2852707"/>
              <a:ext cx="1224000" cy="357800"/>
            </a:xfrm>
            <a:prstGeom prst="wedgeRectCallout">
              <a:avLst>
                <a:gd name="adj1" fmla="val -33433"/>
                <a:gd name="adj2" fmla="val 93381"/>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smtClean="0">
                  <a:solidFill>
                    <a:schemeClr val="accent2"/>
                  </a:solidFill>
                  <a:latin typeface="SimSun" panose="02010600030101010101" pitchFamily="2" charset="-122"/>
                  <a:ea typeface="SimSun" panose="02010600030101010101" pitchFamily="2" charset="-122"/>
                </a:rPr>
                <a:t>我喜欢 ♥</a:t>
              </a:r>
              <a:endParaRPr lang="en-US" sz="1200" dirty="0">
                <a:solidFill>
                  <a:schemeClr val="accent2"/>
                </a:solidFill>
                <a:latin typeface="SimSun" panose="02010600030101010101" pitchFamily="2" charset="-122"/>
                <a:ea typeface="SimSun" panose="02010600030101010101" pitchFamily="2" charset="-122"/>
              </a:endParaRPr>
            </a:p>
          </p:txBody>
        </p:sp>
      </p:grpSp>
      <p:sp>
        <p:nvSpPr>
          <p:cNvPr id="33" name="Rectangular Callout 32"/>
          <p:cNvSpPr/>
          <p:nvPr/>
        </p:nvSpPr>
        <p:spPr>
          <a:xfrm>
            <a:off x="334974" y="2487534"/>
            <a:ext cx="1224000" cy="357800"/>
          </a:xfrm>
          <a:prstGeom prst="wedgeRectCallout">
            <a:avLst>
              <a:gd name="adj1" fmla="val 33669"/>
              <a:gd name="adj2" fmla="val 95529"/>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200" dirty="0" smtClean="0">
                <a:solidFill>
                  <a:schemeClr val="accent1"/>
                </a:solidFill>
                <a:latin typeface="SimSun" panose="02010600030101010101" pitchFamily="2" charset="-122"/>
                <a:ea typeface="SimSun" panose="02010600030101010101" pitchFamily="2" charset="-122"/>
              </a:rPr>
              <a:t>我想要做些修改</a:t>
            </a:r>
            <a:endParaRPr lang="en-US" sz="1200" dirty="0">
              <a:solidFill>
                <a:schemeClr val="accent1"/>
              </a:solidFill>
              <a:latin typeface="SimSun" panose="02010600030101010101" pitchFamily="2" charset="-122"/>
              <a:ea typeface="SimSun" panose="02010600030101010101" pitchFamily="2" charset="-122"/>
            </a:endParaRPr>
          </a:p>
        </p:txBody>
      </p:sp>
      <p:sp>
        <p:nvSpPr>
          <p:cNvPr id="9" name="TextBox 8"/>
          <p:cNvSpPr txBox="1"/>
          <p:nvPr/>
        </p:nvSpPr>
        <p:spPr>
          <a:xfrm>
            <a:off x="2137271" y="1612401"/>
            <a:ext cx="2954655" cy="369332"/>
          </a:xfrm>
          <a:prstGeom prst="rect">
            <a:avLst/>
          </a:prstGeom>
          <a:noFill/>
        </p:spPr>
        <p:txBody>
          <a:bodyPr wrap="none" rtlCol="0">
            <a:spAutoFit/>
          </a:bodyPr>
          <a:lstStyle/>
          <a:p>
            <a:r>
              <a:rPr lang="en-GB"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我们需要一起来工作了</a:t>
            </a:r>
            <a:r>
              <a:rPr lang="en-GB" dirty="0" smtClean="0">
                <a:latin typeface="SimSun" panose="02010600030101010101" pitchFamily="2" charset="-122"/>
                <a:ea typeface="SimSun" panose="02010600030101010101" pitchFamily="2" charset="-122"/>
              </a:rPr>
              <a:t>”</a:t>
            </a:r>
            <a:endParaRPr lang="en-GB" dirty="0">
              <a:latin typeface="SimSun" panose="02010600030101010101" pitchFamily="2" charset="-122"/>
              <a:ea typeface="SimSun" panose="02010600030101010101" pitchFamily="2" charset="-122"/>
            </a:endParaRPr>
          </a:p>
        </p:txBody>
      </p:sp>
      <p:sp>
        <p:nvSpPr>
          <p:cNvPr id="34" name="Rectangle 33"/>
          <p:cNvSpPr/>
          <p:nvPr/>
        </p:nvSpPr>
        <p:spPr>
          <a:xfrm>
            <a:off x="455612" y="5708505"/>
            <a:ext cx="8231187" cy="602830"/>
          </a:xfrm>
          <a:prstGeom prst="rect">
            <a:avLst/>
          </a:prstGeom>
          <a:solidFill>
            <a:schemeClr val="accent1"/>
          </a:solidFill>
          <a:ln w="28575">
            <a:solidFill>
              <a:schemeClr val="accent1"/>
            </a:solidFill>
          </a:ln>
        </p:spPr>
        <p:txBody>
          <a:bodyPr wrap="square" tIns="108000" bIns="108000">
            <a:spAutoFit/>
          </a:bodyPr>
          <a:lstStyle/>
          <a:p>
            <a:r>
              <a:rPr lang="en-GB" sz="1400" dirty="0" smtClean="0">
                <a:solidFill>
                  <a:schemeClr val="bg1"/>
                </a:solidFill>
                <a:latin typeface="SimSun" panose="02010600030101010101" pitchFamily="2" charset="-122"/>
                <a:ea typeface="SimSun" panose="02010600030101010101" pitchFamily="2" charset="-122"/>
              </a:rPr>
              <a:t>DevOps </a:t>
            </a:r>
            <a:r>
              <a:rPr lang="zh-CN" altLang="en-US" sz="1400" dirty="0" smtClean="0">
                <a:solidFill>
                  <a:schemeClr val="bg1"/>
                </a:solidFill>
                <a:latin typeface="SimSun" panose="02010600030101010101" pitchFamily="2" charset="-122"/>
                <a:ea typeface="SimSun" panose="02010600030101010101" pitchFamily="2" charset="-122"/>
              </a:rPr>
              <a:t>是一种组织架构，它使你可以尽快的发布，同时也不至于让其失去控制。</a:t>
            </a:r>
            <a:r>
              <a:rPr lang="en-GB" sz="1400" dirty="0" smtClean="0">
                <a:solidFill>
                  <a:schemeClr val="bg1"/>
                </a:solidFill>
                <a:latin typeface="SimSun" panose="02010600030101010101" pitchFamily="2" charset="-122"/>
                <a:ea typeface="SimSun" panose="02010600030101010101" pitchFamily="2" charset="-122"/>
              </a:rPr>
              <a:t> </a:t>
            </a:r>
          </a:p>
          <a:p>
            <a:r>
              <a:rPr lang="en-GB" sz="1100" dirty="0" smtClean="0">
                <a:solidFill>
                  <a:schemeClr val="bg1"/>
                </a:solidFill>
                <a:latin typeface="SimSun" panose="02010600030101010101" pitchFamily="2" charset="-122"/>
                <a:ea typeface="SimSun" panose="02010600030101010101" pitchFamily="2" charset="-122"/>
              </a:rPr>
              <a:t>Markos Rendell</a:t>
            </a:r>
            <a:endParaRPr lang="en-GB" sz="1100" dirty="0">
              <a:solidFill>
                <a:schemeClr val="bg1"/>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587753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1000"/>
                                        <p:tgtEl>
                                          <p:spTgt spid="33"/>
                                        </p:tgtEl>
                                      </p:cBhvr>
                                    </p:animEffect>
                                    <p:anim calcmode="lin" valueType="num">
                                      <p:cBhvr>
                                        <p:cTn id="13" dur="1000" fill="hold"/>
                                        <p:tgtEl>
                                          <p:spTgt spid="33"/>
                                        </p:tgtEl>
                                        <p:attrNameLst>
                                          <p:attrName>ppt_x</p:attrName>
                                        </p:attrNameLst>
                                      </p:cBhvr>
                                      <p:tavLst>
                                        <p:tav tm="0">
                                          <p:val>
                                            <p:strVal val="#ppt_x"/>
                                          </p:val>
                                        </p:tav>
                                        <p:tav tm="100000">
                                          <p:val>
                                            <p:strVal val="#ppt_x"/>
                                          </p:val>
                                        </p:tav>
                                      </p:tavLst>
                                    </p:anim>
                                    <p:anim calcmode="lin" valueType="num">
                                      <p:cBhvr>
                                        <p:cTn id="14" dur="1000" fill="hold"/>
                                        <p:tgtEl>
                                          <p:spTgt spid="33"/>
                                        </p:tgtEl>
                                        <p:attrNameLst>
                                          <p:attrName>ppt_y</p:attrName>
                                        </p:attrNameLst>
                                      </p:cBhvr>
                                      <p:tavLst>
                                        <p:tav tm="0">
                                          <p:val>
                                            <p:strVal val="#ppt_y+.1"/>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anim calcmode="lin" valueType="num">
                                      <p:cBhvr additive="base">
                                        <p:cTn id="21" dur="500" fill="hold"/>
                                        <p:tgtEl>
                                          <p:spTgt spid="62"/>
                                        </p:tgtEl>
                                        <p:attrNameLst>
                                          <p:attrName>ppt_x</p:attrName>
                                        </p:attrNameLst>
                                      </p:cBhvr>
                                      <p:tavLst>
                                        <p:tav tm="0">
                                          <p:val>
                                            <p:strVal val="0-#ppt_w/2"/>
                                          </p:val>
                                        </p:tav>
                                        <p:tav tm="100000">
                                          <p:val>
                                            <p:strVal val="#ppt_x"/>
                                          </p:val>
                                        </p:tav>
                                      </p:tavLst>
                                    </p:anim>
                                    <p:anim calcmode="lin" valueType="num">
                                      <p:cBhvr additive="base">
                                        <p:cTn id="22" dur="500" fill="hold"/>
                                        <p:tgtEl>
                                          <p:spTgt spid="62"/>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grpId="0" nodeType="clickEffect">
                                  <p:stCondLst>
                                    <p:cond delay="0"/>
                                  </p:stCondLst>
                                  <p:childTnLst>
                                    <p:set>
                                      <p:cBhvr>
                                        <p:cTn id="26" dur="1" fill="hold">
                                          <p:stCondLst>
                                            <p:cond delay="0"/>
                                          </p:stCondLst>
                                        </p:cTn>
                                        <p:tgtEl>
                                          <p:spTgt spid="60"/>
                                        </p:tgtEl>
                                        <p:attrNameLst>
                                          <p:attrName>style.visibility</p:attrName>
                                        </p:attrNameLst>
                                      </p:cBhvr>
                                      <p:to>
                                        <p:strVal val="visible"/>
                                      </p:to>
                                    </p:set>
                                    <p:anim calcmode="lin" valueType="num">
                                      <p:cBhvr additive="base">
                                        <p:cTn id="27" dur="500" fill="hold"/>
                                        <p:tgtEl>
                                          <p:spTgt spid="60"/>
                                        </p:tgtEl>
                                        <p:attrNameLst>
                                          <p:attrName>ppt_x</p:attrName>
                                        </p:attrNameLst>
                                      </p:cBhvr>
                                      <p:tavLst>
                                        <p:tav tm="0">
                                          <p:val>
                                            <p:strVal val="1+#ppt_w/2"/>
                                          </p:val>
                                        </p:tav>
                                        <p:tav tm="100000">
                                          <p:val>
                                            <p:strVal val="#ppt_x"/>
                                          </p:val>
                                        </p:tav>
                                      </p:tavLst>
                                    </p:anim>
                                    <p:anim calcmode="lin" valueType="num">
                                      <p:cBhvr additive="base">
                                        <p:cTn id="28" dur="500" fill="hold"/>
                                        <p:tgtEl>
                                          <p:spTgt spid="60"/>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1+#ppt_w/2"/>
                                          </p:val>
                                        </p:tav>
                                        <p:tav tm="100000">
                                          <p:val>
                                            <p:strVal val="#ppt_x"/>
                                          </p:val>
                                        </p:tav>
                                      </p:tavLst>
                                    </p:anim>
                                    <p:anim calcmode="lin" valueType="num">
                                      <p:cBhvr additive="base">
                                        <p:cTn id="32" dur="500" fill="hold"/>
                                        <p:tgtEl>
                                          <p:spTgt spid="18"/>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64"/>
                                        </p:tgtEl>
                                        <p:attrNameLst>
                                          <p:attrName>style.visibility</p:attrName>
                                        </p:attrNameLst>
                                      </p:cBhvr>
                                      <p:to>
                                        <p:strVal val="visible"/>
                                      </p:to>
                                    </p:set>
                                    <p:anim calcmode="lin" valueType="num">
                                      <p:cBhvr additive="base">
                                        <p:cTn id="35" dur="500" fill="hold"/>
                                        <p:tgtEl>
                                          <p:spTgt spid="64"/>
                                        </p:tgtEl>
                                        <p:attrNameLst>
                                          <p:attrName>ppt_x</p:attrName>
                                        </p:attrNameLst>
                                      </p:cBhvr>
                                      <p:tavLst>
                                        <p:tav tm="0">
                                          <p:val>
                                            <p:strVal val="1+#ppt_w/2"/>
                                          </p:val>
                                        </p:tav>
                                        <p:tav tm="100000">
                                          <p:val>
                                            <p:strVal val="#ppt_x"/>
                                          </p:val>
                                        </p:tav>
                                      </p:tavLst>
                                    </p:anim>
                                    <p:anim calcmode="lin" valueType="num">
                                      <p:cBhvr additive="base">
                                        <p:cTn id="36" dur="500" fill="hold"/>
                                        <p:tgtEl>
                                          <p:spTgt spid="64"/>
                                        </p:tgtEl>
                                        <p:attrNameLst>
                                          <p:attrName>ppt_y</p:attrName>
                                        </p:attrNameLst>
                                      </p:cBhvr>
                                      <p:tavLst>
                                        <p:tav tm="0">
                                          <p:val>
                                            <p:strVal val="#ppt_y"/>
                                          </p:val>
                                        </p:tav>
                                        <p:tav tm="100000">
                                          <p:val>
                                            <p:strVal val="#ppt_y"/>
                                          </p:val>
                                        </p:tav>
                                      </p:tavLst>
                                    </p:anim>
                                  </p:childTnLst>
                                </p:cTn>
                              </p:par>
                              <p:par>
                                <p:cTn id="37" presetID="42" presetClass="entr" presetSubtype="0" fill="hold" grpId="0" nodeType="withEffect">
                                  <p:stCondLst>
                                    <p:cond delay="25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anim calcmode="lin" valueType="num">
                                      <p:cBhvr>
                                        <p:cTn id="40" dur="500" fill="hold"/>
                                        <p:tgtEl>
                                          <p:spTgt spid="59"/>
                                        </p:tgtEl>
                                        <p:attrNameLst>
                                          <p:attrName>ppt_x</p:attrName>
                                        </p:attrNameLst>
                                      </p:cBhvr>
                                      <p:tavLst>
                                        <p:tav tm="0">
                                          <p:val>
                                            <p:strVal val="#ppt_x"/>
                                          </p:val>
                                        </p:tav>
                                        <p:tav tm="100000">
                                          <p:val>
                                            <p:strVal val="#ppt_x"/>
                                          </p:val>
                                        </p:tav>
                                      </p:tavLst>
                                    </p:anim>
                                    <p:anim calcmode="lin" valueType="num">
                                      <p:cBhvr>
                                        <p:cTn id="41" dur="5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wipe(down)">
                                      <p:cBhvr>
                                        <p:cTn id="46" dur="500"/>
                                        <p:tgtEl>
                                          <p:spTgt spid="8"/>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nodeType="clickEffect">
                                  <p:stCondLst>
                                    <p:cond delay="0"/>
                                  </p:stCondLst>
                                  <p:childTnLst>
                                    <p:set>
                                      <p:cBhvr>
                                        <p:cTn id="50" dur="1" fill="hold">
                                          <p:stCondLst>
                                            <p:cond delay="0"/>
                                          </p:stCondLst>
                                        </p:cTn>
                                        <p:tgtEl>
                                          <p:spTgt spid="2"/>
                                        </p:tgtEl>
                                        <p:attrNameLst>
                                          <p:attrName>style.visibility</p:attrName>
                                        </p:attrNameLst>
                                      </p:cBhvr>
                                      <p:to>
                                        <p:strVal val="visible"/>
                                      </p:to>
                                    </p:set>
                                    <p:animEffect transition="in" filter="wipe(down)">
                                      <p:cBhvr>
                                        <p:cTn id="51" dur="500"/>
                                        <p:tgtEl>
                                          <p:spTgt spid="2"/>
                                        </p:tgtEl>
                                      </p:cBhvr>
                                    </p:animEffect>
                                  </p:childTnLst>
                                </p:cTn>
                              </p:par>
                            </p:childTnLst>
                          </p:cTn>
                        </p:par>
                        <p:par>
                          <p:cTn id="52" fill="hold">
                            <p:stCondLst>
                              <p:cond delay="500"/>
                            </p:stCondLst>
                            <p:childTnLst>
                              <p:par>
                                <p:cTn id="53" presetID="53" presetClass="entr" presetSubtype="16"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 calcmode="lin" valueType="num">
                                      <p:cBhvr>
                                        <p:cTn id="55" dur="500" fill="hold"/>
                                        <p:tgtEl>
                                          <p:spTgt spid="12"/>
                                        </p:tgtEl>
                                        <p:attrNameLst>
                                          <p:attrName>ppt_w</p:attrName>
                                        </p:attrNameLst>
                                      </p:cBhvr>
                                      <p:tavLst>
                                        <p:tav tm="0">
                                          <p:val>
                                            <p:fltVal val="0"/>
                                          </p:val>
                                        </p:tav>
                                        <p:tav tm="100000">
                                          <p:val>
                                            <p:strVal val="#ppt_w"/>
                                          </p:val>
                                        </p:tav>
                                      </p:tavLst>
                                    </p:anim>
                                    <p:anim calcmode="lin" valueType="num">
                                      <p:cBhvr>
                                        <p:cTn id="56" dur="500" fill="hold"/>
                                        <p:tgtEl>
                                          <p:spTgt spid="12"/>
                                        </p:tgtEl>
                                        <p:attrNameLst>
                                          <p:attrName>ppt_h</p:attrName>
                                        </p:attrNameLst>
                                      </p:cBhvr>
                                      <p:tavLst>
                                        <p:tav tm="0">
                                          <p:val>
                                            <p:fltVal val="0"/>
                                          </p:val>
                                        </p:tav>
                                        <p:tav tm="100000">
                                          <p:val>
                                            <p:strVal val="#ppt_h"/>
                                          </p:val>
                                        </p:tav>
                                      </p:tavLst>
                                    </p:anim>
                                    <p:animEffect transition="in" filter="fade">
                                      <p:cBhvr>
                                        <p:cTn id="57" dur="500"/>
                                        <p:tgtEl>
                                          <p:spTgt spid="12"/>
                                        </p:tgtEl>
                                      </p:cBhvr>
                                    </p:animEffect>
                                  </p:childTnLst>
                                </p:cTn>
                              </p:par>
                            </p:childTnLst>
                          </p:cTn>
                        </p:par>
                        <p:par>
                          <p:cTn id="58" fill="hold">
                            <p:stCondLst>
                              <p:cond delay="1000"/>
                            </p:stCondLst>
                            <p:childTnLst>
                              <p:par>
                                <p:cTn id="59" presetID="22" presetClass="entr" presetSubtype="1" fill="hold" grpId="0" nodeType="afterEffect">
                                  <p:stCondLst>
                                    <p:cond delay="0"/>
                                  </p:stCondLst>
                                  <p:childTnLst>
                                    <p:set>
                                      <p:cBhvr>
                                        <p:cTn id="60" dur="1" fill="hold">
                                          <p:stCondLst>
                                            <p:cond delay="0"/>
                                          </p:stCondLst>
                                        </p:cTn>
                                        <p:tgtEl>
                                          <p:spTgt spid="69"/>
                                        </p:tgtEl>
                                        <p:attrNameLst>
                                          <p:attrName>style.visibility</p:attrName>
                                        </p:attrNameLst>
                                      </p:cBhvr>
                                      <p:to>
                                        <p:strVal val="visible"/>
                                      </p:to>
                                    </p:set>
                                    <p:animEffect transition="in" filter="wipe(up)">
                                      <p:cBhvr>
                                        <p:cTn id="61" dur="500"/>
                                        <p:tgtEl>
                                          <p:spTgt spid="69"/>
                                        </p:tgtEl>
                                      </p:cBhvr>
                                    </p:animEffect>
                                  </p:childTnLst>
                                </p:cTn>
                              </p:par>
                            </p:childTnLst>
                          </p:cTn>
                        </p:par>
                        <p:par>
                          <p:cTn id="62" fill="hold">
                            <p:stCondLst>
                              <p:cond delay="1500"/>
                            </p:stCondLst>
                            <p:childTnLst>
                              <p:par>
                                <p:cTn id="63" presetID="53" presetClass="entr" presetSubtype="16" fill="hold" nodeType="afterEffect">
                                  <p:stCondLst>
                                    <p:cond delay="500"/>
                                  </p:stCondLst>
                                  <p:childTnLst>
                                    <p:set>
                                      <p:cBhvr>
                                        <p:cTn id="64" dur="1" fill="hold">
                                          <p:stCondLst>
                                            <p:cond delay="0"/>
                                          </p:stCondLst>
                                        </p:cTn>
                                        <p:tgtEl>
                                          <p:spTgt spid="23"/>
                                        </p:tgtEl>
                                        <p:attrNameLst>
                                          <p:attrName>style.visibility</p:attrName>
                                        </p:attrNameLst>
                                      </p:cBhvr>
                                      <p:to>
                                        <p:strVal val="visible"/>
                                      </p:to>
                                    </p:set>
                                    <p:anim calcmode="lin" valueType="num">
                                      <p:cBhvr>
                                        <p:cTn id="65" dur="300" fill="hold"/>
                                        <p:tgtEl>
                                          <p:spTgt spid="23"/>
                                        </p:tgtEl>
                                        <p:attrNameLst>
                                          <p:attrName>ppt_w</p:attrName>
                                        </p:attrNameLst>
                                      </p:cBhvr>
                                      <p:tavLst>
                                        <p:tav tm="0">
                                          <p:val>
                                            <p:fltVal val="0"/>
                                          </p:val>
                                        </p:tav>
                                        <p:tav tm="100000">
                                          <p:val>
                                            <p:strVal val="#ppt_w"/>
                                          </p:val>
                                        </p:tav>
                                      </p:tavLst>
                                    </p:anim>
                                    <p:anim calcmode="lin" valueType="num">
                                      <p:cBhvr>
                                        <p:cTn id="66" dur="300" fill="hold"/>
                                        <p:tgtEl>
                                          <p:spTgt spid="23"/>
                                        </p:tgtEl>
                                        <p:attrNameLst>
                                          <p:attrName>ppt_h</p:attrName>
                                        </p:attrNameLst>
                                      </p:cBhvr>
                                      <p:tavLst>
                                        <p:tav tm="0">
                                          <p:val>
                                            <p:fltVal val="0"/>
                                          </p:val>
                                        </p:tav>
                                        <p:tav tm="100000">
                                          <p:val>
                                            <p:strVal val="#ppt_h"/>
                                          </p:val>
                                        </p:tav>
                                      </p:tavLst>
                                    </p:anim>
                                    <p:animEffect transition="in" filter="fade">
                                      <p:cBhvr>
                                        <p:cTn id="67" dur="300"/>
                                        <p:tgtEl>
                                          <p:spTgt spid="2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wipe(left)">
                                      <p:cBhvr>
                                        <p:cTn id="70" dur="500"/>
                                        <p:tgtEl>
                                          <p:spTgt spid="22"/>
                                        </p:tgtEl>
                                      </p:cBhvr>
                                    </p:animEffect>
                                  </p:childTnLst>
                                </p:cTn>
                              </p:par>
                              <p:par>
                                <p:cTn id="71" presetID="6" presetClass="emph" presetSubtype="0" autoRev="1" fill="hold" nodeType="withEffect">
                                  <p:stCondLst>
                                    <p:cond delay="250"/>
                                  </p:stCondLst>
                                  <p:childTnLst>
                                    <p:animScale>
                                      <p:cBhvr>
                                        <p:cTn id="72" dur="100" fill="hold"/>
                                        <p:tgtEl>
                                          <p:spTgt spid="23"/>
                                        </p:tgtEl>
                                      </p:cBhvr>
                                      <p:by x="110000" y="110000"/>
                                    </p:animScale>
                                  </p:childTnLst>
                                </p:cTn>
                              </p:par>
                            </p:childTnLst>
                          </p:cTn>
                        </p:par>
                        <p:par>
                          <p:cTn id="73" fill="hold">
                            <p:stCondLst>
                              <p:cond delay="2300"/>
                            </p:stCondLst>
                            <p:childTnLst>
                              <p:par>
                                <p:cTn id="74" presetID="1" presetClass="entr" presetSubtype="0" fill="hold" grpId="0" nodeType="afterEffect">
                                  <p:stCondLst>
                                    <p:cond delay="0"/>
                                  </p:stCondLst>
                                  <p:childTnLst>
                                    <p:set>
                                      <p:cBhvr>
                                        <p:cTn id="75" dur="1" fill="hold">
                                          <p:stCondLst>
                                            <p:cond delay="0"/>
                                          </p:stCondLst>
                                        </p:cTn>
                                        <p:tgtEl>
                                          <p:spTgt spid="9"/>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53" presetClass="entr" presetSubtype="16" fill="hold" grpId="0" nodeType="clickEffect">
                                  <p:stCondLst>
                                    <p:cond delay="0"/>
                                  </p:stCondLst>
                                  <p:childTnLst>
                                    <p:set>
                                      <p:cBhvr>
                                        <p:cTn id="79" dur="1" fill="hold">
                                          <p:stCondLst>
                                            <p:cond delay="0"/>
                                          </p:stCondLst>
                                        </p:cTn>
                                        <p:tgtEl>
                                          <p:spTgt spid="34"/>
                                        </p:tgtEl>
                                        <p:attrNameLst>
                                          <p:attrName>style.visibility</p:attrName>
                                        </p:attrNameLst>
                                      </p:cBhvr>
                                      <p:to>
                                        <p:strVal val="visible"/>
                                      </p:to>
                                    </p:set>
                                    <p:anim calcmode="lin" valueType="num">
                                      <p:cBhvr>
                                        <p:cTn id="80" dur="300" fill="hold"/>
                                        <p:tgtEl>
                                          <p:spTgt spid="34"/>
                                        </p:tgtEl>
                                        <p:attrNameLst>
                                          <p:attrName>ppt_w</p:attrName>
                                        </p:attrNameLst>
                                      </p:cBhvr>
                                      <p:tavLst>
                                        <p:tav tm="0">
                                          <p:val>
                                            <p:fltVal val="0"/>
                                          </p:val>
                                        </p:tav>
                                        <p:tav tm="100000">
                                          <p:val>
                                            <p:strVal val="#ppt_w"/>
                                          </p:val>
                                        </p:tav>
                                      </p:tavLst>
                                    </p:anim>
                                    <p:anim calcmode="lin" valueType="num">
                                      <p:cBhvr>
                                        <p:cTn id="81" dur="300" fill="hold"/>
                                        <p:tgtEl>
                                          <p:spTgt spid="34"/>
                                        </p:tgtEl>
                                        <p:attrNameLst>
                                          <p:attrName>ppt_h</p:attrName>
                                        </p:attrNameLst>
                                      </p:cBhvr>
                                      <p:tavLst>
                                        <p:tav tm="0">
                                          <p:val>
                                            <p:fltVal val="0"/>
                                          </p:val>
                                        </p:tav>
                                        <p:tav tm="100000">
                                          <p:val>
                                            <p:strVal val="#ppt_h"/>
                                          </p:val>
                                        </p:tav>
                                      </p:tavLst>
                                    </p:anim>
                                    <p:animEffect transition="in" filter="fade">
                                      <p:cBhvr>
                                        <p:cTn id="82" dur="300"/>
                                        <p:tgtEl>
                                          <p:spTgt spid="34"/>
                                        </p:tgtEl>
                                      </p:cBhvr>
                                    </p:animEffect>
                                  </p:childTnLst>
                                </p:cTn>
                              </p:par>
                              <p:par>
                                <p:cTn id="83" presetID="6" presetClass="emph" presetSubtype="0" autoRev="1" fill="hold" grpId="1" nodeType="withEffect">
                                  <p:stCondLst>
                                    <p:cond delay="250"/>
                                  </p:stCondLst>
                                  <p:childTnLst>
                                    <p:animScale>
                                      <p:cBhvr>
                                        <p:cTn id="84" dur="100" fill="hold"/>
                                        <p:tgtEl>
                                          <p:spTgt spid="3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59" grpId="0" animBg="1"/>
      <p:bldP spid="4" grpId="0" animBg="1"/>
      <p:bldP spid="60" grpId="0" animBg="1"/>
      <p:bldP spid="12" grpId="0" animBg="1"/>
      <p:bldP spid="22" grpId="0"/>
      <p:bldP spid="7" grpId="0"/>
      <p:bldP spid="18" grpId="0"/>
      <p:bldP spid="62" grpId="0" animBg="1"/>
      <p:bldP spid="64" grpId="0" animBg="1"/>
      <p:bldP spid="33" grpId="0" animBg="1"/>
      <p:bldP spid="9" grpId="0"/>
      <p:bldP spid="34" grpId="0" animBg="1"/>
      <p:bldP spid="3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solidFill>
                  <a:srgbClr val="000000"/>
                </a:solidFill>
                <a:latin typeface="SimSun" panose="02010600030101010101" pitchFamily="2" charset="-122"/>
                <a:ea typeface="SimSun" panose="02010600030101010101" pitchFamily="2" charset="-122"/>
              </a:rPr>
              <a:t>精益模型</a:t>
            </a:r>
            <a:endParaRPr lang="en-GB" dirty="0">
              <a:solidFill>
                <a:srgbClr val="000000"/>
              </a:solidFill>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solidFill>
                  <a:schemeClr val="accent4"/>
                </a:solidFill>
                <a:latin typeface="SimSun" panose="02010600030101010101" pitchFamily="2" charset="-122"/>
                <a:ea typeface="SimSun" panose="02010600030101010101" pitchFamily="2" charset="-122"/>
              </a:rPr>
              <a:t>精益的软件公司</a:t>
            </a:r>
            <a:endParaRPr lang="en-GB" dirty="0">
              <a:solidFill>
                <a:schemeClr val="accent4"/>
              </a:solidFill>
              <a:latin typeface="SimSun" panose="02010600030101010101" pitchFamily="2" charset="-122"/>
              <a:ea typeface="SimSun" panose="02010600030101010101" pitchFamily="2" charset="-122"/>
            </a:endParaRPr>
          </a:p>
        </p:txBody>
      </p:sp>
      <p:sp>
        <p:nvSpPr>
          <p:cNvPr id="6" name="Rectangle 5"/>
          <p:cNvSpPr/>
          <p:nvPr/>
        </p:nvSpPr>
        <p:spPr>
          <a:xfrm>
            <a:off x="455613" y="5464905"/>
            <a:ext cx="8232775" cy="602520"/>
          </a:xfrm>
          <a:prstGeom prst="rect">
            <a:avLst/>
          </a:prstGeom>
          <a:solidFill>
            <a:schemeClr val="accent5"/>
          </a:solid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100" dirty="0" smtClean="0">
                <a:solidFill>
                  <a:schemeClr val="accent2"/>
                </a:solidFill>
                <a:latin typeface="SimSun" panose="02010600030101010101" pitchFamily="2" charset="-122"/>
                <a:ea typeface="SimSun" panose="02010600030101010101" pitchFamily="2" charset="-122"/>
              </a:rPr>
              <a:t>基础</a:t>
            </a:r>
            <a:r>
              <a:rPr lang="en-GB" sz="1100" dirty="0" smtClean="0">
                <a:solidFill>
                  <a:schemeClr val="accent2"/>
                </a:solidFill>
                <a:latin typeface="SimSun" panose="02010600030101010101" pitchFamily="2" charset="-122"/>
                <a:ea typeface="SimSun" panose="02010600030101010101" pitchFamily="2" charset="-122"/>
              </a:rPr>
              <a:t>: </a:t>
            </a:r>
            <a:r>
              <a:rPr lang="zh-CN" altLang="en-US" sz="1100" dirty="0" smtClean="0">
                <a:solidFill>
                  <a:schemeClr val="accent2"/>
                </a:solidFill>
                <a:latin typeface="SimSun" panose="02010600030101010101" pitchFamily="2" charset="-122"/>
                <a:ea typeface="SimSun" panose="02010600030101010101" pitchFamily="2" charset="-122"/>
              </a:rPr>
              <a:t>精益</a:t>
            </a:r>
            <a:r>
              <a:rPr lang="en-GB" sz="1100" dirty="0" smtClean="0">
                <a:solidFill>
                  <a:schemeClr val="accent2"/>
                </a:solidFill>
                <a:latin typeface="SimSun" panose="02010600030101010101" pitchFamily="2" charset="-122"/>
                <a:ea typeface="SimSun" panose="02010600030101010101" pitchFamily="2" charset="-122"/>
              </a:rPr>
              <a:t>-</a:t>
            </a:r>
            <a:r>
              <a:rPr lang="zh-CN" altLang="en-US" sz="1100" dirty="0" smtClean="0">
                <a:solidFill>
                  <a:schemeClr val="accent2"/>
                </a:solidFill>
                <a:latin typeface="SimSun" panose="02010600030101010101" pitchFamily="2" charset="-122"/>
                <a:ea typeface="SimSun" panose="02010600030101010101" pitchFamily="2" charset="-122"/>
              </a:rPr>
              <a:t>敏捷</a:t>
            </a:r>
            <a:r>
              <a:rPr lang="en-GB" sz="1100" dirty="0" smtClean="0">
                <a:solidFill>
                  <a:schemeClr val="accent2"/>
                </a:solidFill>
                <a:latin typeface="SimSun" panose="02010600030101010101" pitchFamily="2" charset="-122"/>
                <a:ea typeface="SimSun" panose="02010600030101010101" pitchFamily="2" charset="-122"/>
              </a:rPr>
              <a:t> </a:t>
            </a:r>
            <a:r>
              <a:rPr lang="zh-CN" altLang="en-US" sz="1100" dirty="0" smtClean="0">
                <a:solidFill>
                  <a:schemeClr val="accent2"/>
                </a:solidFill>
                <a:latin typeface="SimSun" panose="02010600030101010101" pitchFamily="2" charset="-122"/>
                <a:ea typeface="SimSun" panose="02010600030101010101" pitchFamily="2" charset="-122"/>
              </a:rPr>
              <a:t>领导能力</a:t>
            </a:r>
            <a:endParaRPr lang="en-GB" sz="1100" dirty="0" smtClean="0">
              <a:solidFill>
                <a:schemeClr val="accent2"/>
              </a:solidFill>
              <a:latin typeface="SimSun" panose="02010600030101010101" pitchFamily="2" charset="-122"/>
              <a:ea typeface="SimSun" panose="02010600030101010101" pitchFamily="2" charset="-122"/>
            </a:endParaRPr>
          </a:p>
          <a:p>
            <a:pPr algn="ctr"/>
            <a:r>
              <a:rPr lang="zh-CN" altLang="en-US" sz="1100" dirty="0">
                <a:latin typeface="SimSun" panose="02010600030101010101" pitchFamily="2" charset="-122"/>
                <a:ea typeface="SimSun" panose="02010600030101010101" pitchFamily="2" charset="-122"/>
              </a:rPr>
              <a:t>基于此精益敏捷领导</a:t>
            </a:r>
            <a:r>
              <a:rPr lang="zh-CN" altLang="en-US" sz="1100" dirty="0" smtClean="0">
                <a:latin typeface="SimSun" panose="02010600030101010101" pitchFamily="2" charset="-122"/>
                <a:ea typeface="SimSun" panose="02010600030101010101" pitchFamily="2" charset="-122"/>
              </a:rPr>
              <a:t>能力的长期八项原则而做出决</a:t>
            </a:r>
            <a:r>
              <a:rPr lang="zh-CN" altLang="en-US" sz="1100" dirty="0">
                <a:latin typeface="SimSun" panose="02010600030101010101" pitchFamily="2" charset="-122"/>
                <a:ea typeface="SimSun" panose="02010600030101010101" pitchFamily="2" charset="-122"/>
              </a:rPr>
              <a:t>定</a:t>
            </a:r>
            <a:r>
              <a:rPr lang="zh-CN" altLang="en-US" sz="1100" dirty="0" smtClean="0">
                <a:latin typeface="SimSun" panose="02010600030101010101" pitchFamily="2" charset="-122"/>
                <a:ea typeface="SimSun" panose="02010600030101010101" pitchFamily="2" charset="-122"/>
              </a:rPr>
              <a:t>，应用并传授精益思维进行管理</a:t>
            </a:r>
            <a:endParaRPr lang="en-US" sz="1100" dirty="0">
              <a:latin typeface="SimSun" panose="02010600030101010101" pitchFamily="2" charset="-122"/>
              <a:ea typeface="SimSun" panose="02010600030101010101" pitchFamily="2" charset="-122"/>
            </a:endParaRPr>
          </a:p>
        </p:txBody>
      </p:sp>
      <p:sp>
        <p:nvSpPr>
          <p:cNvPr id="7" name="Rectangle 6"/>
          <p:cNvSpPr/>
          <p:nvPr/>
        </p:nvSpPr>
        <p:spPr>
          <a:xfrm>
            <a:off x="685801" y="2164079"/>
            <a:ext cx="7772400" cy="481965"/>
          </a:xfrm>
          <a:prstGeom prst="rect">
            <a:avLst/>
          </a:prstGeom>
          <a:solidFill>
            <a:schemeClr val="accent5"/>
          </a:solid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sz="1100" dirty="0" smtClean="0">
                <a:solidFill>
                  <a:schemeClr val="bg1"/>
                </a:solidFill>
                <a:latin typeface="SimSun" panose="02010600030101010101" pitchFamily="2" charset="-122"/>
                <a:ea typeface="SimSun" panose="02010600030101010101" pitchFamily="2" charset="-122"/>
              </a:rPr>
              <a:t>可持续</a:t>
            </a:r>
            <a:r>
              <a:rPr lang="zh-CN" altLang="en-US" sz="1100" dirty="0">
                <a:solidFill>
                  <a:schemeClr val="bg1"/>
                </a:solidFill>
                <a:latin typeface="SimSun" panose="02010600030101010101" pitchFamily="2" charset="-122"/>
                <a:ea typeface="SimSun" panose="02010600030101010101" pitchFamily="2" charset="-122"/>
              </a:rPr>
              <a:t>的最短的交付时间。</a:t>
            </a:r>
            <a:r>
              <a:rPr lang="zh-CN" altLang="en-US" sz="1100" dirty="0" smtClean="0">
                <a:solidFill>
                  <a:schemeClr val="bg1"/>
                </a:solidFill>
                <a:latin typeface="SimSun" panose="02010600030101010101" pitchFamily="2" charset="-122"/>
                <a:ea typeface="SimSun" panose="02010600030101010101" pitchFamily="2" charset="-122"/>
              </a:rPr>
              <a:t>给</a:t>
            </a:r>
            <a:r>
              <a:rPr lang="zh-CN" altLang="en-US" sz="1100" dirty="0">
                <a:solidFill>
                  <a:schemeClr val="bg1"/>
                </a:solidFill>
                <a:latin typeface="SimSun" panose="02010600030101010101" pitchFamily="2" charset="-122"/>
                <a:ea typeface="SimSun" panose="02010600030101010101" pitchFamily="2" charset="-122"/>
              </a:rPr>
              <a:t>人民</a:t>
            </a:r>
            <a:r>
              <a:rPr lang="zh-CN" altLang="en-US" sz="1100" dirty="0" smtClean="0">
                <a:solidFill>
                  <a:schemeClr val="bg1"/>
                </a:solidFill>
                <a:latin typeface="SimSun" panose="02010600030101010101" pitchFamily="2" charset="-122"/>
                <a:ea typeface="SimSun" panose="02010600030101010101" pitchFamily="2" charset="-122"/>
              </a:rPr>
              <a:t>和社会</a:t>
            </a:r>
            <a:r>
              <a:rPr lang="zh-CN" altLang="en-US" sz="1100" dirty="0">
                <a:solidFill>
                  <a:schemeClr val="bg1"/>
                </a:solidFill>
                <a:latin typeface="SimSun" panose="02010600030101010101" pitchFamily="2" charset="-122"/>
                <a:ea typeface="SimSun" panose="02010600030101010101" pitchFamily="2" charset="-122"/>
              </a:rPr>
              <a:t>最好的质量和价值。</a:t>
            </a:r>
          </a:p>
          <a:p>
            <a:pPr algn="ctr"/>
            <a:r>
              <a:rPr lang="zh-CN" altLang="en-US" sz="1100" dirty="0">
                <a:solidFill>
                  <a:schemeClr val="bg1"/>
                </a:solidFill>
                <a:latin typeface="SimSun" panose="02010600030101010101" pitchFamily="2" charset="-122"/>
                <a:ea typeface="SimSun" panose="02010600030101010101" pitchFamily="2" charset="-122"/>
              </a:rPr>
              <a:t>最多的客户满意，低成本，高士气，安全。</a:t>
            </a:r>
            <a:endParaRPr lang="en-US" sz="1100" dirty="0">
              <a:solidFill>
                <a:schemeClr val="bg1"/>
              </a:solidFill>
              <a:latin typeface="SimSun" panose="02010600030101010101" pitchFamily="2" charset="-122"/>
              <a:ea typeface="SimSun" panose="02010600030101010101" pitchFamily="2" charset="-122"/>
            </a:endParaRPr>
          </a:p>
        </p:txBody>
      </p:sp>
      <p:sp>
        <p:nvSpPr>
          <p:cNvPr id="3" name="Isosceles Triangle 2"/>
          <p:cNvSpPr/>
          <p:nvPr/>
        </p:nvSpPr>
        <p:spPr>
          <a:xfrm>
            <a:off x="685801" y="1645918"/>
            <a:ext cx="7772400" cy="441961"/>
          </a:xfrm>
          <a:prstGeom prst="triangle">
            <a:avLst/>
          </a:pr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bIns="180000" rtlCol="0" anchor="ctr"/>
          <a:lstStyle/>
          <a:p>
            <a:pPr algn="ctr"/>
            <a:r>
              <a:rPr lang="zh-CN" altLang="en-US" sz="1400" dirty="0" smtClean="0">
                <a:solidFill>
                  <a:schemeClr val="accent2"/>
                </a:solidFill>
                <a:latin typeface="SimSun" panose="02010600030101010101" pitchFamily="2" charset="-122"/>
                <a:ea typeface="SimSun" panose="02010600030101010101" pitchFamily="2" charset="-122"/>
              </a:rPr>
              <a:t>目标：价值</a:t>
            </a:r>
            <a:r>
              <a:rPr lang="en-US" sz="1400" dirty="0" smtClean="0">
                <a:solidFill>
                  <a:schemeClr val="accent2"/>
                </a:solidFill>
                <a:latin typeface="SimSun" panose="02010600030101010101" pitchFamily="2" charset="-122"/>
                <a:ea typeface="SimSun" panose="02010600030101010101" pitchFamily="2" charset="-122"/>
              </a:rPr>
              <a:t> </a:t>
            </a:r>
            <a:endParaRPr lang="en-US" sz="1400" dirty="0">
              <a:solidFill>
                <a:schemeClr val="accent2"/>
              </a:solidFill>
              <a:latin typeface="SimSun" panose="02010600030101010101" pitchFamily="2" charset="-122"/>
              <a:ea typeface="SimSun" panose="02010600030101010101" pitchFamily="2" charset="-122"/>
            </a:endParaRPr>
          </a:p>
        </p:txBody>
      </p:sp>
      <p:sp>
        <p:nvSpPr>
          <p:cNvPr id="8" name="Rectangle 7"/>
          <p:cNvSpPr/>
          <p:nvPr/>
        </p:nvSpPr>
        <p:spPr>
          <a:xfrm>
            <a:off x="1127762" y="2729864"/>
            <a:ext cx="2240280" cy="2626996"/>
          </a:xfrm>
          <a:prstGeom prst="rect">
            <a:avLst/>
          </a:prstGeom>
          <a:solidFill>
            <a:schemeClr val="accent5"/>
          </a:solidFill>
          <a:ln w="12700">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a:spcBef>
                <a:spcPts val="300"/>
              </a:spcBef>
              <a:spcAft>
                <a:spcPts val="600"/>
              </a:spcAft>
            </a:pPr>
            <a:r>
              <a:rPr lang="en-US" sz="1100" dirty="0" smtClean="0">
                <a:solidFill>
                  <a:schemeClr val="accent4"/>
                </a:solidFill>
                <a:latin typeface="SimSun" panose="02010600030101010101" pitchFamily="2" charset="-122"/>
                <a:ea typeface="SimSun" panose="02010600030101010101" pitchFamily="2" charset="-122"/>
              </a:rPr>
              <a:t> </a:t>
            </a:r>
            <a:r>
              <a:rPr lang="zh-CN" altLang="en-US" sz="1100" dirty="0" smtClean="0">
                <a:solidFill>
                  <a:schemeClr val="accent4"/>
                </a:solidFill>
                <a:latin typeface="SimSun" panose="02010600030101010101" pitchFamily="2" charset="-122"/>
                <a:ea typeface="SimSun" panose="02010600030101010101" pitchFamily="2" charset="-122"/>
              </a:rPr>
              <a:t>核心 </a:t>
            </a:r>
            <a:r>
              <a:rPr lang="en-US" sz="1100" dirty="0" smtClean="0">
                <a:solidFill>
                  <a:schemeClr val="accent4"/>
                </a:solidFill>
                <a:latin typeface="SimSun" panose="02010600030101010101" pitchFamily="2" charset="-122"/>
                <a:ea typeface="SimSun" panose="02010600030101010101" pitchFamily="2" charset="-122"/>
              </a:rPr>
              <a:t>1: </a:t>
            </a:r>
            <a:r>
              <a:rPr lang="zh-CN" altLang="en-US" sz="1100" dirty="0" smtClean="0">
                <a:solidFill>
                  <a:schemeClr val="accent4"/>
                </a:solidFill>
                <a:latin typeface="SimSun" panose="02010600030101010101" pitchFamily="2" charset="-122"/>
                <a:ea typeface="SimSun" panose="02010600030101010101" pitchFamily="2" charset="-122"/>
              </a:rPr>
              <a:t>尊重个人</a:t>
            </a:r>
            <a:endParaRPr lang="en-US" sz="1100" dirty="0" smtClean="0">
              <a:solidFill>
                <a:schemeClr val="accent4"/>
              </a:solidFill>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付钱给你工作的是你的客户</a:t>
            </a:r>
            <a:endParaRPr lang="en-US" sz="1000" dirty="0" smtClean="0">
              <a:latin typeface="SimSun" panose="02010600030101010101" pitchFamily="2" charset="-122"/>
              <a:ea typeface="SimSun" panose="02010600030101010101" pitchFamily="2" charset="-122"/>
            </a:endParaRPr>
          </a:p>
          <a:p>
            <a:pPr marL="327025" lvl="1" indent="-144463">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别给他们带来麻烦</a:t>
            </a:r>
            <a:endParaRPr lang="en-US" sz="1000" dirty="0" smtClean="0">
              <a:latin typeface="SimSun" panose="02010600030101010101" pitchFamily="2" charset="-122"/>
              <a:ea typeface="SimSun" panose="02010600030101010101" pitchFamily="2" charset="-122"/>
            </a:endParaRPr>
          </a:p>
          <a:p>
            <a:pPr marL="327025" lvl="1" indent="-144463">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别给他们带来负担</a:t>
            </a:r>
            <a:endParaRPr lang="en-US" sz="1000" dirty="0" smtClean="0">
              <a:latin typeface="SimSun" panose="02010600030101010101" pitchFamily="2" charset="-122"/>
              <a:ea typeface="SimSun" panose="02010600030101010101" pitchFamily="2" charset="-122"/>
            </a:endParaRPr>
          </a:p>
          <a:p>
            <a:pPr marL="327025" lvl="1" indent="-144463">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别让他们等待</a:t>
            </a:r>
            <a:endParaRPr lang="en-US" sz="1000" dirty="0" smtClean="0">
              <a:latin typeface="SimSun" panose="02010600030101010101" pitchFamily="2" charset="-122"/>
              <a:ea typeface="SimSun" panose="02010600030101010101" pitchFamily="2" charset="-122"/>
            </a:endParaRPr>
          </a:p>
          <a:p>
            <a:pPr marL="327025" lvl="1" indent="-144463">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不要把想法强加与他们</a:t>
            </a:r>
            <a:endParaRPr lang="en-US" sz="1000" dirty="0" smtClean="0">
              <a:latin typeface="SimSun" panose="02010600030101010101" pitchFamily="2" charset="-122"/>
              <a:ea typeface="SimSun" panose="02010600030101010101" pitchFamily="2" charset="-122"/>
            </a:endParaRPr>
          </a:p>
          <a:p>
            <a:pPr marL="327025" lvl="1" indent="-144463">
              <a:spcBef>
                <a:spcPts val="300"/>
              </a:spcBef>
              <a:buFont typeface="Arial" panose="020B0604020202020204" pitchFamily="34" charset="0"/>
              <a:buChar char="‒"/>
            </a:pPr>
            <a:r>
              <a:rPr lang="zh-CN" altLang="en-US" sz="1000" dirty="0" smtClean="0">
                <a:solidFill>
                  <a:schemeClr val="accent2"/>
                </a:solidFill>
                <a:latin typeface="SimSun" panose="02010600030101010101" pitchFamily="2" charset="-122"/>
                <a:ea typeface="SimSun" panose="02010600030101010101" pitchFamily="2" charset="-122"/>
              </a:rPr>
              <a:t>不要强迫其他人去做无意义的工作</a:t>
            </a:r>
            <a:endParaRPr lang="en-US" sz="1000" dirty="0" smtClean="0">
              <a:solidFill>
                <a:schemeClr val="accent2"/>
              </a:solidFill>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用解决问题的工具武装你的团队</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用信任建立伙伴关系</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发展人员和团队</a:t>
            </a:r>
            <a:endParaRPr lang="en-US" sz="1000" dirty="0">
              <a:latin typeface="SimSun" panose="02010600030101010101" pitchFamily="2" charset="-122"/>
              <a:ea typeface="SimSun" panose="02010600030101010101" pitchFamily="2" charset="-122"/>
            </a:endParaRPr>
          </a:p>
        </p:txBody>
      </p:sp>
      <p:sp>
        <p:nvSpPr>
          <p:cNvPr id="10" name="Rectangle 9"/>
          <p:cNvSpPr/>
          <p:nvPr/>
        </p:nvSpPr>
        <p:spPr>
          <a:xfrm>
            <a:off x="5836921" y="2729864"/>
            <a:ext cx="2240280" cy="2626996"/>
          </a:xfrm>
          <a:prstGeom prst="rect">
            <a:avLst/>
          </a:prstGeom>
          <a:solidFill>
            <a:schemeClr val="accent5"/>
          </a:solidFill>
          <a:ln w="12700">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a:spcBef>
                <a:spcPts val="300"/>
              </a:spcBef>
              <a:spcAft>
                <a:spcPts val="600"/>
              </a:spcAft>
            </a:pPr>
            <a:r>
              <a:rPr lang="zh-CN" altLang="en-US" sz="1100" dirty="0" smtClean="0">
                <a:solidFill>
                  <a:schemeClr val="accent4"/>
                </a:solidFill>
                <a:latin typeface="SimSun" panose="02010600030101010101" pitchFamily="2" charset="-122"/>
                <a:ea typeface="SimSun" panose="02010600030101010101" pitchFamily="2" charset="-122"/>
              </a:rPr>
              <a:t>核心</a:t>
            </a:r>
            <a:r>
              <a:rPr lang="en-US" sz="1100" dirty="0" smtClean="0">
                <a:solidFill>
                  <a:schemeClr val="accent4"/>
                </a:solidFill>
                <a:latin typeface="SimSun" panose="02010600030101010101" pitchFamily="2" charset="-122"/>
                <a:ea typeface="SimSun" panose="02010600030101010101" pitchFamily="2" charset="-122"/>
              </a:rPr>
              <a:t> 2: </a:t>
            </a:r>
            <a:r>
              <a:rPr lang="zh-CN" altLang="en-US" sz="1100" dirty="0" smtClean="0">
                <a:solidFill>
                  <a:schemeClr val="accent4"/>
                </a:solidFill>
                <a:latin typeface="SimSun" panose="02010600030101010101" pitchFamily="2" charset="-122"/>
                <a:ea typeface="SimSun" panose="02010600030101010101" pitchFamily="2" charset="-122"/>
              </a:rPr>
              <a:t>改善</a:t>
            </a:r>
            <a:endParaRPr lang="en-US" sz="1100" dirty="0" smtClean="0">
              <a:solidFill>
                <a:schemeClr val="accent4"/>
              </a:solidFill>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时常保持危险意识</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稳定，提高</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认真考虑数据</a:t>
            </a:r>
            <a:r>
              <a:rPr lang="en-US" sz="1000" dirty="0" smtClean="0">
                <a:latin typeface="SimSun" panose="02010600030101010101" pitchFamily="2" charset="-122"/>
                <a:ea typeface="SimSun" panose="02010600030101010101" pitchFamily="2" charset="-122"/>
              </a:rPr>
              <a:t>; </a:t>
            </a:r>
            <a:r>
              <a:rPr lang="zh-CN" altLang="en-US" sz="1000" dirty="0" smtClean="0">
                <a:latin typeface="SimSun" panose="02010600030101010101" pitchFamily="2" charset="-122"/>
                <a:ea typeface="SimSun" panose="02010600030101010101" pitchFamily="2" charset="-122"/>
              </a:rPr>
              <a:t>及时进行更新</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设定关键的里程碑</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smtClean="0">
                <a:latin typeface="SimSun" panose="02010600030101010101" pitchFamily="2" charset="-122"/>
                <a:ea typeface="SimSun" panose="02010600030101010101" pitchFamily="2" charset="-122"/>
              </a:rPr>
              <a:t>使用回顾，根本原因分析，价值流匹配等工具</a:t>
            </a:r>
            <a:endParaRPr lang="en-US" sz="1000" dirty="0" smtClean="0">
              <a:latin typeface="SimSun" panose="02010600030101010101" pitchFamily="2" charset="-122"/>
              <a:ea typeface="SimSun" panose="02010600030101010101" pitchFamily="2" charset="-122"/>
            </a:endParaRPr>
          </a:p>
          <a:p>
            <a:pPr marL="171450" indent="-171450">
              <a:spcBef>
                <a:spcPts val="300"/>
              </a:spcBef>
              <a:buFont typeface="Arial" panose="020B0604020202020204" pitchFamily="34" charset="0"/>
              <a:buChar char="•"/>
            </a:pPr>
            <a:r>
              <a:rPr lang="zh-CN" altLang="en-US" sz="1000" dirty="0">
                <a:latin typeface="SimSun" panose="02010600030101010101" pitchFamily="2" charset="-122"/>
                <a:ea typeface="SimSun" panose="02010600030101010101" pitchFamily="2" charset="-122"/>
              </a:rPr>
              <a:t>通过发展稳定的人员和谨慎的继承制度保护知识产权</a:t>
            </a:r>
            <a:endParaRPr lang="en-US" sz="1000" dirty="0">
              <a:latin typeface="SimSun" panose="02010600030101010101" pitchFamily="2" charset="-122"/>
              <a:ea typeface="SimSun" panose="02010600030101010101" pitchFamily="2" charset="-122"/>
            </a:endParaRPr>
          </a:p>
        </p:txBody>
      </p:sp>
      <p:sp>
        <p:nvSpPr>
          <p:cNvPr id="11" name="Rectangle 10"/>
          <p:cNvSpPr/>
          <p:nvPr/>
        </p:nvSpPr>
        <p:spPr>
          <a:xfrm>
            <a:off x="3482342" y="2729864"/>
            <a:ext cx="2240280" cy="2626996"/>
          </a:xfrm>
          <a:prstGeom prst="rect">
            <a:avLst/>
          </a:prstGeom>
          <a:solidFill>
            <a:schemeClr val="accent5"/>
          </a:solidFill>
          <a:ln w="12700">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a:spcBef>
                <a:spcPts val="300"/>
              </a:spcBef>
              <a:spcAft>
                <a:spcPts val="600"/>
              </a:spcAft>
            </a:pPr>
            <a:r>
              <a:rPr lang="zh-CN" altLang="en-US" sz="1100" dirty="0" smtClean="0">
                <a:solidFill>
                  <a:schemeClr val="accent4"/>
                </a:solidFill>
                <a:latin typeface="SimSun" panose="02010600030101010101" pitchFamily="2" charset="-122"/>
                <a:ea typeface="SimSun" panose="02010600030101010101" pitchFamily="2" charset="-122"/>
              </a:rPr>
              <a:t>产品开发流程</a:t>
            </a:r>
            <a:endParaRPr lang="en-US" sz="1100" dirty="0" smtClean="0">
              <a:solidFill>
                <a:schemeClr val="accent4"/>
              </a:solidFill>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latin typeface="SimSun" panose="02010600030101010101" pitchFamily="2" charset="-122"/>
                <a:ea typeface="SimSun" panose="02010600030101010101" pitchFamily="2" charset="-122"/>
              </a:rPr>
              <a:t>从经济角度出发</a:t>
            </a:r>
            <a:endParaRPr lang="en-US" sz="1000" dirty="0" smtClean="0">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solidFill>
                  <a:schemeClr val="accent2"/>
                </a:solidFill>
                <a:latin typeface="SimSun" panose="02010600030101010101" pitchFamily="2" charset="-122"/>
                <a:ea typeface="SimSun" panose="02010600030101010101" pitchFamily="2" charset="-122"/>
              </a:rPr>
              <a:t>积极管理次序</a:t>
            </a:r>
            <a:endParaRPr lang="en-US" sz="1000" dirty="0" smtClean="0">
              <a:solidFill>
                <a:schemeClr val="accent2"/>
              </a:solidFill>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latin typeface="SimSun" panose="02010600030101010101" pitchFamily="2" charset="-122"/>
                <a:ea typeface="SimSun" panose="02010600030101010101" pitchFamily="2" charset="-122"/>
              </a:rPr>
              <a:t>理解</a:t>
            </a:r>
            <a:r>
              <a:rPr lang="en-US" altLang="zh-CN" sz="1000" dirty="0" smtClean="0">
                <a:latin typeface="SimSun" panose="02010600030101010101" pitchFamily="2" charset="-122"/>
                <a:ea typeface="SimSun" panose="02010600030101010101" pitchFamily="2" charset="-122"/>
              </a:rPr>
              <a:t>/</a:t>
            </a:r>
            <a:r>
              <a:rPr lang="zh-CN" altLang="en-US" sz="1000" dirty="0" smtClean="0">
                <a:latin typeface="SimSun" panose="02010600030101010101" pitchFamily="2" charset="-122"/>
                <a:ea typeface="SimSun" panose="02010600030101010101" pitchFamily="2" charset="-122"/>
              </a:rPr>
              <a:t>利用变化性</a:t>
            </a:r>
            <a:endParaRPr lang="en-US" sz="1000" dirty="0" smtClean="0">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solidFill>
                  <a:schemeClr val="accent2"/>
                </a:solidFill>
                <a:latin typeface="SimSun" panose="02010600030101010101" pitchFamily="2" charset="-122"/>
                <a:ea typeface="SimSun" panose="02010600030101010101" pitchFamily="2" charset="-122"/>
              </a:rPr>
              <a:t>减少批次规模</a:t>
            </a:r>
            <a:endParaRPr lang="en-US" sz="1000" dirty="0" smtClean="0">
              <a:solidFill>
                <a:schemeClr val="accent2"/>
              </a:solidFill>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latin typeface="SimSun" panose="02010600030101010101" pitchFamily="2" charset="-122"/>
                <a:ea typeface="SimSun" panose="02010600030101010101" pitchFamily="2" charset="-122"/>
              </a:rPr>
              <a:t>应用</a:t>
            </a:r>
            <a:r>
              <a:rPr lang="en-US" altLang="ja-JP" sz="1000" dirty="0" smtClean="0">
                <a:latin typeface="SimSun" panose="02010600030101010101" pitchFamily="2" charset="-122"/>
                <a:ea typeface="SimSun" panose="02010600030101010101" pitchFamily="2" charset="-122"/>
              </a:rPr>
              <a:t>WIP</a:t>
            </a:r>
            <a:r>
              <a:rPr lang="zh-CN" altLang="en-US" sz="1000" dirty="0" smtClean="0">
                <a:latin typeface="SimSun" panose="02010600030101010101" pitchFamily="2" charset="-122"/>
                <a:ea typeface="SimSun" panose="02010600030101010101" pitchFamily="2" charset="-122"/>
              </a:rPr>
              <a:t>限制</a:t>
            </a:r>
            <a:endParaRPr lang="en-US" sz="1000" dirty="0" smtClean="0">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latin typeface="SimSun" panose="02010600030101010101" pitchFamily="2" charset="-122"/>
                <a:ea typeface="SimSun" panose="02010600030101010101" pitchFamily="2" charset="-122"/>
              </a:rPr>
              <a:t>充满不确定性的节奏和同步</a:t>
            </a:r>
            <a:endParaRPr lang="en-US" sz="1000" dirty="0" smtClean="0">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solidFill>
                  <a:schemeClr val="accent2"/>
                </a:solidFill>
                <a:latin typeface="SimSun" panose="02010600030101010101" pitchFamily="2" charset="-122"/>
                <a:ea typeface="SimSun" panose="02010600030101010101" pitchFamily="2" charset="-122"/>
              </a:rPr>
              <a:t>应用快速的反馈</a:t>
            </a:r>
            <a:endParaRPr lang="en-US" sz="1000" dirty="0" smtClean="0">
              <a:solidFill>
                <a:schemeClr val="accent2"/>
              </a:solidFill>
              <a:latin typeface="SimSun" panose="02010600030101010101" pitchFamily="2" charset="-122"/>
              <a:ea typeface="SimSun" panose="02010600030101010101" pitchFamily="2" charset="-122"/>
            </a:endParaRPr>
          </a:p>
          <a:p>
            <a:pPr marL="228600" indent="-228600">
              <a:spcBef>
                <a:spcPts val="300"/>
              </a:spcBef>
              <a:buFont typeface="+mj-lt"/>
              <a:buAutoNum type="arabicPeriod"/>
            </a:pPr>
            <a:r>
              <a:rPr lang="zh-CN" altLang="en-US" sz="1000" dirty="0" smtClean="0">
                <a:solidFill>
                  <a:schemeClr val="accent2"/>
                </a:solidFill>
                <a:latin typeface="SimSun" panose="02010600030101010101" pitchFamily="2" charset="-122"/>
                <a:ea typeface="SimSun" panose="02010600030101010101" pitchFamily="2" charset="-122"/>
              </a:rPr>
              <a:t>分散性控制</a:t>
            </a:r>
            <a:endParaRPr lang="en-US" sz="1000" dirty="0">
              <a:solidFill>
                <a:schemeClr val="accent2"/>
              </a:solidFill>
              <a:latin typeface="SimSun" panose="02010600030101010101" pitchFamily="2" charset="-122"/>
              <a:ea typeface="SimSun" panose="02010600030101010101" pitchFamily="2" charset="-122"/>
            </a:endParaRPr>
          </a:p>
        </p:txBody>
      </p:sp>
      <p:sp>
        <p:nvSpPr>
          <p:cNvPr id="12" name="Rectangle 11"/>
          <p:cNvSpPr/>
          <p:nvPr/>
        </p:nvSpPr>
        <p:spPr>
          <a:xfrm>
            <a:off x="455613" y="6195626"/>
            <a:ext cx="5416550" cy="138499"/>
          </a:xfrm>
          <a:prstGeom prst="rect">
            <a:avLst/>
          </a:prstGeom>
        </p:spPr>
        <p:txBody>
          <a:bodyPr wrap="square" lIns="0" tIns="0" rIns="0" bIns="0" anchor="b">
            <a:noAutofit/>
          </a:bodyPr>
          <a:lstStyle/>
          <a:p>
            <a:r>
              <a:rPr lang="en-GB" sz="900" dirty="0">
                <a:solidFill>
                  <a:schemeClr val="bg1"/>
                </a:solidFill>
              </a:rPr>
              <a:t>Source: scaledagileframework.com/lean</a:t>
            </a:r>
          </a:p>
        </p:txBody>
      </p:sp>
      <p:sp>
        <p:nvSpPr>
          <p:cNvPr id="16" name="Footer Placeholder 17"/>
          <p:cNvSpPr>
            <a:spLocks noGrp="1"/>
          </p:cNvSpPr>
          <p:nvPr>
            <p:ph type="ftr" sz="quarter" idx="13"/>
          </p:nvPr>
        </p:nvSpPr>
        <p:spPr>
          <a:xfrm>
            <a:off x="455613" y="6575425"/>
            <a:ext cx="3600000" cy="128588"/>
          </a:xfrm>
        </p:spPr>
        <p:txBody>
          <a:bodyPr/>
          <a:lstStyle/>
          <a:p>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1531210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3" grpId="0" animBg="1"/>
      <p:bldP spid="8" grpId="0" animBg="1"/>
      <p:bldP spid="10" grpId="0" animBg="1"/>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最快的反馈</a:t>
            </a:r>
            <a:r>
              <a:rPr lang="en-GB" dirty="0" smtClean="0">
                <a:latin typeface="SimSun" panose="02010600030101010101" pitchFamily="2" charset="-122"/>
                <a:ea typeface="SimSun" panose="02010600030101010101" pitchFamily="2" charset="-122"/>
              </a:rPr>
              <a:t>...</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a:latin typeface="SimSun" panose="02010600030101010101" pitchFamily="2" charset="-122"/>
                <a:ea typeface="SimSun" panose="02010600030101010101" pitchFamily="2" charset="-122"/>
              </a:rPr>
              <a:t>精</a:t>
            </a:r>
            <a:r>
              <a:rPr lang="zh-CN" altLang="en-US" dirty="0" smtClean="0">
                <a:latin typeface="SimSun" panose="02010600030101010101" pitchFamily="2" charset="-122"/>
                <a:ea typeface="SimSun" panose="02010600030101010101" pitchFamily="2" charset="-122"/>
              </a:rPr>
              <a:t>益</a:t>
            </a:r>
            <a:r>
              <a:rPr lang="en-GB"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快速反馈</a:t>
            </a:r>
            <a:endParaRPr lang="en-GB" dirty="0">
              <a:latin typeface="SimSun" panose="02010600030101010101" pitchFamily="2" charset="-122"/>
              <a:ea typeface="SimSun" panose="02010600030101010101" pitchFamily="2" charset="-122"/>
            </a:endParaRPr>
          </a:p>
        </p:txBody>
      </p:sp>
      <p:sp>
        <p:nvSpPr>
          <p:cNvPr id="5" name="AutoShape 4" descr="data:image/jpeg;base64,/9j/4AAQSkZJRgABAQAAAQABAAD/2wCEAAkGBxQTEhUUEhQWFRUXGBgYGBgXFRYgHBsdHB0ZFxwcHR4ZHCghIB8lIBcaIjEhJSkrLi4uHiAzODMtOCktLisBCgoKDg0OGxAQGzQkICQsLCwvLDcsNDQ0LCwsLCwsLCwsLCwsLCwsLCwsLCwsLCwsLCwsLCwsLCwsLCwsLCwsLP/AABEIAKMBNgMBIgACEQEDEQH/xAAbAAACAgMBAAAAAAAAAAAAAAAFBgMEAAIHAf/EAEsQAAICAAQFAgMGAgYHBgQHAAECAxEABBIhBRMiMUEGUTJhcQcUI0KBkVKhFTNicrHBFiRDgpLR0qLC0+Hw8TSTo7JEU1RzdJSz/8QAGgEAAwEBAQEAAAAAAAAAAAAAAAECAwQFBv/EAC8RAAICAgECBAUDBAMAAAAAAAABAhEDIRIEMRNBUWEFcYGh8DKRsVLB0eEUIkL/2gAMAwEAAhEDEQA/ACYxsMeAY2Ax0HObrjcDGoGN8BSPRjYDFbN51IgNZI1EhQFZiaFmlQEmh8vbFKT1Ao+HL5yT+7liB/8AUZcK0Uot9kFwMbgYE5bjisRrhzMNsqAywkKSxCqNSlgLJA3rvguBhrfYGmu57WPRjxu2BcmbnDiPTGWb4SNVeSdW1gAAk1fys4UpqLo6MfTTnBzWkgvWNhiHLTagdtLA0ynup7/qD3B8j9QPc3mljFt5NADuTV/5d8WjneicDGYEHjLH4Y/3J/yGIv6cf+Bf+1hkWg5WMwAfj0nhE/Zv+eDvJk8lf/lt/wBeAZuMeEYE5ribxswPKYL4/FDfPupUfucFkNgH3AP7i8AHmMxtjysAGuNcbkYr5XNpJeg3Rq/f5j5YLSdFxjJptLSJKx5jesCM7xKXmtDl4kkdERnLy6Quq6FadzQB7jYjA2kCVhM48IwHOfzg+LJq3vonS/nQNkn2HnBDh2dSeMPHddiCKZSO6sPBH/teI5Jsbg0rJTjXEhXGtYZBpjw42Ix4RhCIzjQ4lIxoRgAjONCMSEY0IwCNDiNsSkYjYYQiI40OJGGNCMAGhxmPSMZhAEBjdcRZuNyh5RAfxYBB+RvtfvhPm9R5lSVNAjYgxrYPsRWxxaAeBiRRhHk9Q5gKpEqmwbAhA0nagSyAG/7N9sMHpPiEk6yc02UZeyqNiDt0geVOApFvhv4kkkw3APJT+6m7Ef3nJ+oVMEwuOaTZSXLNIjGdUVyInHM5bXVLY6Q1bn9b7YzL5iVg2iWW1aqaWTegD2V+++MVka7o7/8AiKW1LQ9epYQ2Vm1dgoY9/wAjK/j+7gjlWJRSe9U3zYdLH9wcc34o7uhB5oGnqVppWBIHemP0+n88Pvpecy5WJz3Itv7x6z/94xcJXP6GWbD4cF83/Yt5vJrIuliw82rFSP1H+HbArhcyQ5po5tasRoheSqkW7NMKGo9Iqvy+53YQmK/EuFpPGY5FDAmxd7EdjtuO5G29E4ucLfJd0LFmcYvHL9L+3uiPPZY2JE2kUVRNB17lG9he4PdTv2LAjeJ5KTM8uSKVEjAOzBtRO4YEgjTRobE7r3o7187xhskFjlcSB1bkl2XmoRtplH5lB/2g70R8xQyMuXWNVkkjLVZBIYi9689th+mM5ZUnpG+DofFtuVLyfqbf6K5SycxOpP8A/II/fmSN+1DE44bkVoR5qNFA+HnKR536ZFrv/LHn9IZUdqP0jP8AyxqeNwjsJP0Q4zeZ+iO2PwrH/V/BbTL5CgDmAxoWfvLb/PZ63+WK8mT4Y1VmEH0zLb9vdvHyrucQSceio0JLo1aGr8ecWOA8ayseWhjmT8RI1Vz93JBKirvTvdXfzw45r02vuY5/h0cdcU5ft/g3y3BsgWHLnBkvuM1bEWSFosQQAaojt++GkjCT/SGV1yEUA0jMLQjY1XcbfTDHwsPHCj7vGwLAeQpJKsvuCpU188Xiy8nRj1fRxwxjJPv5BLTjxhQs7AbknEkTKy6lII972/8ALCnx3jAktIz+GDuR+cj/ALvt79/bGmTKoKzn6fppZ58V9WecX4tzDoTZP5t/5fL9T7C1wIENQF7G/kPH86wP4Nw5pW27eSew/wCf08/IWQ2xZUJpCjbdfmSaaz8+jHNhjKcubPU6rJi6bF4EFtr8b9zCMLSZxY+JzK5VFbLowZ2VQSDGBuxAv4/+HDVoxzr1ZGzZ9tukxrEhPlh1n9mZ1/3TjoyypJr1PK6fGpy4v0HgZqM9pIyPlIh/wOFv1JnBlpI8zCQxd9EqhhUgot47ONJpvmLvyrHICxdfMBV3/dbH1xs8KIGtFANWdI/Lvse4/T2xlObaqqOrH00e6lft+M6Tl5lkRXQ2rAFT8j/gfBHg2MSGI+x/bAL7Ox/qh9hPKB9LVv8AFicIealkSV0LtSOykamvpYqfffbG0XcUzhyR4TcfRnVzEfY/tiNlxyyfNEsdDOq9wDKWIFXRICi7vbSO9Hths9AzNIcxqZiByiNTsQoPN8sT7d/lhmdjIRjQ4S87xbOZuZo8oGWPSCNJCsFb4HkY0VLDqC2NmGxO+Jic9kEM2YcZiEFQ6F2Z1s1qViPF9iSO3buJvzGHeM8UTLqrOrHU2kaQpN0T5I9sCh6xy3nmj6xj/Jjiv9oEiyZfLtGdSyPqQi7IK7UO99Xb3xJkfRKFQ07trbcqhUBSd6sg2f2/XGUnPlUTphjxKClPzLMfqjKt/ta/vI4/7tYtQ8Ugc0k0bHwA63+xN4WPUXpbkLzI2Lp2YNWpb7HYURe3YVt3wE4dlQ0sS7DVIgBPvqAxm8soumjZdJjnHlB6/PY6Uy4jIxcdd8RmPHTR5pVxmJzFjMKgCpjbwt4AeqeGtLGTyTrUWrAb0Pyn3B/kf1u16ozBaeLLCaRNe5WBCZHrxrLAL9N+4JvYYzJ5LlymSbMtJpBEcKPKIgV8O9srOLo6iTdk3QAbluiqOeIprsa/lhr9EOymUtsGCHU10TbAAe5OrZRufGCOUSOM82WUNMXZ3e0KrRJURoJSQarqsnbbvgpPn4kaNkUFWLKZnFsCLUq3NkEwIKkGwNwRv3C5BRoFkNmgR1CvHUba/BraP/cbw2FLIelVmzeYStGkowHegy9h9Cp/QjDZn+J5UC3VJmLN1RKimvBbVIGJrbyNvGArtEY+aBn1QkKxSZYkL9iPjQNXv9fnhM0jKrDEXo/Jwi55q79Jer96W7Pf2OLfp3LaAI0/qzZjO++noPcWLRY23/t/w4BZTJwcpA80lkW95hB89O2YLH2PV7++DXGs/CmUXRpBlIVCyyEGwNRXQWOnSdIIYBS3fwS6dlOdqjVfWGV30mRqNWqCj9LYWPN4sL6hjkikaFTqTQBzAFXU50rZDHYHc/IHCVEygVUajzSzf5sf8Ma+rJOUi5NtGzCWUKDuzAFFbp30qQaPlvkLylmaV2adNgeWaiL3D2aWU5rN/iOxDKrfpRYdgB4Sq7dhQJTNcbaiboDwKH7YEtL/AGh/PFfMZZ5RSsgANnU6r27fERY7/wAscnKUnVn0ceODG/DVv8/KOn8Hgys2UgkRVkPNy6yF92DGWIOhBJoEMaA2KkHe7LCOG5cf/h4P/lR/9OOJcOhzMLpJFJEGVkb+viKnSwcBgH6hYuvf2746gnq6AqC1qaFgNCQDW4B5m9e+O7HKP/o8DLg6hyupO/ZmvrmCJMoWjiiRg6bpGimjqFWoBxT+ztoZcvKJIomZJnUlo0JohSNyL76sVfVXHIp8u8UZOolCNTRAbMCf9ofF4F+h8wcq2YeUjlScutLITqW9/iqqc2bH5e97K4+LrtRcsWWPTU00+X8pHQcxwbKuCDBELFWqKpH0KgEYB5XiEnDXWGcmXJsajko3F507Xt/Z8CyuwKiYer8t7v8A/R/8XAr1b6igzGTmhiLCRghQkwgaldH3IkPhSP1xUpY+6aszjh6iuMoNr5PXui5xHPFJm5DgI7KdtJGkhTdbg3qsd9jhYzOZ5YJfdrZtKgDUVALUBsASCfkD9BgDlM2Yad6DUAdB1DYgjYEA7r2/T2qvmuJGSbXqIHULKtYDAL/D7XsPN++OTJLmz0unXgR93r/f0Q6cN+0bkxqv3VGAA1FJmB1HveqMgtQur7UPkC+X+0rJuRrSaOjfwqw7Mv5Tfn2xzSDQEKtXiiHXbfewe/t4rHkcaGjuffSPb9f5nFRzTRlPpITd+b9zt2RzRzEYmgkiMTEgOVkBFGqKtW/jc18jha4tw6STMQvCokSJwGogGxJJzNpNNknWb7E2fOCvorPRQcMgemCl5NVhm6gzAnYUtlVIB7We9XiCBVCsMpFIF5jssrQao2ZiNRbVJqfa6UEEHxtjo3OKZ5yn4OR17ouxZNXu4twQCvTYNXvpJ8V584rZ/gsLpNGqDmLGxKDQXXUpKkqDq38bb+MD3lnj1scxljEdKswyatddOrTztW521G9ye2Cknped5YphPl9cNlayuYqmpqI+80R7ACgWba8aeIyHK/IFekspLBFJFKeW+sSBWK1Ui97J0/FE47+3uMLPHOBTzzytljDIOYQxE8YBYhSaOoWCSd/njqIgzO3N5ch1Eao0KBVo700rkmwBsRs3bbGVLzTqKFOhVAcllKltUgPLNkqV6O1r33JxKVJImb5ycvU4H92mI2oWAfjbzuNjg76P4oIUnjaQmTMBI4woLCyHUWe43kHYHDHm/TkOqxmWlLOxqKNdgWJF62Hggbex7YXf9FyzyIk0avGxASWURSXuQNDqKPaiGK/PxhXRI5cPlZSEV0R5XZ6IILsdRu6o9K0N9wm3bGvqfhucmy7RoFkJKmiALANkEtsR8sVsk/ETnNDLpXn63JjdQwGlXETtH2AdjVKDqc9Wo3fzXApYIZ5J8y7uZiyNz2j1qQqhSqgKrBVOw2sd6oB3rYgHw303mhDkxIh/1eZyyWL06wylbOkjY+R4w6JlKA6T47n+W1j+eFA8SlKIomK6BqFubJFkWxYm7vpJ0mx28HOJ8Lil/wBYGeeOFiFkCu5Go7lVOvovbpKkdq8DCTiv07+pbbaSZZ4nwvmRsnUupSL77nbcGu1g7X2P6rWU9LNF1u8IZSGVSxrUDa2zV5A8D54gfLsjNys+pXfT+JmVY+11Hp/nWLQVcyipPmIRMo/CZpN2B3ZJAR8rDizsbvzEqk+2/mawzThFxTpM0/pfNAkGIkgkEcmTb5WP8f1s4kynqQ6qlQafdLsfOixsf+t8ecYyWbUpzlQMuyyK0YY17tqDEj5ix++CHBsiJY3aaOG1N8z8ElvJ19LAX/GdzfncmI83Kk39TJ8aCeXdJBqjYMO1g+fY+QfkcZizw/Iqq2iKmrekcsn+7YAr5hRj3HYo62YsCep4c6M80uXjtUVQrGVQopVYkguNrBu+4vCLx31cJZtOTjVI1UAc5EmYsx1NRmDFQGZqANbE+cOX2y+pyq/cYSbYBpiDvpO6x/72zH5afBOFH07weQpJNlouYYELpaWzupS20b2RzAQpugFveweetm7laWg/kOBZuGCVsxCc07BOXFl6DIGJLa+UoZbDCq8DwAMQJm+IFGjmyWZ2NoI8otKdJALcyNiSLG9naxW+FOTjmZbaSXM6tgqiSUb/ADBJskmzVWScNHpyeTLJJmOIwStDIVCKzFZWe92QO4YKqarBNElPqAkI+neG5uTMGWfIhYkibSkuiNS50hTuF1fmPVt8wawwZ/iN8uHk8nUxSOOKY0WJJr8ACgadrYhSBY9zUzeVyefbLZmAxiDLk8xFA5zOTHy0IPVqLKqgm/jJB3JwS9PxGec5lxfJ1wxFdH4krlfvUy8ygRq/DXv0gV2wrHRU/oWcdTZXli92bOSihqvuhN7bdx7/ACxFxfJmR4hmJI1kVNCDnt26iWIcaie9mz8I9sGYsn94VpcwA4DPJIJB/VlQnLiCFSNZQDWQLDFgALrHJuKZtpjmc1JqUysUXbdVbZlUdxpjKxXvtJ9cPuLsFctxjIBuvMcwewTMC/ppiBqrPxA/Tvgdx/iMM87yqz9bE6hGCHHhgGkDCxWx3HbC1nJtEkb5dHjKIq6tJBLEEMaN79RX51dC8E/SfCmkKqytpD2w0vstXRsVvpr9cZThypI7ejy8JO/T+Ccxdv60WLBaJVse4uXt88ePEPEhJu+kKD//AKf54P8AqKLnBh2HvXwnwa812I9jjnryOhKslMpo7+RhZencHr8+50w+IQlGpr8/YPyTgncte3+zUfyD/wA/ONeevu3/AAj/AK8CYM1rIBYiu9gbD3wQOT/t/wAhjJw9Wb4+o52scdL5f5JfvC/2v2H/AFYIZCNXj1O+kAFYx5ZjZb6VqWvfb2wJ+6f2j+w/5YvZBFAQSSUqsdips3XldgLG5ONcCSkYdbLI8duNU7K8kgU0b/5j3xr94Hsf3xJxGEEiyR37AfqDt4P+OKgyw/ib9h/yxnPGoyqzbD1GTJBSo9zU4KEV7efmPlixwHN6VZSfIIs+4r/ujFPMZYBbBY/I1Xf6Y2ghKR8wFW1tpCA9QAF6j4q9vf8AznjrRos0oTUpLf7/AMDCuZU/lB/QV/PHqpG/+yjcjwEQn9gCcM3C+I5TKRoZIw0gjDnTyzovak5jC5Pciyd/AoAh6pnhl1Z3l5zLNsA8EIZTditI6Hqxdle/1Gi6dpXYsnxaKlx43+fJnnD+LrAwaL8NlP5QR8jYqj9CMMeX9atOHR3jWo3YGSNSGIFKuzLub2Hmq22IQ85nBM7zaHjRpGCgtqOkVtqPcgEb35wU9K8MGY+8rpJKwGVSBbAo8dhdx1MpYDcb1iYOSlxF1M8eXC5qK7adbHb07xKXMxtpyjgqgJMsSBZHBBUI0kumj8QCppujqFgmT+mWOUbNq+ccszLCgfL25oaiVWIhArKw3s9O3xVgJwDj8M0uW+95kQnKLpAZqiliYaDq3I1hQK8HY3tgtwPiC5Xm5LMLIWEheFkjdkeGUizqAIVV6XskVsD2OOs8E84X6lAy8csk+Zd3Wyor4wArhCX0rR/sjv8AO8S5TjGcXVrjkMZ0yiWM5Z6jY6uYVDiQqTq2G5o9qxQPplpRmZIlOlgssB3BLRkhwFJ2WUOWUbXpU9thP6P9ShEEEsujUy8kldQ6j1ow0mge4JI7t8hjNzcZUzsjgjkwc4d13Ra49x8RpHcSypKD+OAFLUenqXcfAWJNdLA/PGnDvTMM5aSZWZ2fUS4kfprYa4Z6lW0qzsBVgWMacT4MFlmyRJ5EyiXLuD8GpgoC1/BIUArxIvhAMLfBXKjS6TRGNmhkliltTvy5DJFI+koEFF1Q/COxG10clhbivH8rlZjGbJDi9KuhCncOrx6hIKIrcEisFeJ5INA0heXMRPpuNjYBBBBDRjoo0dQaqOxprND1Z6UDZQaFUz5RAy/hACSA2d1LOGZTqvfuLAAZbGfZL6oMbnLSE1VpZGwB3As91ssPcah3CDDEGV9NwOxILRpWxEqUdzRAcMaKgN8Zomt96m+5wZBneV2bLEGOTX1AtfQrwpAdj3V9W4+u+2c0ZibMtDm425THWoJ6Te9WOqiwFixeDCwrJGBy+dUYBVlDCRQqloyG2GoUyEgAMdj1MMDhBbiNSb0xef0ajAMrAFmsKuYGgI1EFWbLEnuAAR/vYX/tB9MJBGhikJNkkyGOq7V8Io3R7nbVdaRZz7nluf8AcZkilaROblJpY0PSTzOUGazvZO9gEtsbCYzP5vh2l4jyURhUkWXy7F2kFlZEaNSpqwQdRrcWcJRQm2K0mU40IzCWDrGqnTqyznTuUo7sRtQN+KvFz01m4M3cVvDmV1UjgESAXsvw6XG9rv5odwC3pfirZSRcpmSAGC/dZ2UgNGd1ie9wOrpv4Da7eV37QeCFZvvuXJDGQrJFYEkciHSHUA2VbSDYujv52bSJpM6P6dyhSMqWJGrYFSCuwsEHxe4I734NjHmIvRPHvvcFuNMyUsqkVuR0vVbagDt4IYdgMZjeNVoh6F77Q/TCLmWmMxJlKs0aqRp20AljOoAbQeyHsfGDnBcjGOEhIpWXmGRi3MqRSrjUNQKgqCFWyR0n51jf1n6Wyc2ZaXM5mVWcKAimEAAAKACyltyCao7k4Hf0xwzJxjKyHmaHMg58Qdwx8gMi6dqohB72bvHKuTl7HU1jUNfq/sKWY9K5tGZpRJKhLLFKkcMvNAJB6XnVlO3be96sbkvl+BxZMR5tcwiSRnSIZYAmuTSel15wYAB1YjcEMtHuMEZfXuTZRoj1VYAMC2BZOwNbEkn4h3PfFX/STKZ4LlDw88xqSORWy/MDMy/CREdA/MxrZQxN1i3ZjobMtNLPlVzHL5jsF1LDYXujK6fiMRS9Wxog9XgY5pnPWkzURDGVApCyxNsQBRWMoD5I6diTtjp3FuG5iHJzQ5aXMyusJRFk+7m00hDoMUQctVhdVGxvtuOH8WykkAQT5aaK70ho61VV9/Atf3wRS7scm/IbovXU8yAEZYqrMVWTLmgxJLE79ySTZrud+5wJ49xLMcVzeWjmkUOzuinQAqg6SdlJY3prc+BWAQ4in3chEkjlWTq6m/ERhtpAWlKaR3Ju/wBqrPrYHQQougw33sd9yRv5w6T7C2u53VMjno2HLy+RYjs6ZKYkHuOuTMhrxW9ecamjjgM2XdAxIZrUDXpulGsnsHNGth3NY4/EYxXMFKPAoV2BolSAd/b9u+Nc3m4w4ZL7bMxBJHbsB2u9v/ciXF9wu0NvM7ODat/6H/r3xZ4blssVfnZbnNq6W1hRp0jY7GyPeu1YBcGzYZarpJK+aDUCRfsQQfleD3DkYIO29nf59vHtWOmKU1sm6Ml4PlmO+VjVfNSSaq+qt/lgXm1ySpqXL2bog5rMGrogEhxWxBJrt4GDWaLBHa+yk7fTADiMiIa0kBT+WhZA02aG/b64nJCK8i4za8zWOTJkE/cgSK2XPzb977WBVDud72ujWk75YqRFk+W5Bp/vcj15+FqB7djf6Y8k4wTssb/Xln/Nv8sS5SeU7tExXvblEFDvdvvt4G+MeMSnNtU2UspOgP4nYdtiTfYVQPix+2Cy5+GupZCP7UUhH7EUcB+H5qIyMS1USAFujv3BW+n23waizkK77/s/+eNYPXcxLaZXIozLJw22jOliJGHUNjY0kDfxe2IuOcmVEWLLPDpJJ+JrBFV8Ar64o57M3IWijLM4BL9WqiNtwQQO5HzJPnFSHjbJYN999XNP8yxrGbjF6ZvDJKLUovZY4svPm1hDGKoKA2kCybJYCzZ+V0NhglwPKB50ikoxyMIz32DEAH9DX8/fAXNccDAAWhvupAP0tgRW/wDIYNcKWZpENDUCmlQbYtYIs9u43r54baIHg+hMvIsUKZhFWK6SNQTvRP5trq73J3wEyvquHIZ2XKLCqQqyR83S4YPXxSfEzrZAWq2384aczFBDmXrWDIpaQrGzllpwFVY11mlDUQDXnfHNPtXRFmRotXOkAZn0MFfQSv5xesGPsNq73tjNxV35lvLJx43pBH1tneHpl0MWXiExkTU/3VNLEhmk+Ms2mwCAerxZ3wZyfrnLNkFzBhV5L+7SxxagqAhgnSxLaGUbAK1UR4vHHeJcSZ0WNtIAN1TAg77dTHbv2wR9EhmlkiVFlDxMSjR8wEp1LsCCPPYj9dhhX6EfM63wX1CdAjaI8lQw5xCyXopWZtGY1Df3G3kYFeqOJ/dJIpYIow7mVH0wuJCR0AiRuk6iCLXceA1bq+VznERGsaqEgsLS5V0UdWo91sEk/ERXi8FOKenZ+cXWPLtGpJ5kojkLKpLczWArfBVKBdLQBrYork1pCpnsxJz0YiZU0kN94ZgQV1SEqZCBsKoCr7AWRZTgvqmSI3HJzI+7RShmjYbWdLDY7/EtH6499W8NyvMEOXiiiaSPmxyGSWnFyAqQ8Y0n8M7kgXWFvKzhVCN0sGAugd91NntQ3F3VYaIZ2/0NxJppWkcoiFQIdIQHsocaTqqtASgVB0A6exIH7Vsmcpl4TlCETWwZAZKW1MgoFyoA5bUAorasKEfq0ZfJSZONn1yTLMsgJUrQjAUCNmo3FudVUe3tv6n40Mxksok2ZfnPHKZGdG0sA40gt33MCjUAd7PnC0Mi+yWVjnJY+W0qTQtHIFZV0jUrByzEVWn696BOOr5XieSys3J5wEx0JpJct3KoOiAX7DuarxvhA9JeoYsnBqkjSaZ70yZcRRnTQIViYgbDA71Ve+BXr/Mqc0MzrW8xCkwpWDIrKFVXP5tJjoVuNPzwIGxwznH1Eqh4cuWy0sgjLGS1IZl2twa8ix200BQw4cM40k0UczSQoz6yLO3QaaiX8BVs71gB6b4nLmsn9+nE6yRCQqcu7/iooJLRxyMVLEhlIYG6oVYGIsl6oXNxyS5WUyGNluHMQIa1agGuJzWoagSAa8gXeKv2CvMP8U4dFm6SeF3G9FhHQB2saW1aT779r7Y5/mPQ8UTlHfMSKJAoWJAxCMAys6670DVo2H5SaAOHP0/xN8w3LkAhZFBUQqAu1LQ5i6lADCqG/VTCt1T1DMnKkOT56z80B8wyzEPGNY633Fg7UQDYPa7wCGz0n6ejysbLEVpna6UgnSzKLJNmgP8AH3xmKH2b57NSrOc1NHMAUVOXyOkgMXvlKKu12O4o9sZjSL0Q+488UZ2/DjLJfdxqG3srBGFn2BB2O4rC/nfS0UkpkkgaRgNIMg1XRvs0JHk9Qo7DFn1X6WfPSJrn5cMYtVVSTzLYF71D8pCj26vfCdx70sMtHKyZriI0bc3mwLBfkdc0ZNbj4huK3o4xVGrD7ejcnKzHlqXGzqMxMCljbpUUp7bEdv2wS4HwQ5UO8aJDtRIjbfSbPePWQ2xvUathXSuE7hnAMwU5sQlZZQH1w1HzLFgkpxBbO53ON8j6TzmZzM8mbV8pFpVlYSs26qFPSmZJGy2SSew7YT2CQ/8AGsvm3i/1SSKKVmtzIpNLRAUUGojbup89scw9RcAzmZkBfMLmSi6LWKQaaPUKWMDuTvsTQ2wz8P8As7yfKXmPNm2ckiRpZlsHYAKr1+p74avT/EFn1tE4Mcf4ICE6dSnqoWfhGhQf73cEYE2tobSZxif0NmFW3bRvpOoGhtq+K/i+E6SB73izwn0Nlz8WdeS/EMCsR/27J+ZF4N8W9TxZnMSQsIo4oJaQMqFnkjLRGQswOnSEFBdLVXVYrFfiIyzatbxMP7c8jMTvsEF+Vo9QruC212lJ7sj/AKoizP2cI1AffWBskNlkC/vr74jm+yigpiZ+pLqQBSrWbQ7MBW297k4u/Z7xCCfMz5AxRy5eRDJ1RRg/hshCtpA1LZJGqyKG/fHUc2fiZ3KhdRCrpBIXYkkj3PihuMS7T2Vpo5zmPQ/Lypy0PMbrMgkoatRoXQ2rSAte3zwqZ3J8RjB/1bMADa1gJ+m4B2+eOx6YZQNpCRZAkSxtv+YHbbuCPrihmIUYm0SrO2he37b41TflonicThE7MWYzOw/KgdiL7Uo/N7E0B9dxZjy2euxkZRGPdDf1JahjpnqYBMu3LpGYhVKhVNkhjR2olVYdxteEN+GWbIY/XSf8DjDLlcHXc9Lo/hz6iDnyrddv9msOWnYDVEyEtpCsGtjV7aA19jtd7HFgcDzQYFcvMxBB6UYV5B6wuwIw5fZdkdP3g2yhTCwHgmpwbBHaj/6OGv1iR91kuwQpZWDEaGXdT0nV39r8g7HFQyOSRy9Rg8HI4XdHMvUfojMZic5qPLCHVqJUOGLsSep7AEZIPYatq7G8D/TvoTNSSN945ZRDpZYnUkNsdL99OxG2x3x05jIOKGnvmZElFINKyy96ve9Qs99voAC9GvM6TTRx8idZp9MMjf18bMZyrAAsCGd9LKDRJ2IJGDl7GPGxd9WcDzK5klIJpY3qgoUqGIBYDUw32+EDsB7Yqpw7OdvuGb/4U/68OfrzJZrVHmlyz5h4Z4xDFEW6FH4jSk6N2cqiGrAA23vBPJ8XWRswFzkbhYVc8uaJirKFWQ6QGZB017Wx81T8R+Q6ObZnhGdYFTw/MkEUbEfY7fx4cfSXApIuuRSrnwdyt99/fE3EEg4jl8o8qyOVamCPOGWRdBY1F3Om2DEbEruLOI/tA9VTZXI5d4iiNOyqJBbaV5Qc1r/MW2s3sPc2Gp7E0MOfWUaSgcqQwbloSQdq+FSwB+Xt88Ln2oZCSbhjltWqIrMA3caOl/8AsFj+u+AEfGYJV1DMWbG00r66OkX12LFm9LAbbAjttxD1f92AbL5jXRBMbu0iMtWQxft4opoPfY+KaZPJHnoz05xOTJkJOuXSQwSRsTrOnS2rp3osCh07WR9cWeLF5RyQk65zJRSB5o40VZSQgYivBZUYXpOnVVNWLXoz0ZBzJpmj1K/InhBZhQYc4C1O5DNpJN9vmcVOCnKx5/LywTq0E8kiJqbS7NpdXRhygXAcoAztvrA3O5zKoX+HR8QzUhgzBzLqwbSWiDFS16SzyxWiXqbYk0Dp3N4bn9C5bK5iPMpFM51lyyljpJdK6Q+40yO23YIa3IwwQ8JSPPGZeqR0CsBR0EAVtq/DV0Q1dD6E76xZdHz5cTtG6RuhysUhAZGB0zPGNLKxuh0k3y9+xwMEKk/pmSSFHy8MUcsM9qM0s3SjKbW7e6cDsatCQaYEh+KfZUNZ5U6IpYnSWUhATdA2CQL2/wA8dVgySaRLqaQcpaZmUo4svdstBmqmageq++4FQ57MMdU+ZOXUDbSIW13192V7oMgDD4rXpB3YT0DQl8E4emRMmXzcUmWhklUxZppopHd0ZTGqKkR0ghdXb3F7jDXJkknzAy2bykUyxRlhPLRB3RdK1bWfiJ7UB5N4peo9eRZJefNJI7SW2Yk1Rqq2bEaCNLorV7Dx2vG/p/izZ15EGmOWIhi6xMNa9SaSRINherY7nSdqNtXWwdXo45xjOxtKDyocs0YKFIjKACCb2LMQbJFX+mHviHodf6M/H0R5wKZFJduldWopQ7gjV3BIZj5vDzmOEZa3ZIwsqFTqk0mjt122skedt9x2u8J/rZmgzhlVzUoAvSxCEKFoixagqGG/n5E4aol6LP2e8bhi4a6tPzJYAxZQzLpDsVjUFx2sgat9JPyFmeGcMzMc07cxUaRG2UgJFZ3ddWp209wCqrfmtsV/S3COHnKtyDRmXTK8ZkUkq+mwupgtMfBNA3dG8FJ0zChkSRXtGBBUoDQYN8MTDmd6vY2NjvZXqBPFIixrHFOtU7MWmt208syMpqtlZmJUKoYp2BIwCHFI+XHmvvDRRlVIflysNTNo0E99V/LdTZAsAWvTuc0ITFl8wI2csyDltp20LQLo41FA+6mrIGxFe5TKhZ5pgkgEyqJEdRyl0E01BO57die+/c4HGw5B7I9jUgkUm1+Xut2dr3AO4vzjMa5JWDfiEFwoBKClIJNd97FHYkgXt3OPMaJGbLPqLjf3aNm5cznQzDlx6u1CqvvvftQ3Iwo8A4LHIBNw+owZFle85HIzEizqPJmZbB3GpbwW47mZI8y0sjzQZdYQOesuVrWzD8MRyRliWNb33CjtitwjMCXmyZeUuBVyCXKIXkpjUojgBHZNzd6jttvgbjFnM88ZQT5nLwcxwkY0G2J/Kpkkon/d9sKPGOM8Sy880WXy82ZQ7h5oi2q1QEKEMYVRTjTRBoG+rak/AfvsUWdeCabM6VdVMkpi1A1QBRBpoA7MAT5I3LPBnOKGNdUMQkOrVazbb9Oy6hddxf8A5DTSsE7YueuPU2bhymTOtMtLIGEqI0QYEadNFiaUA9WncEjerGC32aZ6X7s/3iVSzSF0BlgZqIF3yz5Nnez88BcpxHMTq8WezKSy8wqseXjk2CspawkQb44hudqOxN0SEPBYswzR/h8wCyskUiSAHWNQVwrEdbG6q419zTomzn3rv0JnFzU00ELSxyu8gMZthrJYggb7EmqB2GF/K+jeIymhlZ/9+wP+0RjtHBVjyX3iCCJY5OYhaSNg6tvqK07dLKGK6T2DKbY3gbnvV3EUzh5GXkzOXCKAvLpS2kFiWSIsHDahp1UNsOvYAH6V4Q/B5UkzEOYnmkUqEy0WpY1JUHUWK2xOnb2+u/WBn4woR13qiGaHz3u5PPf545pm/XiW/NyksczWWVnVSNghK64TY0gUa/KLogHEo+0DMy5TMGBM1HNGEEa6cuwosQzUMuvSoXxfxDxhOxqh8ijy63yUhhNfFca35A6L7kCzvteBc80i/CsbfSc/T8sZOBHBftFDQBsz97SUKxdEhi7rWnTqiX4xZAvaqvDBm+KmMq2vMTRnqOkxgoCNrATffvutXW5wRk12G6F/jcc+YQRwiGSZH1vDDPqZVCsoLcxIqYmQACv1OFTL5bOOSFykzaSAxAjOm/fTIcOv9IZdWkny8Mxmb43dlXV/eMYJI2G2113xXyfGHW+VloRbaiFeXc+9Due2/wDzxE8XN2zrwfEMuCHCFV8iP0FxVY45nfMZdEFNLcqWgIVUD7ELZZ6AN3Q84v8Arv15lIssyc1JGmQaRGxbpexrBC6a6W89x+mKnDs8FMq/cYo1ksyFUenY7jXqTe7u96vthgXi8NIqo2lRRXlRqAK2C/h+/tp/yxUYcaObLmeWTk+7F71PEMy6zQlmSTJmNiGewS6TABV27IQRdGwDeBEHBJII5AscKFk0GWNWSRypfdizEANyWJr+Ne9bFsxx9UOkZYUNlDTzyE/Stz/M4zh/EOZJHy8oiU3UQsh6Ts27HbpLDt52xaizO0JOQ9R/0ZJIHick8xQFZdDgWhsxmiQT3APYH2BbvSnHJMwJJogqhhIQrFiiju16Tq1ajt/CLNteKec4Jk5OIF2g05eNWilDv0C1dxJqZv60sUpLJ001XYW76KyDZHITxSHSP/iTexj1woxja9m06NLHbztviX3GR8O4jFnUHCpsu6lFZpg02khlNqOgEsCzDuQOxs1eOd8azmeZKnXW70DqJZiTto0nz4Ar2847RlZk+6zZxZUdW5sivpCqFBYKpbTqAFAWbO2EzPeoOHjNrmecWKx06Rx78xhSyK70pZbYWSV7bXhSimFtCBm/QedSWSJIxK8ekuIpASoYWpIJB3o+PH0xd4N9mmemcCSLkpYtnYE150gXv9aGGrI+sJV4imZkWaLK5hljRWV+WyEImtCRRZWCsSLG5HzPQ+GZ6dspcZXMZiNmRtf4dlX+FtulghAJo9XuNy1Qgbmcs8ckEkMyQxBBl5HYxUEXqAGuxqC6iL8gXYJB0zIyySMjRxNNCTm8uGjGoRyMsjutjp0ScwkewB8baccgXMwy5GSORJGUTO4Q8kSARnok2vqJAXvSNdbEiMtw1plyGYjA5XI+6Zn4S0cYVo5LduwUhl2ojc73htPuA0SVFn43jgjC5uNgZwVDa6L0RVkkKvnwT+U4FcO9NzIBLm5IJJAVSeRlUFlWWJgOYAhukIo9wwXq74ERnJyZRYI54DNlp2eFEeK5KfUSiiVFbmd6utq8XhuyhMWaaQkpDmY1koogCSAb6nEhJY2bCggkk2e+FQyrwhMpNDrgVRFHMNFJ0joRXj6rDDcgEbWV04XPUfCszmIVT7sgjhMqaZJHCDXTJIugjUVWQKD2Py3GGdmAkaFY6jlkJLREgdVMGOiidQaOzqF9XgUdMrw8QyvO7SnWyBVuxCdKfh6QTZBTVqA7NtYO7pCObfadncypyWWnckCHmMxN6naR1bUy3YVVQULrc0dsL/pXisyTcpGqLMFIJUKqVKu2ijYvYSHcEH96x0/1Z6bEy6AHLKbRnJYA2dQBJsLtuTQ3BBNCqnoP05ySJXjVpNwrKwKr/FppiCf7R3HisPhsVhH0jwmXIsweZJdR0IAzFUK/EN607EUAKoE1sCBv2h5h5GhyghZ2kRZDpHXqD/CtOulaViSQaBG2GeR5Zg8LtEJFthp5nSO8bUwAbuAwBresIXqeRs+IoY3VM/A2h0dzGzjSW6SAFLDTfgDevADrQDTwnhcOWBhQSZiRaZ9KuRR5gXupjFg6WBI23obDBRTGZGjVOuKq+INpFaXUmPqoFB0k+QLoAjYvvKZCKSZQ2bTu3cGnobgFWIVUJB2LqLo4XYvWOaOZg0w6YSVSbXF31MqhgwU18VAWb898FeohskzsJckgqxB0MuoOCTbAl9KiyVIF0bqukXrmWljheaxNKFW49IINNag8sIW0hydwb71jmHrj11I2ZYZfVAYndDTRsrlSUDUYwRYHwkkfuSb/AAr7QkzCR5WXLsskpWN5IHWOydtYVVFG9JIutj4oYXJdh8WdayRBGrUWLUTZ+Xt2Wu1D9d98e41y7bUSTWxO/cbdz3/njMbJGbL+cyyyLpddQsEfIg2CPIIPYjfCvxv0CJy8rTLzOrltJGLTpAS3ViXKkEhnsizQ8Yl9UzPFJFmA50RXabaW/MwYEgE0oZSexU/qYyXF8tNRjzGXm2BC60DC9vhZhR+RF4zfuWhL4PwXikSLDHn00oNK08hUbE0Do8AfQWBe9YJrwvi10c6nf+Of6+ww1wyq8h0mMaVoAOpI3trF6t6XuPAxtroWfb5/88Kh0Lfp7JjJjSCNbyaGYZWUs7MS2outnQTZ1Gh71i/nc3zFbSXEiooDLlJ9YElPpVjpokAagGtfNVhez/2j5c/CuYDLswEU1g/MB1B899vngPn/ALQncERJme5AItO/n87HYXVDc1g0AT9S8PzGXbnwq0+tFDhYySWAoOygiye5a+93fir6V41nMuwfMCWQyrTwlIkCsBYfUqihQI372BZoYXc36qzzhVVMw7DcUHvvdiktu3646pwcf6tl2zIqSCNHdmdtpOWBI7b0TZayb98DdoSEv1XmVz3EMjCUI6dcinqoMxYqa2PRAb27SDBdePTqwMeVzSIq6UQ5OXSo27gVvsPIHcYF+hpDnOJZvNkNp+FL7hTSr9CFiBPzfDqmTGWiYRmRwA50s1k3pujWx6Nvq3vgoaF/+kGklVny+bkiAW424exDMEKli1/xEsLB9sWH4zCov7lnlVQfigkKgCru22FD3A/xwT/0ggLMQziVmJ0vl2Ki6ABCqaYX8dWdrvYCzlszzI3kLFEY7Epp7ELYU3sxGws2CPJxJQLj9UpqqSGeICrabLMoFmruSXf3232ONpPVM1XHCrCz3mA23H8BrtiKTRN0SLLOqmy8mWBFnXWmoAH03psVQO+4OEn03wji+XI+6Tu0euys0Z5RQnpZDKbax3C6a/i3BwkBLxH1nm1kIcRg2T0w5hhV7DUjaTQodh27YZvSfqDNSxuTElro0kI6sQxay2s2AlXV3R+WDmUzObDEZiGHSF2ZHYPq9tB1iv8Af/fHD44s82Y0yZaUSMzSkXKDuwDvo5lEaiLoAYqhHR/UPqWWcvCrGExSOr2wUSLbKDb0tbXWq9+2BnDJ545kjaQ6pKMccjK4cCya0lgB0kHtY7HbZ/lhMy9ZRh88uf8Ax8LcnoKMZuLNJStEQQojbSSCSO+ZPYm/0w69hFkZSWfMSaYkjEdostodQBI1LGASvgbsNtiCAMBM0skuVmijzxmMqjdYACFJUOvLHWNSybk0RV9jsxzZCZln5Mtu/MjYMtICRuP61tIGr8g3IBOojCVwPOTT8QCynSdU5flNMOxcfBziinpHbcAJfzlumikrQd9Hwynh2TUMWiAJdF0qzxsrHSNRo1I27WAQANrIIrjOS4hG0ecybc6EDUqxNK9A218ucsQSrbgdQ8VezD6F4xEeFxygaVBKaDpvXr0KoOy7llomgL+WPfVOZhysEEuZcqY3ULoG77awg1dhaD4iOm/Jot13Ec347xDMcVly0McEcbRcwKqllFkAsTq3WuWRW5+eOp8P4hJk8hzM+BzQW5rRKluzOwU9IVS2nTZ/sk3eOL8R43HJJmJo3WNn5lLbH+sXltTUN6dvA84aJPV0U/Cfu5Lc/LLG7AAVIqOYgQb7gMrH6Ei/BqxbOk8BmfMRRTiYmNwSUPfYlGU9VagVI+uA/COEzFc3lpAVikLVsCCXJdiB4XfdTY7e5sd9kvHRJlXiAH4crVqJumAfsAR8Rbz5wT9d51o8u0iUrB43LK5oiOmKsOm7Rvc6gACKABapIDnvG2EEhy0kGWLLS81FnDEdidJk0k17fuD26dkTHPHCy80gxqFmQtqK6dI1abo2L9738nCD6tKTxvmAxjcMkjIHOllYbsAy6gw6WNBfNqD2m9HcdZYGADu0UighZSvMjkISPqCMfw3FbVWsEnvaA6JAgErLbsqpaqVBFMdVJS2dJBAXv1UBQGFjhfDZWzpmSXXE7yFoW5oj5bnUAoZWUns22myAb2N68J9RFWXVRqlGokAJIWaMhTICRZC6uWp0qPAGNODcZlizssUjFhMdcYdjsDrcaRXSB1obv+qHYYOKY1JoPcaYSKcsp5YbRo5bFmIJFNpA/qyLBonya23S+P5J4ABqSORGEiyJLK2ujS/2VNkgCl1UQDdgPHEMmkwUuKoNWkLuGIsdQNAkCiNwexxyD7SBL94MsigMpUIwvZeoqeoncm2JNnUW9iTM4K+Q1LyGbhf2mzqgWWDXpNseYdWnzQKHquxTNfYfPFn7RuEvOqTxhyUVizKm8ikCmuKIW9BVG9BR8ycc1OZthIBQO+1i7qwCRRrcWB3x0z0P6gMmW5ZjjZYjyw8pWwHD6C1kkgEKhr8rdwFN3GuxLDHpfjsT5dHCKhcMWVUAJcEqx6AN2YbABmJJ2OL0ubjWJ2kkDhUa7cEEBdWlgfhsD4rHvtYtQ4hmgJrWFYR8LIoFKQKJCgL1De1ujZJsYs/6SGSNooo2a7ZleHpq7Y2HJF2N/BLEVti/IkF+qOEZaEc5oBmFZmVreQNqP4itag7uhDVW5fxXUvwcWykLq65AI6kMpMstgjcHqSsOeYzqzZc6UTQojSaI3S6D+GxDE/h10NYJWlbcptnDeA8OZVD5cq5oHUprVdaFbcMTRoLYII81jCWFSd392axytKqGz09xdM1Ak0bA2AGAa9D0CyH5gn9RR7HGY84XwuHLgiFFQNV0BvWwuh88ZjrV1swZJ6hz5XlocuJonapmdowkagr1NzDR7kj+77kVzfivDi2b15Z45oLfaPKhkj7Up0sQ5o9yR2vbBb7TIp5Wh5ULyhdXSD0hvD+2qrFke1VvcXpThWYXL5jTyoZpU0KQ1MDvWph5tSAQBW9bknGMlbopa2Uctw/OLNauUAutHD1B3BXb835ybsna9yAMNPp983oIlzksbvLK4Q5ON2pnZhWpj4N6Rst1hM4H6QfMusjNCg1A8xWlaRqPKI6gKbUp32337Vh99TZqGORczL1Nl6CDSnVJIQUTVuR2JOxqifFFKK7jbZNLkZpO+akJ7WeGZe69rK3/AD2wxyaVBKxrfhQgBPsNht9a2xz/ADGZnzKK8k7IHUuI4+YEVaBUFYyHlYgg7soG/fS2kJBwYySFRBVFgW1RPTKA+lgtPbfCCrEhj5o4qkhWxl9RtxBs2RlGlQArptV5WnQAbDHSxuzuLB+gwLzfpDi2YNT58V30n4T/ALiDRt8r8YpQcelyWYSNZWaIuiOhdioJYo2iydOnpbuf4SWoMemPHJ2Iv6lD/jhUMUPS3ofM5OUSHNKyAqSgSQXpIbam29jsbFj6b+oznIoM6Y2eRpgCFuZuXG7so5auSuvTzAVWqGg12toXIxbCSOLv5SPcszAA0N9h2838sQcUyWXrV0R7MSw0BKUUT2KiruxW43wmikZ6Qzs8uXhXNRaXVAWLUdRBMYvx2Gr9j9CSmyKutQNUdOm+1HYEf88BoOSpNRxvua0wZiQ0aPURE573W9URi42aRQWMaoB3P3PM7fX8EYQBLMBSxZmA6QANSj+O+486l/4R+vkWZRT0yIST5ljBO1jYDfc1X6/LFGLPatJQBlIO/wB2zC/SiwA98WIp3YGogteWJ/etPb9ffBQG3DFMaiMAaFU0eZrayxaiaG253IFbd/Af1J6igyYaR1eWVAR0RuEHMYMFeTSUQE6Lsk9jp3AwVinkMjKSQq7f1LgMaVrDsxBFMB43De2Is3wtZSwmEMkZvpMG9eBqMhBr307/ACxXyEc8zEfHM6WKTfdxdmIM8ToCTpBIQahQ2YE3XfuMOWWOdy2TRN81ONmZpE2FAXbgWBR7m9xZ843fiQy+YSCPLStHIqnmxoeWpJeySqlTtV2woDa73S/WuRzH38TLLmBCyDaOzpoaCtG1APxdiNz5wqrYWNHpyVjltEzLHO00kis7K+4ILsdLbkBJNr2o9qvBLIemcujvNGvXISXZezGzfbsbu68jftjm3DcgFSRZM1mjzCp1lnVlrmg18RIPOJI2vqHnBv056Oypg05meeSVtReppFUFvYA7keSSbN4I35INeptxDi7xhsvl8iJ4A8gOksH5qyyuKUEMK0ag4B+Ekdthec47k5T/AK9kZxORX42tztdEtIUcKL8WBffEuXJ4E0zcuTNxT8sLKXVDrVWOkg6rG7mx2oX3Bw0RxnimQDTKkUjhigU6tJDEI11q/KQQO4JH0FsGCvSgOZj0SRRGLlaSAi9LrIygC7ZkZBszbjTRJu8DfUfBo8oAI8qWjY1I1KECn4qJO7f2drwb9LcOKopWUSRiSVZTE1XppgGNHdWD1RHxDCdwniS56VpMywaR/wCqVtJVe/4ahwVXstdr38ksKvVCJvSS5XKq4bMhhMyMqjTaaQ604D9yJPfx+mHLiTRog3coxADRq7A7bUQ9Nesr+r7d8K2ayBWUqNBSzQaabVQC1qshQzBrA0aR2I3Fy5iskomyshifUpoaQsqtv1otI1D8wAvSTvqUh0qFbLmbygRFiij56x1AzqpIkR7BYaOno1MrG78mq2h4TweCGZsrGGmeSJuvQijQCyMgZzRYNuQAOoA71hi9M54NlkliFI6yPTuWOpWJkVQoC7MSFJOoirG2Ej0hBHm5pJYwwZGc6ZURxI7huWjuxHSNPwlfFauwMjoLcQl+7nlLDJLOzBWjVooloqGO8cjWWYg0xNBwOwANviWTgaaLVJmYTEQTaRm/gY8wx3YumJIoamJoE4qJlnlyrztAiT8saOTK40yKSH1FJNILBVIQjpND5gZ6W4u0k0a5nK89tW2YnSRmRRvRLA0QQaNd2F13wIGdAzecSGObUxYwjUwVQWNi+xY6jvdtffCdnCOIwNJyyhhJ1KkisdPewCN6Ksd687mzi36k49PHmyIIUB0adRVCz77E2NhYAAJAqtySAs/pPhALNmDJzGlUrKughS2vW210SCALoWN/OK7uhHPl9JF5EWIyMsjaNZ0UrAE6TpO5qux9h3w1cHlSFERJcsDpIZtbAMGNEshILfDsQf4gDuRgH6i9QTZfMvHGxBjYhC2wCgHpUHYjcgE+D2vfBfiXAUzE4ZCsOXkgWVXjohHOk00bNT2TfQFO4HzMKk9DdhjKcPXMo7q4dlZkBBIPQTpujR6ClE7kadXY4HcJ4MkEraswJHEdqjyaSOramYUGtaoi1O+3fE/DYZ8iohi5ckjsXJlLAybH+rjJRtgBem67b9wk+pY8zDMTmTCZXOpusuRqO11dD2X2AoVWKdIXcdeHZyMM8iQPY7qJ0IKk72BHpreivatAG2ykeDZCN0LxII7TTtKSyuDqCN+GCBGaVGDboe1EAA/RnDJ0cyTxwMGSowAAGJGq913tfIvpZvc4actOsbf1EcYYHU8ZSug0NWlRt1N76d7oWcVFCYVy6aFCgsaAFsxJ223J7n3Pk74zGobHmNCSXPzOsbmNdbhTpG25rYbkDv7nFFIXMaxzvMx760LBr2NExjSvY0SABsL3wRvFeGFg7Ozk38K+FHbb60vfzqqg1Ylqx2Vo5pY3AoiCNGZi0rNqYj4QGLHY/mJodgDZwo/aJGycPG55gnWZzZ+Jtd1ZOwLgAXQGHTNwszJ1UqklloHURWnc9qYBtsCvUHC+fGyEWCKrCcdMdnIMp6smQBTTAdgarvqGzAjZqbt8QB774ll9Z5gjoOk1Vg7107WtH8ine97Pckm9mvQUobpJr5jFnIfZ65P4jsR7KK/mbxhUy7iL/AoJczmYwSTTKT7KAQSfYeaHvjuPqT1fBlEUzGTU+4WNbNAi9zQA3A72cB+A+leSCI9Kd66LPYAaiTZINn9h27ssmQDUHEbqDYDxI1dV0C1109F9/ONYxaXuS3Yu8S4vI65fNQGobL3Ms+1hoxr5ZugS1EFgNROkjqFvL5zNzx2uWyE6EEHRmWKEHcgqYyN/IPfzg/lVYKA7BiFUbKFFgUSAOwJ3rx2wOzfpnKyNrMIST/8AMiLRv/xRkH98PiOyqJM9ZP3KCz3rPOPYdgnyH7YjzsWekRgYIU2O/wB8zDEfoIzZxYXgEq3y8/m1HgSNFKB9OahP88bnIZ0fDnUP9/Jxn/7XXCcR2VstNMiIJIDI5UWyPIVG5r+sAIOmrFD28YISO6AgZYToRy2Ckq/wDVq51LIpurUgb1vRqD7pn/8A9XB//TP/AI2PTw7Nt8eeI/8A2stCv83L4lQr1+wN2bQcQnXaPhjqNv8Ab5RewVeysfCqP0GM/wBIRIeTpCyNsyrLHKyrQu+USq9yAXI9wGI04g/0Tib/AOIlzGa+U87Ff+BdK18qwZyOUjhXRDGka/wooUfsMXxYrAfqzPZnLwBoaGrU0sipeg0lBV3AB36jsNPe23T+D8ZtZBFnMxPKQCVJBtRZcpTMdS99tJI7A1t1PWfGB/E8i0kZSOYwE92jRbPY11eL/wAvnbquwjmHBs1JzV0ZmSd2u4zAQAfrZ6e96wPoThmzzT/fQugfdiVtfu51bg9pRsB36tQrba98HMzwWVo0QZyRSndxFBbdqu12IrxXfe8FssjKiqzmRgN3IUFvmQoAv6DEuLemPsKfFOB/eopY5o2RY3PL6r1KoBD3uQaJ277fPBGFDloDNLKwSNCCFUbBTVDQBe4+n6b4LZfK6GkbUx1m6NdPc0PYdXbttfcsTjQMVrmMNiLAXc33OoG9jVdjiqEKvpv1Dl8wJFyzyAjUzRvHGt6ju1qpvdgPivtd44/xbISZWVoySKOx8MPBHj6j3x3z+hUXVyvwr7iNIl8MB2TcDVsDYBUfqK4v6aSZdMg17k21WL9j4q6HyoeMTKDaGnRxiPjuYFVI23bdtt1O1HbdVP1VT3AxDPxOaT4nJv3O5/U7nD5m/s0W+hmA9rH+Yxe4N6BSJgzAsw3GresZcZD5L0C/p/L8vKZaInlHR1uCdid9J30knWwBcMBpoC2GCuS4RFlbkUhtR1HUFDMTsdHL0rrIJHwEtdWAScSf0cWXTqZBRHSQDv8AOvGN8vwooNpWB/iCQhvPchN++Naa7IS9xQ4Rw2SLPycvbKU2kmypTum6khmWyLfwSe5vBr1DxsZYwBbksknl2FK/DR0ajYIJHz+mCOf4CkrpI0kodKAKsBtq1eVNHcixW23gUQlgVjZA/YV5+Xm6/wAK3tqLXYQocSnE8LZhYGVTHJlqlOglJCnLdNXTasoXcgGzv2wm8V4vml0RLI6qg+BeYreNpOYBrquknUQPJoY6/wDdkqtCVWk9Cbr/AAnbcfLAFfRmWAoBxsw2YDu4cHpAFitP90m7O+JcGwsVPTfEIsy6RzqDKpFWgZWB0LWlCHUgguWIYUZNqqntobjOgqNnU6BpC3sukSV8O1GwDpHYVUOU4BHGV0O4C3Q/D2vV2tLGzAX36V921TZbhkcerRal61kaQWO9saFWdRJoAX7b4ag1sLQn8V4JKIBNzXkky4BDHSr8nv8AErEkqQzKxOwvvQxHxOIZ/LrmIx/rMAOpVA6h8RG4sCgZFAO34qj4Rhw4bwsQRCFJJSoDAamBIBGkAErsF8Dx8xtjbIcKhh/q40UnTqYKoLFdwTpAF3vsBvh8BWJ3orj/ADC0DEWBqTV7DuGB76QTdG9Bb+BcOjSKK2C2aZekEEAEkVsSo7kd1o7gC6K+ncqr8xYY1cGwwRRRu7AAoH51ixPlFIG7LVboQLqgAaHbatq9rrbDSaBtEnDXIUoR8BKfoPh/7BX+eMxvFsABQAAAAFAAbAAeMZiyQmcejHmMwIDGxA+MxmGMpzjfEuWGPMZhAFI8SDGYzAxo9GNseYzCGe4wYzGYAPceHGYzAMzGDGYzAI8OMxmMwAZjzGYzABhx4cZjMAHjYgfHmMwxETYzGYzAUSLjfHmMwAeHGpxmMwCPMa48xmAR4ca49xmADQ4zGYzAJmhxE2MxmAR4MZjMZhC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14338" name="Picture 2" descr="http://lmsgoncalves.files.wordpress.com/2015/09/muppetspairprogrammi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2160" y="1232976"/>
            <a:ext cx="2680370" cy="1980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504056" y="1988840"/>
            <a:ext cx="5220072" cy="954107"/>
          </a:xfrm>
          <a:prstGeom prst="rect">
            <a:avLst/>
          </a:prstGeom>
        </p:spPr>
        <p:txBody>
          <a:bodyPr wrap="square">
            <a:spAutoFit/>
          </a:bodyPr>
          <a:lstStyle/>
          <a:p>
            <a:r>
              <a:rPr lang="zh-CN" altLang="en-US" sz="1400" b="1" dirty="0" smtClean="0">
                <a:latin typeface="SimSun" panose="02010600030101010101" pitchFamily="2" charset="-122"/>
                <a:ea typeface="SimSun" panose="02010600030101010101" pitchFamily="2" charset="-122"/>
              </a:rPr>
              <a:t>合作编程</a:t>
            </a:r>
            <a:r>
              <a:rPr lang="zh-CN" altLang="en-US" sz="1400" dirty="0" smtClean="0">
                <a:latin typeface="SimSun" panose="02010600030101010101" pitchFamily="2" charset="-122"/>
                <a:ea typeface="SimSun" panose="02010600030101010101" pitchFamily="2" charset="-122"/>
              </a:rPr>
              <a:t>一种两名开发者在同一办公区一起工作的敏捷软件开发技术。一名作为实施者，进行代码编写，而另一名作为检查者（指导员或导航员），同时进行每行代码的检查。两名</a:t>
            </a:r>
            <a:r>
              <a:rPr lang="zh-CN" altLang="en-US" sz="1400" b="1" dirty="0" smtClean="0">
                <a:latin typeface="SimSun" panose="02010600030101010101" pitchFamily="2" charset="-122"/>
                <a:ea typeface="SimSun" panose="02010600030101010101" pitchFamily="2" charset="-122"/>
              </a:rPr>
              <a:t>开发者</a:t>
            </a:r>
            <a:r>
              <a:rPr lang="zh-CN" altLang="en-US" sz="1400" dirty="0" smtClean="0">
                <a:latin typeface="SimSun" panose="02010600030101010101" pitchFamily="2" charset="-122"/>
                <a:ea typeface="SimSun" panose="02010600030101010101" pitchFamily="2" charset="-122"/>
              </a:rPr>
              <a:t>会频繁更换角色。</a:t>
            </a:r>
            <a:endParaRPr lang="en-GB" sz="1400" dirty="0" smtClean="0">
              <a:latin typeface="SimSun" panose="02010600030101010101" pitchFamily="2" charset="-122"/>
              <a:ea typeface="SimSun" panose="02010600030101010101" pitchFamily="2" charset="-122"/>
            </a:endParaRPr>
          </a:p>
        </p:txBody>
      </p:sp>
      <p:pic>
        <p:nvPicPr>
          <p:cNvPr id="14340" name="Picture 4" descr="http://johnkpaul.github.io/presentations/nationjs/2013/js-tools/img/allthething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9912" y="3542230"/>
            <a:ext cx="2640000" cy="1980000"/>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p:cNvSpPr>
            <a:spLocks noGrp="1"/>
          </p:cNvSpPr>
          <p:nvPr>
            <p:ph sz="quarter" idx="11"/>
          </p:nvPr>
        </p:nvSpPr>
        <p:spPr>
          <a:xfrm>
            <a:off x="496800" y="1628800"/>
            <a:ext cx="3859176" cy="721903"/>
          </a:xfrm>
        </p:spPr>
        <p:txBody>
          <a:bodyPr/>
          <a:lstStyle/>
          <a:p>
            <a:r>
              <a:rPr lang="zh-CN" altLang="en-US" dirty="0" smtClean="0">
                <a:latin typeface="SimSun" panose="02010600030101010101" pitchFamily="2" charset="-122"/>
                <a:ea typeface="SimSun" panose="02010600030101010101" pitchFamily="2" charset="-122"/>
              </a:rPr>
              <a:t>在开发阶段</a:t>
            </a:r>
            <a:endParaRPr lang="en-GB" dirty="0" smtClean="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pic>
        <p:nvPicPr>
          <p:cNvPr id="14346" name="Picture 10" descr="http://upload.wikimedia.org/wikipedia/commons/e/e6/Sonarqube-48x20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9066" y="4401053"/>
            <a:ext cx="1905000" cy="457200"/>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p:cNvSpPr txBox="1">
            <a:spLocks/>
          </p:cNvSpPr>
          <p:nvPr/>
        </p:nvSpPr>
        <p:spPr>
          <a:xfrm>
            <a:off x="3779912" y="3585909"/>
            <a:ext cx="2712975" cy="903466"/>
          </a:xfrm>
          <a:prstGeom prst="rect">
            <a:avLst/>
          </a:prstGeom>
        </p:spPr>
        <p:txBody>
          <a:bodyPr vert="horz" lIns="0" tIns="45720" rIns="0" bIns="0" rtlCol="0">
            <a:no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400" kern="1200">
                <a:solidFill>
                  <a:schemeClr val="tx2"/>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200" kern="1200">
                <a:solidFill>
                  <a:schemeClr val="tx2"/>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100" kern="1200">
                <a:solidFill>
                  <a:schemeClr val="tx2"/>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050" kern="1200">
                <a:solidFill>
                  <a:schemeClr val="tx2"/>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dirty="0" smtClean="0">
                <a:latin typeface="SimSun" panose="02010600030101010101" pitchFamily="2" charset="-122"/>
                <a:ea typeface="SimSun" panose="02010600030101010101" pitchFamily="2" charset="-122"/>
              </a:rPr>
              <a:t>审计</a:t>
            </a:r>
            <a:endParaRPr lang="en-GB" dirty="0">
              <a:latin typeface="SimSun" panose="02010600030101010101" pitchFamily="2" charset="-122"/>
              <a:ea typeface="SimSun" panose="02010600030101010101" pitchFamily="2" charset="-122"/>
            </a:endParaRPr>
          </a:p>
        </p:txBody>
      </p:sp>
      <p:sp>
        <p:nvSpPr>
          <p:cNvPr id="18" name="Content Placeholder 2"/>
          <p:cNvSpPr txBox="1">
            <a:spLocks/>
          </p:cNvSpPr>
          <p:nvPr/>
        </p:nvSpPr>
        <p:spPr>
          <a:xfrm>
            <a:off x="998859" y="3212976"/>
            <a:ext cx="2464892" cy="357455"/>
          </a:xfrm>
          <a:prstGeom prst="rect">
            <a:avLst/>
          </a:prstGeom>
        </p:spPr>
        <p:txBody>
          <a:bodyPr vert="horz" lIns="0" tIns="45720" rIns="0" bIns="0" rtlCol="0">
            <a:no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Arial" pitchFamily="34" charset="0"/>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400" kern="1200">
                <a:solidFill>
                  <a:schemeClr val="tx2"/>
                </a:solidFill>
                <a:latin typeface="Arial" pitchFamily="34" charset="0"/>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200" kern="1200">
                <a:solidFill>
                  <a:schemeClr val="tx2"/>
                </a:solidFill>
                <a:latin typeface="Arial" pitchFamily="34" charset="0"/>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100" kern="1200">
                <a:solidFill>
                  <a:schemeClr val="tx2"/>
                </a:solidFill>
                <a:latin typeface="Arial" pitchFamily="34" charset="0"/>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050" kern="1200">
                <a:solidFill>
                  <a:schemeClr val="tx2"/>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dirty="0" smtClean="0">
                <a:latin typeface="SimSun" panose="02010600030101010101" pitchFamily="2" charset="-122"/>
                <a:ea typeface="SimSun" panose="02010600030101010101" pitchFamily="2" charset="-122"/>
              </a:rPr>
              <a:t>在开发之后</a:t>
            </a:r>
            <a:r>
              <a:rPr lang="en-GB" dirty="0" smtClean="0">
                <a:latin typeface="SimSun" panose="02010600030101010101" pitchFamily="2" charset="-122"/>
                <a:ea typeface="SimSun" panose="02010600030101010101" pitchFamily="2" charset="-122"/>
              </a:rPr>
              <a:t> </a:t>
            </a:r>
          </a:p>
        </p:txBody>
      </p:sp>
      <p:pic>
        <p:nvPicPr>
          <p:cNvPr id="14348" name="Picture 12" descr="https://encrypted-tbn2.gstatic.com/images?q=tbn:ANd9GcSwropYsJ6thxS6QBmlRmgmvvHktQap776TFqFd0ZCGdEoX5YUC7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45501" y="4219877"/>
            <a:ext cx="866544" cy="866544"/>
          </a:xfrm>
          <a:prstGeom prst="rect">
            <a:avLst/>
          </a:prstGeom>
          <a:noFill/>
          <a:extLst>
            <a:ext uri="{909E8E84-426E-40DD-AFC4-6F175D3DCCD1}">
              <a14:hiddenFill xmlns:a14="http://schemas.microsoft.com/office/drawing/2010/main">
                <a:solidFill>
                  <a:srgbClr val="FFFFFF"/>
                </a:solidFill>
              </a14:hiddenFill>
            </a:ext>
          </a:extLst>
        </p:spPr>
      </p:pic>
      <p:pic>
        <p:nvPicPr>
          <p:cNvPr id="14351"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7652" y="4070592"/>
            <a:ext cx="1323119" cy="923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56" name="Picture 2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92887" y="4913133"/>
            <a:ext cx="925176" cy="9371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Footer Placeholder 17"/>
          <p:cNvSpPr>
            <a:spLocks noGrp="1"/>
          </p:cNvSpPr>
          <p:nvPr>
            <p:ph type="ftr" sz="quarter" idx="13"/>
          </p:nvPr>
        </p:nvSpPr>
        <p:spPr>
          <a:xfrm>
            <a:off x="455613" y="6575425"/>
            <a:ext cx="3600000" cy="128588"/>
          </a:xfrm>
        </p:spPr>
        <p:txBody>
          <a:bodyPr/>
          <a:lstStyle/>
          <a:p>
            <a:pPr algn="l"/>
            <a:r>
              <a:rPr lang="en-AU" dirty="0" smtClean="0"/>
              <a:t>Copyright © 2016 Accenture  All rights reserved.</a:t>
            </a:r>
            <a:endParaRPr lang="en-AU" dirty="0"/>
          </a:p>
        </p:txBody>
      </p:sp>
    </p:spTree>
    <p:extLst>
      <p:ext uri="{BB962C8B-B14F-4D97-AF65-F5344CB8AC3E}">
        <p14:creationId xmlns:p14="http://schemas.microsoft.com/office/powerpoint/2010/main" val="751381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3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3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3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35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3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3" grpId="0" build="p"/>
      <p:bldP spid="17" grpId="0"/>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精益</a:t>
            </a:r>
            <a:r>
              <a:rPr lang="en-GB" dirty="0" smtClean="0">
                <a:latin typeface="SimSun" panose="02010600030101010101" pitchFamily="2" charset="-122"/>
                <a:ea typeface="SimSun" panose="02010600030101010101" pitchFamily="2" charset="-122"/>
              </a:rPr>
              <a:t>–SCM</a:t>
            </a:r>
            <a:r>
              <a:rPr lang="zh-CN" altLang="en-US" dirty="0" smtClean="0">
                <a:latin typeface="SimSun" panose="02010600030101010101" pitchFamily="2" charset="-122"/>
                <a:ea typeface="SimSun" panose="02010600030101010101" pitchFamily="2" charset="-122"/>
              </a:rPr>
              <a:t>主要含</a:t>
            </a:r>
            <a:r>
              <a:rPr lang="zh-CN" altLang="en-US" dirty="0">
                <a:latin typeface="SimSun" panose="02010600030101010101" pitchFamily="2" charset="-122"/>
                <a:ea typeface="SimSun" panose="02010600030101010101" pitchFamily="2" charset="-122"/>
              </a:rPr>
              <a:t>义</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避免浪费，例如高库存</a:t>
            </a:r>
            <a:endParaRPr lang="en-GB" dirty="0">
              <a:latin typeface="SimSun" panose="02010600030101010101" pitchFamily="2" charset="-122"/>
              <a:ea typeface="SimSun" panose="02010600030101010101" pitchFamily="2" charset="-122"/>
            </a:endParaRPr>
          </a:p>
        </p:txBody>
      </p:sp>
      <p:sp>
        <p:nvSpPr>
          <p:cNvPr id="11" name="Footer Placeholder 17"/>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15" name="Freeform 16"/>
          <p:cNvSpPr>
            <a:spLocks/>
          </p:cNvSpPr>
          <p:nvPr/>
        </p:nvSpPr>
        <p:spPr bwMode="auto">
          <a:xfrm>
            <a:off x="455613" y="2819501"/>
            <a:ext cx="4010025" cy="3514623"/>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8000" tIns="936000" rIns="91440" bIns="45720" numCol="1" anchor="t" anchorCtr="0" compatLnSpc="1">
            <a:prstTxWarp prst="textNoShape">
              <a:avLst/>
            </a:prstTxWarp>
          </a:bodyPr>
          <a:lstStyle/>
          <a:p>
            <a:pPr>
              <a:spcAft>
                <a:spcPts val="1200"/>
              </a:spcAft>
              <a:buFont typeface="Arial" pitchFamily="34" charset="0"/>
            </a:pPr>
            <a:r>
              <a:rPr lang="zh-CN" altLang="en-US" dirty="0" smtClean="0">
                <a:latin typeface="SimSun" panose="02010600030101010101" pitchFamily="2" charset="-122"/>
                <a:ea typeface="SimSun" panose="02010600030101010101" pitchFamily="2" charset="-122"/>
              </a:rPr>
              <a:t>多分支等于高库存</a:t>
            </a:r>
            <a:endParaRPr lang="en-GB" dirty="0">
              <a:latin typeface="SimSun" panose="02010600030101010101" pitchFamily="2" charset="-122"/>
              <a:ea typeface="SimSun" panose="02010600030101010101" pitchFamily="2" charset="-122"/>
            </a:endParaRPr>
          </a:p>
          <a:p>
            <a:pPr marL="177800" lvl="1" indent="-177800">
              <a:spcBef>
                <a:spcPts val="500"/>
              </a:spcBef>
              <a:buFont typeface="Arial" panose="020B0604020202020204"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代码集成更慢</a:t>
            </a:r>
            <a:endParaRPr lang="en-GB" sz="1600" dirty="0" smtClean="0">
              <a:solidFill>
                <a:schemeClr val="tx2"/>
              </a:solidFill>
              <a:latin typeface="SimSun" panose="02010600030101010101" pitchFamily="2" charset="-122"/>
              <a:ea typeface="SimSun" panose="02010600030101010101" pitchFamily="2" charset="-122"/>
              <a:cs typeface="Arial" pitchFamily="34" charset="0"/>
            </a:endParaRPr>
          </a:p>
          <a:p>
            <a:pPr marL="177800" lvl="1" indent="-177800">
              <a:spcBef>
                <a:spcPts val="500"/>
              </a:spcBef>
              <a:buFont typeface="Arial" panose="020B0604020202020204"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越复杂越无法掌控结果</a:t>
            </a:r>
            <a:endParaRPr lang="en-GB" sz="1600" dirty="0">
              <a:solidFill>
                <a:schemeClr val="tx2"/>
              </a:solidFill>
              <a:latin typeface="SimSun" panose="02010600030101010101" pitchFamily="2" charset="-122"/>
              <a:ea typeface="SimSun" panose="02010600030101010101" pitchFamily="2" charset="-122"/>
              <a:cs typeface="Arial" pitchFamily="34" charset="0"/>
            </a:endParaRPr>
          </a:p>
          <a:p>
            <a:pPr marL="177800" lvl="1" indent="-177800">
              <a:spcBef>
                <a:spcPts val="500"/>
              </a:spcBef>
              <a:buFont typeface="Arial" panose="020B0604020202020204"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需要更长的时间才能投入生产，相应的需要</a:t>
            </a:r>
            <a:r>
              <a:rPr lang="zh-CN" altLang="en-US" sz="1600" dirty="0">
                <a:solidFill>
                  <a:schemeClr val="tx2"/>
                </a:solidFill>
                <a:latin typeface="SimSun" panose="02010600030101010101" pitchFamily="2" charset="-122"/>
                <a:ea typeface="SimSun" panose="02010600030101010101" pitchFamily="2" charset="-122"/>
                <a:cs typeface="Arial" pitchFamily="34" charset="0"/>
              </a:rPr>
              <a:t>的</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更长时间产品才能到达客户手中</a:t>
            </a:r>
            <a:endParaRPr lang="en-GB" sz="1600" dirty="0">
              <a:solidFill>
                <a:schemeClr val="tx2"/>
              </a:solidFill>
              <a:latin typeface="SimSun" panose="02010600030101010101" pitchFamily="2" charset="-122"/>
              <a:ea typeface="SimSun" panose="02010600030101010101" pitchFamily="2" charset="-122"/>
              <a:cs typeface="Arial" pitchFamily="34" charset="0"/>
            </a:endParaRPr>
          </a:p>
        </p:txBody>
      </p:sp>
      <p:sp>
        <p:nvSpPr>
          <p:cNvPr id="16" name="Oval 15"/>
          <p:cNvSpPr/>
          <p:nvPr/>
        </p:nvSpPr>
        <p:spPr>
          <a:xfrm>
            <a:off x="1850524" y="2101647"/>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Freeform 16"/>
          <p:cNvSpPr>
            <a:spLocks/>
          </p:cNvSpPr>
          <p:nvPr/>
        </p:nvSpPr>
        <p:spPr bwMode="auto">
          <a:xfrm>
            <a:off x="4679950" y="2819502"/>
            <a:ext cx="4010025" cy="3514622"/>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8000" tIns="936000" rIns="91440" bIns="45720" numCol="1" anchor="t" anchorCtr="0" compatLnSpc="1">
            <a:prstTxWarp prst="textNoShape">
              <a:avLst/>
            </a:prstTxWarp>
          </a:bodyPr>
          <a:lstStyle/>
          <a:p>
            <a:pPr>
              <a:spcAft>
                <a:spcPts val="1200"/>
              </a:spcAft>
              <a:buFont typeface="Arial" pitchFamily="34" charset="0"/>
            </a:pPr>
            <a:r>
              <a:rPr lang="zh-CN" altLang="en-US" dirty="0" smtClean="0">
                <a:latin typeface="SimSun" panose="02010600030101010101" pitchFamily="2" charset="-122"/>
                <a:ea typeface="SimSun" panose="02010600030101010101" pitchFamily="2" charset="-122"/>
              </a:rPr>
              <a:t>早期集成</a:t>
            </a:r>
            <a:endParaRPr lang="en-US" dirty="0">
              <a:latin typeface="SimSun" panose="02010600030101010101" pitchFamily="2" charset="-122"/>
              <a:ea typeface="SimSun" panose="02010600030101010101" pitchFamily="2" charset="-122"/>
            </a:endParaRPr>
          </a:p>
          <a:p>
            <a:pPr marL="152400" indent="-152400">
              <a:spcBef>
                <a:spcPts val="500"/>
              </a:spcBef>
              <a:buFont typeface="Arial"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尽早的集成代码变更</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152400" indent="-152400">
              <a:spcBef>
                <a:spcPts val="500"/>
              </a:spcBef>
              <a:buFont typeface="Arial"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其他人可以看到你的代码</a:t>
            </a:r>
            <a:r>
              <a:rPr lang="en-US" altLang="ja-JP" sz="1600" dirty="0">
                <a:solidFill>
                  <a:schemeClr val="tx2"/>
                </a:solidFill>
                <a:latin typeface="SimSun" panose="02010600030101010101" pitchFamily="2" charset="-122"/>
                <a:ea typeface="SimSun" panose="02010600030101010101" pitchFamily="2" charset="-122"/>
                <a:cs typeface="Arial" pitchFamily="34" charset="0"/>
              </a:rPr>
              <a:t>– </a:t>
            </a: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各部分都放在一起</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152400" indent="-152400">
              <a:spcBef>
                <a:spcPts val="500"/>
              </a:spcBef>
              <a:buFont typeface="Arial"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避免“集成”冲突</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a:p>
            <a:pPr marL="152400" indent="-152400">
              <a:spcBef>
                <a:spcPts val="500"/>
              </a:spcBef>
              <a:buFont typeface="Arial" pitchFamily="34" charset="0"/>
              <a:buChar char="•"/>
            </a:pPr>
            <a:r>
              <a:rPr lang="zh-CN" altLang="en-US" sz="1600" dirty="0" smtClean="0">
                <a:solidFill>
                  <a:schemeClr val="tx2"/>
                </a:solidFill>
                <a:latin typeface="SimSun" panose="02010600030101010101" pitchFamily="2" charset="-122"/>
                <a:ea typeface="SimSun" panose="02010600030101010101" pitchFamily="2" charset="-122"/>
                <a:cs typeface="Arial" pitchFamily="34" charset="0"/>
              </a:rPr>
              <a:t>避免重复工作的费用并节省时间</a:t>
            </a:r>
            <a:endParaRPr lang="en-US" sz="1600" dirty="0">
              <a:solidFill>
                <a:schemeClr val="tx2"/>
              </a:solidFill>
              <a:latin typeface="SimSun" panose="02010600030101010101" pitchFamily="2" charset="-122"/>
              <a:ea typeface="SimSun" panose="02010600030101010101" pitchFamily="2" charset="-122"/>
              <a:cs typeface="Arial" pitchFamily="34" charset="0"/>
            </a:endParaRPr>
          </a:p>
        </p:txBody>
      </p:sp>
      <p:sp>
        <p:nvSpPr>
          <p:cNvPr id="18" name="Oval 17"/>
          <p:cNvSpPr/>
          <p:nvPr/>
        </p:nvSpPr>
        <p:spPr>
          <a:xfrm>
            <a:off x="6074861" y="2101647"/>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Text Placeholder 1"/>
          <p:cNvSpPr txBox="1">
            <a:spLocks/>
          </p:cNvSpPr>
          <p:nvPr/>
        </p:nvSpPr>
        <p:spPr>
          <a:xfrm>
            <a:off x="455613" y="1679215"/>
            <a:ext cx="8232775" cy="396000"/>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2400" kern="1200">
                <a:solidFill>
                  <a:schemeClr val="accent1"/>
                </a:solidFill>
                <a:latin typeface="+mj-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800" dirty="0">
                <a:solidFill>
                  <a:schemeClr val="accent2"/>
                </a:solidFill>
                <a:latin typeface="SimSun" panose="02010600030101010101" pitchFamily="2" charset="-122"/>
                <a:ea typeface="SimSun" panose="02010600030101010101" pitchFamily="2" charset="-122"/>
              </a:rPr>
              <a:t>分支</a:t>
            </a:r>
            <a:r>
              <a:rPr lang="zh-CN" altLang="en-US" sz="1800" dirty="0" smtClean="0">
                <a:solidFill>
                  <a:schemeClr val="accent2"/>
                </a:solidFill>
                <a:latin typeface="SimSun" panose="02010600030101010101" pitchFamily="2" charset="-122"/>
                <a:ea typeface="SimSun" panose="02010600030101010101" pitchFamily="2" charset="-122"/>
              </a:rPr>
              <a:t>最小化</a:t>
            </a:r>
            <a:endParaRPr lang="en-GB" sz="1800" dirty="0">
              <a:solidFill>
                <a:schemeClr val="accent2"/>
              </a:solidFill>
              <a:latin typeface="SimSun" panose="02010600030101010101" pitchFamily="2" charset="-122"/>
              <a:ea typeface="SimSun" panose="02010600030101010101" pitchFamily="2" charset="-122"/>
            </a:endParaRPr>
          </a:p>
        </p:txBody>
      </p:sp>
      <p:grpSp>
        <p:nvGrpSpPr>
          <p:cNvPr id="41" name="Group 40"/>
          <p:cNvGrpSpPr/>
          <p:nvPr/>
        </p:nvGrpSpPr>
        <p:grpSpPr>
          <a:xfrm>
            <a:off x="2055119" y="2324456"/>
            <a:ext cx="811012" cy="774580"/>
            <a:chOff x="4422775" y="1895475"/>
            <a:chExt cx="1484313" cy="1417638"/>
          </a:xfrm>
          <a:solidFill>
            <a:schemeClr val="accent1"/>
          </a:solidFill>
        </p:grpSpPr>
        <p:sp>
          <p:nvSpPr>
            <p:cNvPr id="42" name="Rectangle 12"/>
            <p:cNvSpPr>
              <a:spLocks noChangeArrowheads="1"/>
            </p:cNvSpPr>
            <p:nvPr/>
          </p:nvSpPr>
          <p:spPr bwMode="auto">
            <a:xfrm>
              <a:off x="4830763" y="1895475"/>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
            <p:cNvSpPr>
              <a:spLocks noChangeArrowheads="1"/>
            </p:cNvSpPr>
            <p:nvPr/>
          </p:nvSpPr>
          <p:spPr bwMode="auto">
            <a:xfrm>
              <a:off x="5240338" y="1895475"/>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14"/>
            <p:cNvSpPr>
              <a:spLocks noChangeArrowheads="1"/>
            </p:cNvSpPr>
            <p:nvPr/>
          </p:nvSpPr>
          <p:spPr bwMode="auto">
            <a:xfrm>
              <a:off x="4422775" y="2281238"/>
              <a:ext cx="255588"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5"/>
            <p:cNvSpPr>
              <a:spLocks noChangeArrowheads="1"/>
            </p:cNvSpPr>
            <p:nvPr/>
          </p:nvSpPr>
          <p:spPr bwMode="auto">
            <a:xfrm>
              <a:off x="4830763" y="2281238"/>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6"/>
            <p:cNvSpPr>
              <a:spLocks noChangeArrowheads="1"/>
            </p:cNvSpPr>
            <p:nvPr/>
          </p:nvSpPr>
          <p:spPr bwMode="auto">
            <a:xfrm>
              <a:off x="5240338" y="2281238"/>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7"/>
            <p:cNvSpPr>
              <a:spLocks noChangeArrowheads="1"/>
            </p:cNvSpPr>
            <p:nvPr/>
          </p:nvSpPr>
          <p:spPr bwMode="auto">
            <a:xfrm>
              <a:off x="5648325" y="2281238"/>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8"/>
            <p:cNvSpPr>
              <a:spLocks noChangeArrowheads="1"/>
            </p:cNvSpPr>
            <p:nvPr/>
          </p:nvSpPr>
          <p:spPr bwMode="auto">
            <a:xfrm>
              <a:off x="4422775" y="2667000"/>
              <a:ext cx="255588"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9"/>
            <p:cNvSpPr>
              <a:spLocks noChangeArrowheads="1"/>
            </p:cNvSpPr>
            <p:nvPr/>
          </p:nvSpPr>
          <p:spPr bwMode="auto">
            <a:xfrm>
              <a:off x="4830763" y="266700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0"/>
            <p:cNvSpPr>
              <a:spLocks noChangeArrowheads="1"/>
            </p:cNvSpPr>
            <p:nvPr/>
          </p:nvSpPr>
          <p:spPr bwMode="auto">
            <a:xfrm>
              <a:off x="5240338" y="266700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21"/>
            <p:cNvSpPr>
              <a:spLocks noChangeArrowheads="1"/>
            </p:cNvSpPr>
            <p:nvPr/>
          </p:nvSpPr>
          <p:spPr bwMode="auto">
            <a:xfrm>
              <a:off x="5648325" y="266700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22"/>
            <p:cNvSpPr>
              <a:spLocks noChangeArrowheads="1"/>
            </p:cNvSpPr>
            <p:nvPr/>
          </p:nvSpPr>
          <p:spPr bwMode="auto">
            <a:xfrm>
              <a:off x="4830763" y="305435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23"/>
            <p:cNvSpPr>
              <a:spLocks noChangeArrowheads="1"/>
            </p:cNvSpPr>
            <p:nvPr/>
          </p:nvSpPr>
          <p:spPr bwMode="auto">
            <a:xfrm>
              <a:off x="5240338" y="305435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56"/>
          <p:cNvGrpSpPr/>
          <p:nvPr/>
        </p:nvGrpSpPr>
        <p:grpSpPr>
          <a:xfrm>
            <a:off x="6226176" y="2386308"/>
            <a:ext cx="920750" cy="650875"/>
            <a:chOff x="6226176" y="2386013"/>
            <a:chExt cx="920750" cy="650875"/>
          </a:xfrm>
          <a:solidFill>
            <a:schemeClr val="accent1"/>
          </a:solidFill>
        </p:grpSpPr>
        <p:sp>
          <p:nvSpPr>
            <p:cNvPr id="55" name="Freeform 6"/>
            <p:cNvSpPr>
              <a:spLocks/>
            </p:cNvSpPr>
            <p:nvPr/>
          </p:nvSpPr>
          <p:spPr bwMode="auto">
            <a:xfrm>
              <a:off x="6226176" y="2386013"/>
              <a:ext cx="668338" cy="650875"/>
            </a:xfrm>
            <a:custGeom>
              <a:avLst/>
              <a:gdLst>
                <a:gd name="T0" fmla="*/ 505 w 505"/>
                <a:gd name="T1" fmla="*/ 354 h 491"/>
                <a:gd name="T2" fmla="*/ 451 w 505"/>
                <a:gd name="T3" fmla="*/ 213 h 491"/>
                <a:gd name="T4" fmla="*/ 356 w 505"/>
                <a:gd name="T5" fmla="*/ 331 h 491"/>
                <a:gd name="T6" fmla="*/ 389 w 505"/>
                <a:gd name="T7" fmla="*/ 336 h 491"/>
                <a:gd name="T8" fmla="*/ 246 w 505"/>
                <a:gd name="T9" fmla="*/ 415 h 491"/>
                <a:gd name="T10" fmla="*/ 76 w 505"/>
                <a:gd name="T11" fmla="*/ 245 h 491"/>
                <a:gd name="T12" fmla="*/ 246 w 505"/>
                <a:gd name="T13" fmla="*/ 76 h 491"/>
                <a:gd name="T14" fmla="*/ 246 w 505"/>
                <a:gd name="T15" fmla="*/ 0 h 491"/>
                <a:gd name="T16" fmla="*/ 0 w 505"/>
                <a:gd name="T17" fmla="*/ 245 h 491"/>
                <a:gd name="T18" fmla="*/ 246 w 505"/>
                <a:gd name="T19" fmla="*/ 491 h 491"/>
                <a:gd name="T20" fmla="*/ 468 w 505"/>
                <a:gd name="T21" fmla="*/ 349 h 491"/>
                <a:gd name="T22" fmla="*/ 505 w 505"/>
                <a:gd name="T23" fmla="*/ 35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505" y="354"/>
                  </a:moveTo>
                  <a:cubicBezTo>
                    <a:pt x="451" y="213"/>
                    <a:pt x="451" y="213"/>
                    <a:pt x="451" y="213"/>
                  </a:cubicBezTo>
                  <a:cubicBezTo>
                    <a:pt x="356" y="331"/>
                    <a:pt x="356" y="331"/>
                    <a:pt x="356" y="331"/>
                  </a:cubicBezTo>
                  <a:cubicBezTo>
                    <a:pt x="389" y="336"/>
                    <a:pt x="389" y="336"/>
                    <a:pt x="389" y="336"/>
                  </a:cubicBezTo>
                  <a:cubicBezTo>
                    <a:pt x="358" y="385"/>
                    <a:pt x="305" y="415"/>
                    <a:pt x="246" y="415"/>
                  </a:cubicBezTo>
                  <a:cubicBezTo>
                    <a:pt x="152" y="415"/>
                    <a:pt x="76" y="339"/>
                    <a:pt x="76" y="245"/>
                  </a:cubicBezTo>
                  <a:cubicBezTo>
                    <a:pt x="76" y="152"/>
                    <a:pt x="152" y="76"/>
                    <a:pt x="246" y="76"/>
                  </a:cubicBezTo>
                  <a:cubicBezTo>
                    <a:pt x="246" y="0"/>
                    <a:pt x="246" y="0"/>
                    <a:pt x="246" y="0"/>
                  </a:cubicBezTo>
                  <a:cubicBezTo>
                    <a:pt x="110" y="0"/>
                    <a:pt x="0" y="110"/>
                    <a:pt x="0" y="245"/>
                  </a:cubicBezTo>
                  <a:cubicBezTo>
                    <a:pt x="0" y="380"/>
                    <a:pt x="110" y="491"/>
                    <a:pt x="246" y="491"/>
                  </a:cubicBezTo>
                  <a:cubicBezTo>
                    <a:pt x="342" y="491"/>
                    <a:pt x="428" y="435"/>
                    <a:pt x="468" y="349"/>
                  </a:cubicBezTo>
                  <a:lnTo>
                    <a:pt x="505"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p:cNvSpPr>
              <a:spLocks/>
            </p:cNvSpPr>
            <p:nvPr/>
          </p:nvSpPr>
          <p:spPr bwMode="auto">
            <a:xfrm>
              <a:off x="6478588" y="2386013"/>
              <a:ext cx="668338" cy="650875"/>
            </a:xfrm>
            <a:custGeom>
              <a:avLst/>
              <a:gdLst>
                <a:gd name="T0" fmla="*/ 260 w 505"/>
                <a:gd name="T1" fmla="*/ 0 h 491"/>
                <a:gd name="T2" fmla="*/ 37 w 505"/>
                <a:gd name="T3" fmla="*/ 142 h 491"/>
                <a:gd name="T4" fmla="*/ 0 w 505"/>
                <a:gd name="T5" fmla="*/ 136 h 491"/>
                <a:gd name="T6" fmla="*/ 55 w 505"/>
                <a:gd name="T7" fmla="*/ 277 h 491"/>
                <a:gd name="T8" fmla="*/ 150 w 505"/>
                <a:gd name="T9" fmla="*/ 159 h 491"/>
                <a:gd name="T10" fmla="*/ 117 w 505"/>
                <a:gd name="T11" fmla="*/ 154 h 491"/>
                <a:gd name="T12" fmla="*/ 260 w 505"/>
                <a:gd name="T13" fmla="*/ 76 h 491"/>
                <a:gd name="T14" fmla="*/ 429 w 505"/>
                <a:gd name="T15" fmla="*/ 245 h 491"/>
                <a:gd name="T16" fmla="*/ 260 w 505"/>
                <a:gd name="T17" fmla="*/ 415 h 491"/>
                <a:gd name="T18" fmla="*/ 260 w 505"/>
                <a:gd name="T19" fmla="*/ 491 h 491"/>
                <a:gd name="T20" fmla="*/ 505 w 505"/>
                <a:gd name="T21" fmla="*/ 245 h 491"/>
                <a:gd name="T22" fmla="*/ 260 w 505"/>
                <a:gd name="T23"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260" y="0"/>
                  </a:moveTo>
                  <a:cubicBezTo>
                    <a:pt x="163" y="0"/>
                    <a:pt x="77" y="55"/>
                    <a:pt x="37" y="142"/>
                  </a:cubicBezTo>
                  <a:cubicBezTo>
                    <a:pt x="0" y="136"/>
                    <a:pt x="0" y="136"/>
                    <a:pt x="0" y="136"/>
                  </a:cubicBezTo>
                  <a:cubicBezTo>
                    <a:pt x="55" y="277"/>
                    <a:pt x="55" y="277"/>
                    <a:pt x="55" y="277"/>
                  </a:cubicBezTo>
                  <a:cubicBezTo>
                    <a:pt x="150" y="159"/>
                    <a:pt x="150" y="159"/>
                    <a:pt x="150" y="159"/>
                  </a:cubicBezTo>
                  <a:cubicBezTo>
                    <a:pt x="117" y="154"/>
                    <a:pt x="117" y="154"/>
                    <a:pt x="117" y="154"/>
                  </a:cubicBezTo>
                  <a:cubicBezTo>
                    <a:pt x="147" y="106"/>
                    <a:pt x="201" y="76"/>
                    <a:pt x="260" y="76"/>
                  </a:cubicBezTo>
                  <a:cubicBezTo>
                    <a:pt x="353" y="76"/>
                    <a:pt x="429" y="152"/>
                    <a:pt x="429" y="245"/>
                  </a:cubicBezTo>
                  <a:cubicBezTo>
                    <a:pt x="429" y="339"/>
                    <a:pt x="353" y="415"/>
                    <a:pt x="260" y="415"/>
                  </a:cubicBezTo>
                  <a:cubicBezTo>
                    <a:pt x="260" y="491"/>
                    <a:pt x="260" y="491"/>
                    <a:pt x="260" y="491"/>
                  </a:cubicBezTo>
                  <a:cubicBezTo>
                    <a:pt x="395" y="491"/>
                    <a:pt x="505" y="380"/>
                    <a:pt x="505" y="245"/>
                  </a:cubicBezTo>
                  <a:cubicBezTo>
                    <a:pt x="505" y="110"/>
                    <a:pt x="395" y="0"/>
                    <a:pt x="2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359870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分支策略</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分支介绍</a:t>
            </a:r>
            <a:endParaRPr lang="en-GB" dirty="0">
              <a:latin typeface="SimSun" panose="02010600030101010101" pitchFamily="2" charset="-122"/>
              <a:ea typeface="SimSun" panose="02010600030101010101" pitchFamily="2" charset="-122"/>
            </a:endParaRPr>
          </a:p>
        </p:txBody>
      </p:sp>
      <p:sp>
        <p:nvSpPr>
          <p:cNvPr id="13" name="Content Placeholder 2"/>
          <p:cNvSpPr txBox="1">
            <a:spLocks/>
          </p:cNvSpPr>
          <p:nvPr/>
        </p:nvSpPr>
        <p:spPr>
          <a:xfrm>
            <a:off x="455613" y="1695045"/>
            <a:ext cx="8232775" cy="4757325"/>
          </a:xfrm>
          <a:prstGeom prst="rect">
            <a:avLst/>
          </a:prstGeom>
        </p:spPr>
        <p:txBody>
          <a:bodyPr vert="horz" lIns="0" tIns="45720" rIns="0" bIns="0" numCol="2" rtlCol="0">
            <a:noAutofit/>
          </a:bodyPr>
          <a:lstStyle>
            <a:lvl1pPr marL="266700" indent="-177800" eaLnBrk="1" hangingPunct="1">
              <a:spcBef>
                <a:spcPts val="1200"/>
              </a:spcBef>
              <a:buFont typeface="Arial" pitchFamily="34" charset="0"/>
              <a:buChar char="•"/>
              <a:defRPr sz="1800">
                <a:solidFill>
                  <a:schemeClr val="tx2"/>
                </a:solidFill>
                <a:latin typeface="+mn-lt"/>
                <a:ea typeface="Arial" pitchFamily="-105" charset="-52"/>
                <a:cs typeface="Arial" pitchFamily="34" charset="0"/>
              </a:defRPr>
            </a:lvl1pPr>
            <a:lvl2pPr marL="361950" lvl="1" indent="-185738" eaLnBrk="1" hangingPunct="1">
              <a:spcBef>
                <a:spcPts val="12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buNone/>
            </a:pPr>
            <a:r>
              <a:rPr lang="zh-CN" altLang="en-US" sz="2000" dirty="0" smtClean="0">
                <a:solidFill>
                  <a:schemeClr val="accent2"/>
                </a:solidFill>
                <a:latin typeface="SimSun" panose="02010600030101010101" pitchFamily="2" charset="-122"/>
                <a:ea typeface="SimSun" panose="02010600030101010101" pitchFamily="2" charset="-122"/>
              </a:rPr>
              <a:t>什么是分支</a:t>
            </a:r>
            <a:r>
              <a:rPr lang="en-US" sz="2000" dirty="0" smtClean="0">
                <a:solidFill>
                  <a:schemeClr val="accent2"/>
                </a:solidFill>
                <a:latin typeface="SimSun" panose="02010600030101010101" pitchFamily="2" charset="-122"/>
                <a:ea typeface="SimSun" panose="02010600030101010101" pitchFamily="2" charset="-122"/>
              </a:rPr>
              <a:t>?</a:t>
            </a:r>
            <a:endParaRPr lang="en-US" sz="2000" dirty="0">
              <a:solidFill>
                <a:schemeClr val="accent2"/>
              </a:solidFill>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分支是一个独立的开发路径，在版本</a:t>
            </a:r>
            <a:r>
              <a:rPr lang="zh-CN" altLang="en-US" dirty="0">
                <a:latin typeface="SimSun" panose="02010600030101010101" pitchFamily="2" charset="-122"/>
                <a:ea typeface="SimSun" panose="02010600030101010101" pitchFamily="2" charset="-122"/>
              </a:rPr>
              <a:t>控制</a:t>
            </a:r>
            <a:r>
              <a:rPr lang="zh-CN" altLang="en-US" dirty="0" smtClean="0">
                <a:latin typeface="SimSun" panose="02010600030101010101" pitchFamily="2" charset="-122"/>
                <a:ea typeface="SimSun" panose="02010600030101010101" pitchFamily="2" charset="-122"/>
              </a:rPr>
              <a:t>工具中包含一个或多个版本</a:t>
            </a:r>
            <a:endParaRPr lang="en-US" dirty="0" smtClean="0">
              <a:latin typeface="SimSun" panose="02010600030101010101" pitchFamily="2" charset="-122"/>
              <a:ea typeface="SimSun" panose="02010600030101010101" pitchFamily="2" charset="-122"/>
            </a:endParaRPr>
          </a:p>
          <a:p>
            <a:pPr marL="88900" indent="-88900">
              <a:buNone/>
            </a:pPr>
            <a:r>
              <a:rPr lang="zh-CN" altLang="en-US" sz="2000" dirty="0" smtClean="0">
                <a:solidFill>
                  <a:schemeClr val="accent2"/>
                </a:solidFill>
                <a:latin typeface="SimSun" panose="02010600030101010101" pitchFamily="2" charset="-122"/>
                <a:ea typeface="SimSun" panose="02010600030101010101" pitchFamily="2" charset="-122"/>
              </a:rPr>
              <a:t>为什么使用分支</a:t>
            </a:r>
            <a:r>
              <a:rPr lang="en-US" sz="2000" dirty="0" smtClean="0">
                <a:solidFill>
                  <a:schemeClr val="accent2"/>
                </a:solidFill>
                <a:latin typeface="SimSun" panose="02010600030101010101" pitchFamily="2" charset="-122"/>
                <a:ea typeface="SimSun" panose="02010600030101010101" pitchFamily="2" charset="-122"/>
              </a:rPr>
              <a:t>?</a:t>
            </a:r>
          </a:p>
          <a:p>
            <a:r>
              <a:rPr lang="zh-CN" altLang="en-US" dirty="0" smtClean="0">
                <a:latin typeface="SimSun" panose="02010600030101010101" pitchFamily="2" charset="-122"/>
                <a:ea typeface="SimSun" panose="02010600030101010101" pitchFamily="2" charset="-122"/>
              </a:rPr>
              <a:t>分支使并行开发成为可能，并且不会导致不同组或资源之间的冲突</a:t>
            </a:r>
            <a:endParaRPr lang="en-US" dirty="0" smtClean="0">
              <a:latin typeface="SimSun" panose="02010600030101010101" pitchFamily="2" charset="-122"/>
              <a:ea typeface="SimSun" panose="02010600030101010101" pitchFamily="2" charset="-122"/>
            </a:endParaRPr>
          </a:p>
          <a:p>
            <a:pPr marL="88900" indent="-88900">
              <a:buNone/>
            </a:pPr>
            <a:r>
              <a:rPr lang="zh-CN" altLang="en-US" sz="2000" dirty="0" smtClean="0">
                <a:solidFill>
                  <a:schemeClr val="accent2"/>
                </a:solidFill>
                <a:latin typeface="SimSun" panose="02010600030101010101" pitchFamily="2" charset="-122"/>
                <a:ea typeface="SimSun" panose="02010600030101010101" pitchFamily="2" charset="-122"/>
              </a:rPr>
              <a:t>谁使用分支</a:t>
            </a:r>
            <a:r>
              <a:rPr lang="en-US" sz="2000" dirty="0" smtClean="0">
                <a:solidFill>
                  <a:schemeClr val="accent2"/>
                </a:solidFill>
                <a:latin typeface="SimSun" panose="02010600030101010101" pitchFamily="2" charset="-122"/>
                <a:ea typeface="SimSun" panose="02010600030101010101" pitchFamily="2" charset="-122"/>
              </a:rPr>
              <a:t>?</a:t>
            </a:r>
          </a:p>
          <a:p>
            <a:r>
              <a:rPr lang="zh-CN" altLang="en-US" dirty="0" smtClean="0">
                <a:latin typeface="SimSun" panose="02010600030101010101" pitchFamily="2" charset="-122"/>
                <a:ea typeface="SimSun" panose="02010600030101010101" pitchFamily="2" charset="-122"/>
              </a:rPr>
              <a:t>任何想把开发工作分割成独立的非集成的子工作流的开发组</a:t>
            </a:r>
            <a:endParaRPr lang="en-US" dirty="0">
              <a:latin typeface="SimSun" panose="02010600030101010101" pitchFamily="2" charset="-122"/>
              <a:ea typeface="SimSun" panose="02010600030101010101" pitchFamily="2" charset="-122"/>
            </a:endParaRPr>
          </a:p>
          <a:p>
            <a:pPr marL="0" indent="0">
              <a:buNone/>
            </a:pPr>
            <a:endParaRPr lang="en-US" dirty="0">
              <a:latin typeface="SimSun" panose="02010600030101010101" pitchFamily="2" charset="-122"/>
              <a:ea typeface="SimSun" panose="02010600030101010101" pitchFamily="2" charset="-122"/>
            </a:endParaRPr>
          </a:p>
        </p:txBody>
      </p:sp>
      <p:sp>
        <p:nvSpPr>
          <p:cNvPr id="14" name="Oval 13"/>
          <p:cNvSpPr/>
          <p:nvPr/>
        </p:nvSpPr>
        <p:spPr>
          <a:xfrm>
            <a:off x="467691" y="2264686"/>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467691" y="345800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67691" y="4575495"/>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Group 69"/>
          <p:cNvGrpSpPr/>
          <p:nvPr/>
        </p:nvGrpSpPr>
        <p:grpSpPr>
          <a:xfrm>
            <a:off x="5443838" y="1798638"/>
            <a:ext cx="3231293" cy="4488176"/>
            <a:chOff x="4679950" y="1798638"/>
            <a:chExt cx="3231293" cy="4488176"/>
          </a:xfrm>
        </p:grpSpPr>
        <p:cxnSp>
          <p:nvCxnSpPr>
            <p:cNvPr id="55" name="Straight Connector 54"/>
            <p:cNvCxnSpPr>
              <a:stCxn id="22" idx="2"/>
              <a:endCxn id="37" idx="0"/>
            </p:cNvCxnSpPr>
            <p:nvPr/>
          </p:nvCxnSpPr>
          <p:spPr>
            <a:xfrm>
              <a:off x="6408397" y="3217307"/>
              <a:ext cx="0" cy="1662662"/>
            </a:xfrm>
            <a:prstGeom prst="line">
              <a:avLst/>
            </a:prstGeom>
            <a:ln w="12700">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52" idx="0"/>
            </p:cNvCxnSpPr>
            <p:nvPr/>
          </p:nvCxnSpPr>
          <p:spPr>
            <a:xfrm flipH="1">
              <a:off x="7432074" y="4731489"/>
              <a:ext cx="2" cy="1172281"/>
            </a:xfrm>
            <a:prstGeom prst="line">
              <a:avLst/>
            </a:prstGeom>
            <a:ln w="12700">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679950" y="1798638"/>
              <a:ext cx="748923" cy="369332"/>
            </a:xfrm>
            <a:prstGeom prst="rect">
              <a:avLst/>
            </a:prstGeom>
            <a:solidFill>
              <a:schemeClr val="bg1"/>
            </a:solidFill>
            <a:ln w="12700">
              <a:solidFill>
                <a:schemeClr val="accent2"/>
              </a:solidFill>
            </a:ln>
          </p:spPr>
          <p:txBody>
            <a:bodyPr wrap="none" rtlCol="0">
              <a:spAutoFit/>
            </a:bodyPr>
            <a:lstStyle/>
            <a:p>
              <a:r>
                <a:rPr lang="en-US" dirty="0" smtClean="0"/>
                <a:t>/main</a:t>
              </a:r>
              <a:endParaRPr lang="en-AU" dirty="0"/>
            </a:p>
          </p:txBody>
        </p:sp>
        <p:sp>
          <p:nvSpPr>
            <p:cNvPr id="24" name="Oval 23"/>
            <p:cNvSpPr/>
            <p:nvPr/>
          </p:nvSpPr>
          <p:spPr>
            <a:xfrm>
              <a:off x="4862887" y="2316450"/>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0</a:t>
              </a:r>
              <a:endParaRPr lang="en-AU" dirty="0"/>
            </a:p>
          </p:txBody>
        </p:sp>
        <p:cxnSp>
          <p:nvCxnSpPr>
            <p:cNvPr id="26" name="Straight Connector 25"/>
            <p:cNvCxnSpPr>
              <a:stCxn id="21" idx="2"/>
              <a:endCxn id="24" idx="0"/>
            </p:cNvCxnSpPr>
            <p:nvPr/>
          </p:nvCxnSpPr>
          <p:spPr>
            <a:xfrm flipH="1">
              <a:off x="5054411" y="2167970"/>
              <a:ext cx="1" cy="148480"/>
            </a:xfrm>
            <a:prstGeom prst="line">
              <a:avLst/>
            </a:prstGeom>
            <a:ln w="12700">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514598" y="2384862"/>
              <a:ext cx="588623" cy="246221"/>
            </a:xfrm>
            <a:prstGeom prst="rect">
              <a:avLst/>
            </a:prstGeom>
            <a:noFill/>
            <a:ln w="12700">
              <a:solidFill>
                <a:schemeClr val="bg1">
                  <a:lumMod val="85000"/>
                </a:schemeClr>
              </a:solidFill>
            </a:ln>
          </p:spPr>
          <p:txBody>
            <a:bodyPr wrap="none" rtlCol="0">
              <a:spAutoFit/>
            </a:bodyPr>
            <a:lstStyle/>
            <a:p>
              <a:r>
                <a:rPr lang="en-US" sz="1000" dirty="0" smtClean="0">
                  <a:solidFill>
                    <a:schemeClr val="tx2"/>
                  </a:solidFill>
                </a:rPr>
                <a:t>Branch</a:t>
              </a:r>
              <a:endParaRPr lang="en-AU" sz="1000" dirty="0">
                <a:solidFill>
                  <a:schemeClr val="tx2"/>
                </a:solidFill>
              </a:endParaRPr>
            </a:p>
          </p:txBody>
        </p:sp>
        <p:cxnSp>
          <p:nvCxnSpPr>
            <p:cNvPr id="29" name="Straight Connector 28"/>
            <p:cNvCxnSpPr>
              <a:stCxn id="24" idx="6"/>
              <a:endCxn id="27" idx="1"/>
            </p:cNvCxnSpPr>
            <p:nvPr/>
          </p:nvCxnSpPr>
          <p:spPr>
            <a:xfrm>
              <a:off x="5245934" y="2507972"/>
              <a:ext cx="268664" cy="1"/>
            </a:xfrm>
            <a:prstGeom prst="line">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27" idx="3"/>
              <a:endCxn id="22" idx="0"/>
            </p:cNvCxnSpPr>
            <p:nvPr/>
          </p:nvCxnSpPr>
          <p:spPr>
            <a:xfrm>
              <a:off x="6103221" y="2507973"/>
              <a:ext cx="305176" cy="340002"/>
            </a:xfrm>
            <a:prstGeom prst="bentConnector2">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6216873" y="3344268"/>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0</a:t>
              </a:r>
              <a:endParaRPr lang="en-AU" dirty="0"/>
            </a:p>
          </p:txBody>
        </p:sp>
        <p:sp>
          <p:nvSpPr>
            <p:cNvPr id="35" name="Oval 34"/>
            <p:cNvSpPr/>
            <p:nvPr/>
          </p:nvSpPr>
          <p:spPr>
            <a:xfrm>
              <a:off x="6216873" y="3856168"/>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AU" dirty="0"/>
            </a:p>
          </p:txBody>
        </p:sp>
        <p:sp>
          <p:nvSpPr>
            <p:cNvPr id="36" name="Oval 35"/>
            <p:cNvSpPr/>
            <p:nvPr/>
          </p:nvSpPr>
          <p:spPr>
            <a:xfrm>
              <a:off x="6216873" y="4368068"/>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AU" dirty="0"/>
            </a:p>
          </p:txBody>
        </p:sp>
        <p:sp>
          <p:nvSpPr>
            <p:cNvPr id="37" name="Oval 36"/>
            <p:cNvSpPr/>
            <p:nvPr/>
          </p:nvSpPr>
          <p:spPr>
            <a:xfrm>
              <a:off x="6216873" y="4879969"/>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AU" dirty="0"/>
            </a:p>
          </p:txBody>
        </p:sp>
        <p:sp>
          <p:nvSpPr>
            <p:cNvPr id="40" name="TextBox 39"/>
            <p:cNvSpPr txBox="1"/>
            <p:nvPr/>
          </p:nvSpPr>
          <p:spPr>
            <a:xfrm>
              <a:off x="6724273" y="3924580"/>
              <a:ext cx="588623" cy="246221"/>
            </a:xfrm>
            <a:prstGeom prst="rect">
              <a:avLst/>
            </a:prstGeom>
            <a:noFill/>
            <a:ln w="12700">
              <a:solidFill>
                <a:schemeClr val="bg1">
                  <a:lumMod val="85000"/>
                </a:schemeClr>
              </a:solidFill>
            </a:ln>
          </p:spPr>
          <p:txBody>
            <a:bodyPr wrap="none" rtlCol="0">
              <a:spAutoFit/>
            </a:bodyPr>
            <a:lstStyle/>
            <a:p>
              <a:r>
                <a:rPr lang="en-US" sz="1000" dirty="0" smtClean="0">
                  <a:solidFill>
                    <a:schemeClr val="tx2"/>
                  </a:solidFill>
                </a:rPr>
                <a:t>Branch</a:t>
              </a:r>
              <a:endParaRPr lang="en-AU" sz="1000" dirty="0">
                <a:solidFill>
                  <a:schemeClr val="tx2"/>
                </a:solidFill>
              </a:endParaRPr>
            </a:p>
          </p:txBody>
        </p:sp>
        <p:cxnSp>
          <p:nvCxnSpPr>
            <p:cNvPr id="41" name="Straight Connector 40"/>
            <p:cNvCxnSpPr>
              <a:stCxn id="35" idx="6"/>
              <a:endCxn id="40" idx="1"/>
            </p:cNvCxnSpPr>
            <p:nvPr/>
          </p:nvCxnSpPr>
          <p:spPr>
            <a:xfrm>
              <a:off x="6599920" y="4047690"/>
              <a:ext cx="124353" cy="1"/>
            </a:xfrm>
            <a:prstGeom prst="line">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40" idx="3"/>
              <a:endCxn id="23" idx="0"/>
            </p:cNvCxnSpPr>
            <p:nvPr/>
          </p:nvCxnSpPr>
          <p:spPr>
            <a:xfrm>
              <a:off x="7312896" y="4047691"/>
              <a:ext cx="119178" cy="299269"/>
            </a:xfrm>
            <a:prstGeom prst="bentConnector2">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7240550" y="4879969"/>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0</a:t>
              </a:r>
              <a:endParaRPr lang="en-AU" dirty="0"/>
            </a:p>
          </p:txBody>
        </p:sp>
        <p:sp>
          <p:nvSpPr>
            <p:cNvPr id="51" name="Oval 50"/>
            <p:cNvSpPr/>
            <p:nvPr/>
          </p:nvSpPr>
          <p:spPr>
            <a:xfrm>
              <a:off x="7240550" y="5391869"/>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AU" dirty="0"/>
            </a:p>
          </p:txBody>
        </p:sp>
        <p:sp>
          <p:nvSpPr>
            <p:cNvPr id="52" name="Oval 51"/>
            <p:cNvSpPr/>
            <p:nvPr/>
          </p:nvSpPr>
          <p:spPr>
            <a:xfrm>
              <a:off x="7240550" y="5903770"/>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AU" dirty="0"/>
            </a:p>
          </p:txBody>
        </p:sp>
        <p:sp>
          <p:nvSpPr>
            <p:cNvPr id="22" name="TextBox 21"/>
            <p:cNvSpPr txBox="1"/>
            <p:nvPr/>
          </p:nvSpPr>
          <p:spPr>
            <a:xfrm>
              <a:off x="5865107" y="2847975"/>
              <a:ext cx="1086580" cy="369332"/>
            </a:xfrm>
            <a:prstGeom prst="rect">
              <a:avLst/>
            </a:prstGeom>
            <a:solidFill>
              <a:schemeClr val="bg1"/>
            </a:solidFill>
            <a:ln w="12700">
              <a:solidFill>
                <a:schemeClr val="accent3"/>
              </a:solidFill>
            </a:ln>
          </p:spPr>
          <p:txBody>
            <a:bodyPr wrap="none" rtlCol="0">
              <a:spAutoFit/>
            </a:bodyPr>
            <a:lstStyle/>
            <a:p>
              <a:r>
                <a:rPr lang="en-US" dirty="0" smtClean="0"/>
                <a:t>/Wave1a</a:t>
              </a:r>
              <a:endParaRPr lang="en-AU" dirty="0"/>
            </a:p>
          </p:txBody>
        </p:sp>
        <p:sp>
          <p:nvSpPr>
            <p:cNvPr id="23" name="TextBox 22"/>
            <p:cNvSpPr txBox="1"/>
            <p:nvPr/>
          </p:nvSpPr>
          <p:spPr>
            <a:xfrm>
              <a:off x="6952904" y="4346960"/>
              <a:ext cx="958339" cy="369332"/>
            </a:xfrm>
            <a:prstGeom prst="rect">
              <a:avLst/>
            </a:prstGeom>
            <a:solidFill>
              <a:schemeClr val="bg1"/>
            </a:solidFill>
            <a:ln w="12700">
              <a:solidFill>
                <a:schemeClr val="accent3"/>
              </a:solidFill>
            </a:ln>
          </p:spPr>
          <p:txBody>
            <a:bodyPr wrap="none" rtlCol="0">
              <a:spAutoFit/>
            </a:bodyPr>
            <a:lstStyle/>
            <a:p>
              <a:r>
                <a:rPr lang="en-US" dirty="0" smtClean="0"/>
                <a:t>/Wave1</a:t>
              </a:r>
              <a:endParaRPr lang="en-AU" dirty="0"/>
            </a:p>
          </p:txBody>
        </p:sp>
        <p:sp>
          <p:nvSpPr>
            <p:cNvPr id="61" name="TextBox 60"/>
            <p:cNvSpPr txBox="1"/>
            <p:nvPr/>
          </p:nvSpPr>
          <p:spPr>
            <a:xfrm>
              <a:off x="6494325" y="5460280"/>
              <a:ext cx="546945" cy="246221"/>
            </a:xfrm>
            <a:prstGeom prst="rect">
              <a:avLst/>
            </a:prstGeom>
            <a:noFill/>
            <a:ln w="12700">
              <a:solidFill>
                <a:schemeClr val="bg1">
                  <a:lumMod val="85000"/>
                </a:schemeClr>
              </a:solidFill>
            </a:ln>
          </p:spPr>
          <p:txBody>
            <a:bodyPr wrap="none" rtlCol="0">
              <a:spAutoFit/>
            </a:bodyPr>
            <a:lstStyle/>
            <a:p>
              <a:r>
                <a:rPr lang="en-US" sz="1000" dirty="0" smtClean="0">
                  <a:solidFill>
                    <a:schemeClr val="tx2"/>
                  </a:solidFill>
                </a:rPr>
                <a:t>merge</a:t>
              </a:r>
              <a:endParaRPr lang="en-AU" sz="1000" dirty="0">
                <a:solidFill>
                  <a:schemeClr val="tx2"/>
                </a:solidFill>
              </a:endParaRPr>
            </a:p>
          </p:txBody>
        </p:sp>
        <p:cxnSp>
          <p:nvCxnSpPr>
            <p:cNvPr id="63" name="Elbow Connector 62"/>
            <p:cNvCxnSpPr>
              <a:stCxn id="36" idx="6"/>
              <a:endCxn id="61" idx="0"/>
            </p:cNvCxnSpPr>
            <p:nvPr/>
          </p:nvCxnSpPr>
          <p:spPr>
            <a:xfrm>
              <a:off x="6599920" y="4559590"/>
              <a:ext cx="167878" cy="900690"/>
            </a:xfrm>
            <a:prstGeom prst="bentConnector2">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61" idx="3"/>
              <a:endCxn id="51" idx="2"/>
            </p:cNvCxnSpPr>
            <p:nvPr/>
          </p:nvCxnSpPr>
          <p:spPr>
            <a:xfrm>
              <a:off x="7041270" y="5583391"/>
              <a:ext cx="199280" cy="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66" name="Pie 65"/>
            <p:cNvSpPr/>
            <p:nvPr/>
          </p:nvSpPr>
          <p:spPr>
            <a:xfrm>
              <a:off x="4919229" y="2372792"/>
              <a:ext cx="381600" cy="381600"/>
            </a:xfrm>
            <a:prstGeom prst="pie">
              <a:avLst>
                <a:gd name="adj1" fmla="val 0"/>
                <a:gd name="adj2" fmla="val 5411985"/>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67" name="Pie 66"/>
            <p:cNvSpPr/>
            <p:nvPr/>
          </p:nvSpPr>
          <p:spPr>
            <a:xfrm>
              <a:off x="6270168" y="3892633"/>
              <a:ext cx="381600" cy="381600"/>
            </a:xfrm>
            <a:prstGeom prst="pie">
              <a:avLst>
                <a:gd name="adj1" fmla="val 0"/>
                <a:gd name="adj2" fmla="val 5411985"/>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68" name="Pie 67"/>
            <p:cNvSpPr/>
            <p:nvPr/>
          </p:nvSpPr>
          <p:spPr>
            <a:xfrm flipV="1">
              <a:off x="6270168" y="4316217"/>
              <a:ext cx="381600" cy="381600"/>
            </a:xfrm>
            <a:prstGeom prst="pie">
              <a:avLst>
                <a:gd name="adj1" fmla="val 0"/>
                <a:gd name="adj2" fmla="val 5411985"/>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69" name="Pie 68"/>
            <p:cNvSpPr/>
            <p:nvPr/>
          </p:nvSpPr>
          <p:spPr>
            <a:xfrm flipH="1" flipV="1">
              <a:off x="7191507" y="5342823"/>
              <a:ext cx="381600" cy="381600"/>
            </a:xfrm>
            <a:prstGeom prst="pie">
              <a:avLst>
                <a:gd name="adj1" fmla="val 0"/>
                <a:gd name="adj2" fmla="val 5411985"/>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grpSp>
      <p:sp>
        <p:nvSpPr>
          <p:cNvPr id="71" name="Footer Placeholder 70"/>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16002681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455613" y="3329807"/>
            <a:ext cx="4010400" cy="3004318"/>
            <a:chOff x="455613" y="3329807"/>
            <a:chExt cx="4010400" cy="3004318"/>
          </a:xfrm>
        </p:grpSpPr>
        <p:sp>
          <p:nvSpPr>
            <p:cNvPr id="59" name="Rectangle 58"/>
            <p:cNvSpPr/>
            <p:nvPr/>
          </p:nvSpPr>
          <p:spPr>
            <a:xfrm>
              <a:off x="455613" y="5335780"/>
              <a:ext cx="4010400" cy="99834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SimSun" panose="02010600030101010101" pitchFamily="2" charset="-122"/>
                <a:ea typeface="SimSun" panose="02010600030101010101" pitchFamily="2" charset="-122"/>
              </a:endParaRPr>
            </a:p>
          </p:txBody>
        </p:sp>
        <p:sp>
          <p:nvSpPr>
            <p:cNvPr id="41" name="Freeform 6"/>
            <p:cNvSpPr>
              <a:spLocks noChangeAspect="1"/>
            </p:cNvSpPr>
            <p:nvPr/>
          </p:nvSpPr>
          <p:spPr bwMode="auto">
            <a:xfrm>
              <a:off x="455613" y="3329807"/>
              <a:ext cx="4010400" cy="2521130"/>
            </a:xfrm>
            <a:custGeom>
              <a:avLst/>
              <a:gdLst>
                <a:gd name="T0" fmla="*/ 1262 w 1262"/>
                <a:gd name="T1" fmla="*/ 793 h 793"/>
                <a:gd name="T2" fmla="*/ 1262 w 1262"/>
                <a:gd name="T3" fmla="*/ 0 h 793"/>
                <a:gd name="T4" fmla="*/ 883 w 1262"/>
                <a:gd name="T5" fmla="*/ 0 h 793"/>
                <a:gd name="T6" fmla="*/ 631 w 1262"/>
                <a:gd name="T7" fmla="*/ 224 h 793"/>
                <a:gd name="T8" fmla="*/ 381 w 1262"/>
                <a:gd name="T9" fmla="*/ 0 h 793"/>
                <a:gd name="T10" fmla="*/ 0 w 1262"/>
                <a:gd name="T11" fmla="*/ 0 h 793"/>
                <a:gd name="T12" fmla="*/ 0 w 1262"/>
                <a:gd name="T13" fmla="*/ 793 h 793"/>
                <a:gd name="T14" fmla="*/ 1262 w 1262"/>
                <a:gd name="T15" fmla="*/ 793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2" h="793">
                  <a:moveTo>
                    <a:pt x="1262" y="793"/>
                  </a:moveTo>
                  <a:cubicBezTo>
                    <a:pt x="1262" y="0"/>
                    <a:pt x="1262" y="0"/>
                    <a:pt x="1262" y="0"/>
                  </a:cubicBezTo>
                  <a:cubicBezTo>
                    <a:pt x="883" y="0"/>
                    <a:pt x="883" y="0"/>
                    <a:pt x="883" y="0"/>
                  </a:cubicBezTo>
                  <a:cubicBezTo>
                    <a:pt x="868" y="126"/>
                    <a:pt x="761" y="224"/>
                    <a:pt x="631" y="224"/>
                  </a:cubicBezTo>
                  <a:cubicBezTo>
                    <a:pt x="503" y="224"/>
                    <a:pt x="396" y="126"/>
                    <a:pt x="381" y="0"/>
                  </a:cubicBezTo>
                  <a:cubicBezTo>
                    <a:pt x="359" y="0"/>
                    <a:pt x="0" y="0"/>
                    <a:pt x="0" y="0"/>
                  </a:cubicBezTo>
                  <a:cubicBezTo>
                    <a:pt x="0" y="793"/>
                    <a:pt x="0" y="793"/>
                    <a:pt x="0" y="793"/>
                  </a:cubicBezTo>
                  <a:lnTo>
                    <a:pt x="1262" y="793"/>
                  </a:lnTo>
                  <a:close/>
                </a:path>
              </a:pathLst>
            </a:custGeom>
            <a:solidFill>
              <a:schemeClr val="accent4"/>
            </a:solidFill>
            <a:ln>
              <a:noFill/>
            </a:ln>
          </p:spPr>
          <p:txBody>
            <a:bodyPr vert="horz" wrap="square" lIns="72000" tIns="612000" rIns="72000" bIns="72000" numCol="1" anchor="t" anchorCtr="0" compatLnSpc="1">
              <a:prstTxWarp prst="textNoShape">
                <a:avLst/>
              </a:prstTxWarp>
            </a:bodyPr>
            <a:lstStyle/>
            <a:p>
              <a:pPr>
                <a:spcBef>
                  <a:spcPts val="600"/>
                </a:spcBef>
              </a:pPr>
              <a:r>
                <a:rPr lang="zh-CN" altLang="en-US" dirty="0">
                  <a:solidFill>
                    <a:schemeClr val="accent5"/>
                  </a:solidFill>
                  <a:latin typeface="SimSun" panose="02010600030101010101" pitchFamily="2" charset="-122"/>
                  <a:ea typeface="SimSun" panose="02010600030101010101" pitchFamily="2" charset="-122"/>
                </a:rPr>
                <a:t>优点</a:t>
              </a:r>
              <a:endParaRPr lang="en-US" dirty="0" smtClean="0">
                <a:solidFill>
                  <a:schemeClr val="accent5"/>
                </a:solidFill>
                <a:latin typeface="SimSun" panose="02010600030101010101" pitchFamily="2" charset="-122"/>
                <a:ea typeface="SimSun" panose="02010600030101010101" pitchFamily="2" charset="-122"/>
              </a:endParaRPr>
            </a:p>
            <a:p>
              <a:pPr marL="180000" indent="-180000" fontAlgn="t">
                <a:spcBef>
                  <a:spcPts val="600"/>
                </a:spcBef>
                <a:buFont typeface="Arial" panose="020B0604020202020204" pitchFamily="34" charset="0"/>
                <a:buChar char="•"/>
              </a:pPr>
              <a:r>
                <a:rPr lang="zh-CN" altLang="en-US" sz="1400" dirty="0" smtClean="0">
                  <a:solidFill>
                    <a:schemeClr val="tx2"/>
                  </a:solidFill>
                  <a:latin typeface="SimSun" panose="02010600030101010101" pitchFamily="2" charset="-122"/>
                  <a:ea typeface="SimSun" panose="02010600030101010101" pitchFamily="2" charset="-122"/>
                </a:rPr>
                <a:t>在顶层无分支与合并</a:t>
              </a:r>
              <a:endParaRPr lang="en-AU" sz="1400" dirty="0">
                <a:solidFill>
                  <a:schemeClr val="tx2"/>
                </a:solidFill>
                <a:latin typeface="SimSun" panose="02010600030101010101" pitchFamily="2" charset="-122"/>
                <a:ea typeface="SimSun" panose="02010600030101010101" pitchFamily="2" charset="-122"/>
              </a:endParaRPr>
            </a:p>
            <a:p>
              <a:pPr marL="180000" indent="-180000" fontAlgn="auto">
                <a:spcBef>
                  <a:spcPts val="600"/>
                </a:spcBef>
                <a:buFont typeface="Arial" panose="020B0604020202020204" pitchFamily="34" charset="0"/>
                <a:buChar char="•"/>
              </a:pPr>
              <a:r>
                <a:rPr lang="zh-CN" altLang="en-US" sz="1400" dirty="0" smtClean="0">
                  <a:solidFill>
                    <a:schemeClr val="tx2"/>
                  </a:solidFill>
                  <a:latin typeface="SimSun" panose="02010600030101010101" pitchFamily="2" charset="-122"/>
                  <a:ea typeface="SimSun" panose="02010600030101010101" pitchFamily="2" charset="-122"/>
                </a:rPr>
                <a:t>集成问题</a:t>
              </a:r>
              <a:r>
                <a:rPr lang="en-GB" sz="1400" dirty="0" smtClean="0">
                  <a:solidFill>
                    <a:schemeClr val="tx2"/>
                  </a:solidFill>
                  <a:latin typeface="SimSun" panose="02010600030101010101" pitchFamily="2" charset="-122"/>
                  <a:ea typeface="SimSun" panose="02010600030101010101" pitchFamily="2" charset="-122"/>
                </a:rPr>
                <a:t> (</a:t>
              </a:r>
              <a:r>
                <a:rPr lang="zh-CN" altLang="en-US" sz="1400" dirty="0" smtClean="0">
                  <a:solidFill>
                    <a:schemeClr val="tx2"/>
                  </a:solidFill>
                  <a:latin typeface="SimSun" panose="02010600030101010101" pitchFamily="2" charset="-122"/>
                  <a:ea typeface="SimSun" panose="02010600030101010101" pitchFamily="2" charset="-122"/>
                </a:rPr>
                <a:t>对于其他开发者的更改</a:t>
              </a:r>
              <a:r>
                <a:rPr lang="en-GB" sz="1400" dirty="0" smtClean="0">
                  <a:solidFill>
                    <a:schemeClr val="tx2"/>
                  </a:solidFill>
                  <a:latin typeface="SimSun" panose="02010600030101010101" pitchFamily="2" charset="-122"/>
                  <a:ea typeface="SimSun" panose="02010600030101010101" pitchFamily="2" charset="-122"/>
                </a:rPr>
                <a:t>) </a:t>
              </a:r>
              <a:r>
                <a:rPr lang="zh-CN" altLang="en-US" sz="1400" dirty="0" smtClean="0">
                  <a:solidFill>
                    <a:schemeClr val="tx2"/>
                  </a:solidFill>
                  <a:latin typeface="SimSun" panose="02010600030101010101" pitchFamily="2" charset="-122"/>
                  <a:ea typeface="SimSun" panose="02010600030101010101" pitchFamily="2" charset="-122"/>
                </a:rPr>
                <a:t>及时反映</a:t>
              </a:r>
              <a:endParaRPr lang="en-AU" sz="1400" dirty="0">
                <a:solidFill>
                  <a:schemeClr val="tx2"/>
                </a:solidFill>
                <a:latin typeface="SimSun" panose="02010600030101010101" pitchFamily="2" charset="-122"/>
                <a:ea typeface="SimSun" panose="02010600030101010101" pitchFamily="2" charset="-122"/>
              </a:endParaRPr>
            </a:p>
            <a:p>
              <a:pPr marL="180000" indent="-180000" fontAlgn="t">
                <a:spcBef>
                  <a:spcPts val="600"/>
                </a:spcBef>
                <a:buFont typeface="Arial" panose="020B0604020202020204" pitchFamily="34" charset="0"/>
                <a:buChar char="•"/>
              </a:pPr>
              <a:r>
                <a:rPr lang="zh-CN" altLang="en-US" sz="1400" dirty="0" smtClean="0">
                  <a:solidFill>
                    <a:schemeClr val="tx2"/>
                  </a:solidFill>
                  <a:latin typeface="SimSun" panose="02010600030101010101" pitchFamily="2" charset="-122"/>
                  <a:ea typeface="SimSun" panose="02010600030101010101" pitchFamily="2" charset="-122"/>
                </a:rPr>
                <a:t>在一定的时间范围内把分支保持在“</a:t>
              </a:r>
              <a:r>
                <a:rPr lang="en-GB" altLang="ja-JP" sz="1400" dirty="0" smtClean="0">
                  <a:solidFill>
                    <a:schemeClr val="tx2"/>
                  </a:solidFill>
                  <a:latin typeface="SimSun" panose="02010600030101010101" pitchFamily="2" charset="-122"/>
                  <a:ea typeface="SimSun" panose="02010600030101010101" pitchFamily="2" charset="-122"/>
                </a:rPr>
                <a:t>releasable</a:t>
              </a:r>
              <a:r>
                <a:rPr lang="zh-CN" altLang="en-US" sz="1400" dirty="0" smtClean="0">
                  <a:solidFill>
                    <a:schemeClr val="tx2"/>
                  </a:solidFill>
                  <a:latin typeface="SimSun" panose="02010600030101010101" pitchFamily="2" charset="-122"/>
                  <a:ea typeface="SimSun" panose="02010600030101010101" pitchFamily="2" charset="-122"/>
                </a:rPr>
                <a:t>”状态，因为你可能在之后需要进行产品修改。</a:t>
              </a:r>
              <a:endParaRPr lang="en-AU" sz="2000" dirty="0">
                <a:solidFill>
                  <a:schemeClr val="tx2"/>
                </a:solidFill>
                <a:latin typeface="SimSun" panose="02010600030101010101" pitchFamily="2" charset="-122"/>
                <a:ea typeface="SimSun" panose="02010600030101010101" pitchFamily="2" charset="-122"/>
              </a:endParaRPr>
            </a:p>
          </p:txBody>
        </p:sp>
      </p:grpSp>
      <p:grpSp>
        <p:nvGrpSpPr>
          <p:cNvPr id="60" name="Group 59"/>
          <p:cNvGrpSpPr/>
          <p:nvPr/>
        </p:nvGrpSpPr>
        <p:grpSpPr>
          <a:xfrm>
            <a:off x="4667169" y="3329807"/>
            <a:ext cx="4010400" cy="3004318"/>
            <a:chOff x="4667169" y="3329807"/>
            <a:chExt cx="4010400" cy="3004318"/>
          </a:xfrm>
        </p:grpSpPr>
        <p:sp>
          <p:nvSpPr>
            <p:cNvPr id="61" name="Rectangle 60"/>
            <p:cNvSpPr/>
            <p:nvPr/>
          </p:nvSpPr>
          <p:spPr>
            <a:xfrm>
              <a:off x="4667169" y="5335780"/>
              <a:ext cx="4010400" cy="998345"/>
            </a:xfrm>
            <a:prstGeom prst="rect">
              <a:avLst/>
            </a:prstGeom>
            <a:solidFill>
              <a:schemeClr val="accent4"/>
            </a:solidFill>
            <a:ln>
              <a:noFill/>
            </a:ln>
          </p:spPr>
          <p:txBody>
            <a:bodyPr vert="horz" wrap="square" lIns="72000" tIns="684000" rIns="72000" bIns="72000" numCol="1" anchor="t" anchorCtr="0" compatLnSpc="1">
              <a:prstTxWarp prst="textNoShape">
                <a:avLst/>
              </a:prstTxWarp>
            </a:bodyPr>
            <a:lstStyle/>
            <a:p>
              <a:pPr>
                <a:spcBef>
                  <a:spcPts val="600"/>
                </a:spcBef>
              </a:pPr>
              <a:endParaRPr lang="en-AU">
                <a:solidFill>
                  <a:schemeClr val="accent5"/>
                </a:solidFill>
                <a:latin typeface="SimSun" panose="02010600030101010101" pitchFamily="2" charset="-122"/>
                <a:ea typeface="SimSun" panose="02010600030101010101" pitchFamily="2" charset="-122"/>
              </a:endParaRPr>
            </a:p>
          </p:txBody>
        </p:sp>
        <p:sp>
          <p:nvSpPr>
            <p:cNvPr id="47" name="Freeform 6"/>
            <p:cNvSpPr>
              <a:spLocks noChangeAspect="1"/>
            </p:cNvSpPr>
            <p:nvPr/>
          </p:nvSpPr>
          <p:spPr bwMode="auto">
            <a:xfrm>
              <a:off x="4667169" y="3329807"/>
              <a:ext cx="4010400" cy="2521130"/>
            </a:xfrm>
            <a:custGeom>
              <a:avLst/>
              <a:gdLst>
                <a:gd name="T0" fmla="*/ 1262 w 1262"/>
                <a:gd name="T1" fmla="*/ 793 h 793"/>
                <a:gd name="T2" fmla="*/ 1262 w 1262"/>
                <a:gd name="T3" fmla="*/ 0 h 793"/>
                <a:gd name="T4" fmla="*/ 883 w 1262"/>
                <a:gd name="T5" fmla="*/ 0 h 793"/>
                <a:gd name="T6" fmla="*/ 631 w 1262"/>
                <a:gd name="T7" fmla="*/ 224 h 793"/>
                <a:gd name="T8" fmla="*/ 381 w 1262"/>
                <a:gd name="T9" fmla="*/ 0 h 793"/>
                <a:gd name="T10" fmla="*/ 0 w 1262"/>
                <a:gd name="T11" fmla="*/ 0 h 793"/>
                <a:gd name="T12" fmla="*/ 0 w 1262"/>
                <a:gd name="T13" fmla="*/ 793 h 793"/>
                <a:gd name="T14" fmla="*/ 1262 w 1262"/>
                <a:gd name="T15" fmla="*/ 793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2" h="793">
                  <a:moveTo>
                    <a:pt x="1262" y="793"/>
                  </a:moveTo>
                  <a:cubicBezTo>
                    <a:pt x="1262" y="0"/>
                    <a:pt x="1262" y="0"/>
                    <a:pt x="1262" y="0"/>
                  </a:cubicBezTo>
                  <a:cubicBezTo>
                    <a:pt x="883" y="0"/>
                    <a:pt x="883" y="0"/>
                    <a:pt x="883" y="0"/>
                  </a:cubicBezTo>
                  <a:cubicBezTo>
                    <a:pt x="868" y="126"/>
                    <a:pt x="761" y="224"/>
                    <a:pt x="631" y="224"/>
                  </a:cubicBezTo>
                  <a:cubicBezTo>
                    <a:pt x="503" y="224"/>
                    <a:pt x="396" y="126"/>
                    <a:pt x="381" y="0"/>
                  </a:cubicBezTo>
                  <a:cubicBezTo>
                    <a:pt x="359" y="0"/>
                    <a:pt x="0" y="0"/>
                    <a:pt x="0" y="0"/>
                  </a:cubicBezTo>
                  <a:cubicBezTo>
                    <a:pt x="0" y="793"/>
                    <a:pt x="0" y="793"/>
                    <a:pt x="0" y="793"/>
                  </a:cubicBezTo>
                  <a:lnTo>
                    <a:pt x="1262" y="793"/>
                  </a:lnTo>
                  <a:close/>
                </a:path>
              </a:pathLst>
            </a:custGeom>
            <a:solidFill>
              <a:schemeClr val="accent4"/>
            </a:solidFill>
            <a:ln>
              <a:noFill/>
            </a:ln>
          </p:spPr>
          <p:txBody>
            <a:bodyPr vert="horz" wrap="square" lIns="72000" tIns="612000" rIns="72000" bIns="72000" numCol="1" anchor="t" anchorCtr="0" compatLnSpc="1">
              <a:prstTxWarp prst="textNoShape">
                <a:avLst/>
              </a:prstTxWarp>
            </a:bodyPr>
            <a:lstStyle/>
            <a:p>
              <a:pPr>
                <a:spcBef>
                  <a:spcPts val="600"/>
                </a:spcBef>
              </a:pPr>
              <a:r>
                <a:rPr lang="zh-CN" altLang="en-US" dirty="0">
                  <a:solidFill>
                    <a:schemeClr val="accent5"/>
                  </a:solidFill>
                  <a:latin typeface="SimSun" panose="02010600030101010101" pitchFamily="2" charset="-122"/>
                  <a:ea typeface="SimSun" panose="02010600030101010101" pitchFamily="2" charset="-122"/>
                </a:rPr>
                <a:t>问题</a:t>
              </a:r>
              <a:endParaRPr lang="en-US" dirty="0">
                <a:solidFill>
                  <a:schemeClr val="accent5"/>
                </a:solidFill>
                <a:latin typeface="SimSun" panose="02010600030101010101" pitchFamily="2" charset="-122"/>
                <a:ea typeface="SimSun" panose="02010600030101010101" pitchFamily="2" charset="-122"/>
              </a:endParaRPr>
            </a:p>
            <a:p>
              <a:pPr marL="180000" indent="-180000" fontAlgn="t">
                <a:spcBef>
                  <a:spcPts val="600"/>
                </a:spcBef>
                <a:buFont typeface="Arial" panose="020B0604020202020204" pitchFamily="34" charset="0"/>
                <a:buChar char="•"/>
              </a:pPr>
              <a:r>
                <a:rPr lang="zh-CN" altLang="en-US" sz="1400" dirty="0" smtClean="0">
                  <a:solidFill>
                    <a:schemeClr val="tx2"/>
                  </a:solidFill>
                  <a:latin typeface="SimSun" panose="02010600030101010101" pitchFamily="2" charset="-122"/>
                  <a:ea typeface="SimSun" panose="02010600030101010101" pitchFamily="2" charset="-122"/>
                </a:rPr>
                <a:t>人员可能由于“忙”着完成“输出”而被限制</a:t>
              </a:r>
              <a:endParaRPr lang="en-AU" sz="1400" dirty="0">
                <a:solidFill>
                  <a:schemeClr val="tx2"/>
                </a:solidFill>
                <a:latin typeface="SimSun" panose="02010600030101010101" pitchFamily="2" charset="-122"/>
                <a:ea typeface="SimSun" panose="02010600030101010101" pitchFamily="2" charset="-122"/>
              </a:endParaRPr>
            </a:p>
            <a:p>
              <a:pPr marL="180000" indent="-180000" fontAlgn="auto">
                <a:spcBef>
                  <a:spcPts val="600"/>
                </a:spcBef>
                <a:buFont typeface="Arial" panose="020B0604020202020204" pitchFamily="34" charset="0"/>
                <a:buChar char="•"/>
              </a:pPr>
              <a:r>
                <a:rPr lang="zh-CN" altLang="en-US" sz="1400" dirty="0" smtClean="0">
                  <a:solidFill>
                    <a:schemeClr val="tx2"/>
                  </a:solidFill>
                  <a:latin typeface="SimSun" panose="02010600030101010101" pitchFamily="2" charset="-122"/>
                  <a:ea typeface="SimSun" panose="02010600030101010101" pitchFamily="2" charset="-122"/>
                </a:rPr>
                <a:t>需要去隐藏或禁用未完成的工作</a:t>
              </a:r>
              <a:endParaRPr lang="en-AU" sz="1400" dirty="0">
                <a:solidFill>
                  <a:schemeClr val="tx2"/>
                </a:solidFill>
                <a:latin typeface="SimSun" panose="02010600030101010101" pitchFamily="2" charset="-122"/>
                <a:ea typeface="SimSun" panose="02010600030101010101" pitchFamily="2" charset="-122"/>
              </a:endParaRPr>
            </a:p>
            <a:p>
              <a:pPr marL="180000" indent="-180000" fontAlgn="t">
                <a:spcBef>
                  <a:spcPts val="600"/>
                </a:spcBef>
                <a:buFont typeface="Arial" panose="020B0604020202020204" pitchFamily="34" charset="0"/>
                <a:buChar char="•"/>
              </a:pPr>
              <a:r>
                <a:rPr lang="zh-CN" altLang="en-US" sz="1400" dirty="0" smtClean="0">
                  <a:solidFill>
                    <a:schemeClr val="tx2"/>
                  </a:solidFill>
                  <a:latin typeface="SimSun" panose="02010600030101010101" pitchFamily="2" charset="-122"/>
                  <a:ea typeface="SimSun" panose="02010600030101010101" pitchFamily="2" charset="-122"/>
                </a:rPr>
                <a:t>可能会有某种商业需求让我们必须在某一个特定的日期开始下一阶段的开发。</a:t>
              </a:r>
              <a:endParaRPr lang="en-AU" sz="1400" dirty="0">
                <a:solidFill>
                  <a:schemeClr val="tx2"/>
                </a:solidFill>
                <a:latin typeface="SimSun" panose="02010600030101010101" pitchFamily="2" charset="-122"/>
                <a:ea typeface="SimSun" panose="02010600030101010101" pitchFamily="2" charset="-122"/>
              </a:endParaRPr>
            </a:p>
          </p:txBody>
        </p:sp>
      </p:gr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分支策略</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精益思维</a:t>
            </a:r>
            <a:r>
              <a:rPr lang="en-GB"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基于主干的开发</a:t>
            </a:r>
            <a:endParaRPr lang="en-GB" dirty="0">
              <a:latin typeface="SimSun" panose="02010600030101010101" pitchFamily="2" charset="-122"/>
              <a:ea typeface="SimSun" panose="02010600030101010101" pitchFamily="2" charset="-122"/>
            </a:endParaRPr>
          </a:p>
        </p:txBody>
      </p:sp>
      <p:sp>
        <p:nvSpPr>
          <p:cNvPr id="21" name="Footer Placeholder 20"/>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9" name="Oval 8"/>
          <p:cNvSpPr/>
          <p:nvPr/>
        </p:nvSpPr>
        <p:spPr>
          <a:xfrm>
            <a:off x="1850524" y="2613525"/>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3" name="Group 22"/>
          <p:cNvGrpSpPr/>
          <p:nvPr/>
        </p:nvGrpSpPr>
        <p:grpSpPr>
          <a:xfrm>
            <a:off x="2104566" y="2778916"/>
            <a:ext cx="733564" cy="783130"/>
            <a:chOff x="1127958" y="1896371"/>
            <a:chExt cx="512100" cy="546703"/>
          </a:xfrm>
          <a:solidFill>
            <a:schemeClr val="accent1"/>
          </a:solidFill>
        </p:grpSpPr>
        <p:sp>
          <p:nvSpPr>
            <p:cNvPr id="24" name="Freeform 6"/>
            <p:cNvSpPr>
              <a:spLocks/>
            </p:cNvSpPr>
            <p:nvPr/>
          </p:nvSpPr>
          <p:spPr bwMode="auto">
            <a:xfrm>
              <a:off x="1262211" y="1896371"/>
              <a:ext cx="377847" cy="546703"/>
            </a:xfrm>
            <a:custGeom>
              <a:avLst/>
              <a:gdLst>
                <a:gd name="T0" fmla="*/ 43 w 116"/>
                <a:gd name="T1" fmla="*/ 17 h 167"/>
                <a:gd name="T2" fmla="*/ 63 w 116"/>
                <a:gd name="T3" fmla="*/ 17 h 167"/>
                <a:gd name="T4" fmla="*/ 58 w 116"/>
                <a:gd name="T5" fmla="*/ 64 h 167"/>
                <a:gd name="T6" fmla="*/ 94 w 116"/>
                <a:gd name="T7" fmla="*/ 64 h 167"/>
                <a:gd name="T8" fmla="*/ 111 w 116"/>
                <a:gd name="T9" fmla="*/ 74 h 167"/>
                <a:gd name="T10" fmla="*/ 108 w 116"/>
                <a:gd name="T11" fmla="*/ 89 h 167"/>
                <a:gd name="T12" fmla="*/ 113 w 116"/>
                <a:gd name="T13" fmla="*/ 106 h 167"/>
                <a:gd name="T14" fmla="*/ 108 w 116"/>
                <a:gd name="T15" fmla="*/ 118 h 167"/>
                <a:gd name="T16" fmla="*/ 109 w 116"/>
                <a:gd name="T17" fmla="*/ 132 h 167"/>
                <a:gd name="T18" fmla="*/ 100 w 116"/>
                <a:gd name="T19" fmla="*/ 146 h 167"/>
                <a:gd name="T20" fmla="*/ 98 w 116"/>
                <a:gd name="T21" fmla="*/ 157 h 167"/>
                <a:gd name="T22" fmla="*/ 74 w 116"/>
                <a:gd name="T23" fmla="*/ 167 h 167"/>
                <a:gd name="T24" fmla="*/ 42 w 116"/>
                <a:gd name="T25" fmla="*/ 167 h 167"/>
                <a:gd name="T26" fmla="*/ 6 w 116"/>
                <a:gd name="T27" fmla="*/ 151 h 167"/>
                <a:gd name="T28" fmla="*/ 0 w 116"/>
                <a:gd name="T29" fmla="*/ 151 h 167"/>
                <a:gd name="T30" fmla="*/ 0 w 116"/>
                <a:gd name="T31" fmla="*/ 73 h 167"/>
                <a:gd name="T32" fmla="*/ 22 w 116"/>
                <a:gd name="T33" fmla="*/ 60 h 167"/>
                <a:gd name="T34" fmla="*/ 43 w 116"/>
                <a:gd name="T35" fmla="*/ 1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167">
                  <a:moveTo>
                    <a:pt x="43" y="17"/>
                  </a:moveTo>
                  <a:cubicBezTo>
                    <a:pt x="46" y="0"/>
                    <a:pt x="58" y="2"/>
                    <a:pt x="63" y="17"/>
                  </a:cubicBezTo>
                  <a:cubicBezTo>
                    <a:pt x="68" y="32"/>
                    <a:pt x="58" y="64"/>
                    <a:pt x="58" y="64"/>
                  </a:cubicBezTo>
                  <a:cubicBezTo>
                    <a:pt x="58" y="64"/>
                    <a:pt x="82" y="64"/>
                    <a:pt x="94" y="64"/>
                  </a:cubicBezTo>
                  <a:cubicBezTo>
                    <a:pt x="106" y="64"/>
                    <a:pt x="109" y="68"/>
                    <a:pt x="111" y="74"/>
                  </a:cubicBezTo>
                  <a:cubicBezTo>
                    <a:pt x="112" y="79"/>
                    <a:pt x="110" y="83"/>
                    <a:pt x="108" y="89"/>
                  </a:cubicBezTo>
                  <a:cubicBezTo>
                    <a:pt x="107" y="94"/>
                    <a:pt x="116" y="98"/>
                    <a:pt x="113" y="106"/>
                  </a:cubicBezTo>
                  <a:cubicBezTo>
                    <a:pt x="112" y="114"/>
                    <a:pt x="109" y="113"/>
                    <a:pt x="108" y="118"/>
                  </a:cubicBezTo>
                  <a:cubicBezTo>
                    <a:pt x="107" y="124"/>
                    <a:pt x="111" y="125"/>
                    <a:pt x="109" y="132"/>
                  </a:cubicBezTo>
                  <a:cubicBezTo>
                    <a:pt x="107" y="140"/>
                    <a:pt x="101" y="142"/>
                    <a:pt x="100" y="146"/>
                  </a:cubicBezTo>
                  <a:cubicBezTo>
                    <a:pt x="99" y="151"/>
                    <a:pt x="101" y="151"/>
                    <a:pt x="98" y="157"/>
                  </a:cubicBezTo>
                  <a:cubicBezTo>
                    <a:pt x="95" y="167"/>
                    <a:pt x="86" y="167"/>
                    <a:pt x="74" y="167"/>
                  </a:cubicBezTo>
                  <a:cubicBezTo>
                    <a:pt x="61" y="167"/>
                    <a:pt x="53" y="167"/>
                    <a:pt x="42" y="167"/>
                  </a:cubicBezTo>
                  <a:cubicBezTo>
                    <a:pt x="25" y="167"/>
                    <a:pt x="20" y="151"/>
                    <a:pt x="6" y="151"/>
                  </a:cubicBezTo>
                  <a:cubicBezTo>
                    <a:pt x="4" y="151"/>
                    <a:pt x="2" y="151"/>
                    <a:pt x="0" y="151"/>
                  </a:cubicBezTo>
                  <a:cubicBezTo>
                    <a:pt x="0" y="73"/>
                    <a:pt x="0" y="73"/>
                    <a:pt x="0" y="73"/>
                  </a:cubicBezTo>
                  <a:cubicBezTo>
                    <a:pt x="8" y="70"/>
                    <a:pt x="16" y="66"/>
                    <a:pt x="22" y="60"/>
                  </a:cubicBezTo>
                  <a:cubicBezTo>
                    <a:pt x="35" y="46"/>
                    <a:pt x="38" y="37"/>
                    <a:pt x="4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7"/>
            <p:cNvSpPr>
              <a:spLocks noChangeArrowheads="1"/>
            </p:cNvSpPr>
            <p:nvPr/>
          </p:nvSpPr>
          <p:spPr bwMode="auto">
            <a:xfrm>
              <a:off x="1127958" y="2135813"/>
              <a:ext cx="84427" cy="3072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Oval 42"/>
          <p:cNvSpPr/>
          <p:nvPr/>
        </p:nvSpPr>
        <p:spPr>
          <a:xfrm>
            <a:off x="6062080" y="2613525"/>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4" name="Group 43"/>
          <p:cNvGrpSpPr/>
          <p:nvPr/>
        </p:nvGrpSpPr>
        <p:grpSpPr>
          <a:xfrm flipV="1">
            <a:off x="6316122" y="2899680"/>
            <a:ext cx="733564" cy="783130"/>
            <a:chOff x="1127958" y="1896371"/>
            <a:chExt cx="512100" cy="546703"/>
          </a:xfrm>
          <a:solidFill>
            <a:schemeClr val="accent1"/>
          </a:solidFill>
        </p:grpSpPr>
        <p:sp>
          <p:nvSpPr>
            <p:cNvPr id="45" name="Freeform 6"/>
            <p:cNvSpPr>
              <a:spLocks/>
            </p:cNvSpPr>
            <p:nvPr/>
          </p:nvSpPr>
          <p:spPr bwMode="auto">
            <a:xfrm>
              <a:off x="1262211" y="1896371"/>
              <a:ext cx="377847" cy="546703"/>
            </a:xfrm>
            <a:custGeom>
              <a:avLst/>
              <a:gdLst>
                <a:gd name="T0" fmla="*/ 43 w 116"/>
                <a:gd name="T1" fmla="*/ 17 h 167"/>
                <a:gd name="T2" fmla="*/ 63 w 116"/>
                <a:gd name="T3" fmla="*/ 17 h 167"/>
                <a:gd name="T4" fmla="*/ 58 w 116"/>
                <a:gd name="T5" fmla="*/ 64 h 167"/>
                <a:gd name="T6" fmla="*/ 94 w 116"/>
                <a:gd name="T7" fmla="*/ 64 h 167"/>
                <a:gd name="T8" fmla="*/ 111 w 116"/>
                <a:gd name="T9" fmla="*/ 74 h 167"/>
                <a:gd name="T10" fmla="*/ 108 w 116"/>
                <a:gd name="T11" fmla="*/ 89 h 167"/>
                <a:gd name="T12" fmla="*/ 113 w 116"/>
                <a:gd name="T13" fmla="*/ 106 h 167"/>
                <a:gd name="T14" fmla="*/ 108 w 116"/>
                <a:gd name="T15" fmla="*/ 118 h 167"/>
                <a:gd name="T16" fmla="*/ 109 w 116"/>
                <a:gd name="T17" fmla="*/ 132 h 167"/>
                <a:gd name="T18" fmla="*/ 100 w 116"/>
                <a:gd name="T19" fmla="*/ 146 h 167"/>
                <a:gd name="T20" fmla="*/ 98 w 116"/>
                <a:gd name="T21" fmla="*/ 157 h 167"/>
                <a:gd name="T22" fmla="*/ 74 w 116"/>
                <a:gd name="T23" fmla="*/ 167 h 167"/>
                <a:gd name="T24" fmla="*/ 42 w 116"/>
                <a:gd name="T25" fmla="*/ 167 h 167"/>
                <a:gd name="T26" fmla="*/ 6 w 116"/>
                <a:gd name="T27" fmla="*/ 151 h 167"/>
                <a:gd name="T28" fmla="*/ 0 w 116"/>
                <a:gd name="T29" fmla="*/ 151 h 167"/>
                <a:gd name="T30" fmla="*/ 0 w 116"/>
                <a:gd name="T31" fmla="*/ 73 h 167"/>
                <a:gd name="T32" fmla="*/ 22 w 116"/>
                <a:gd name="T33" fmla="*/ 60 h 167"/>
                <a:gd name="T34" fmla="*/ 43 w 116"/>
                <a:gd name="T35" fmla="*/ 1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167">
                  <a:moveTo>
                    <a:pt x="43" y="17"/>
                  </a:moveTo>
                  <a:cubicBezTo>
                    <a:pt x="46" y="0"/>
                    <a:pt x="58" y="2"/>
                    <a:pt x="63" y="17"/>
                  </a:cubicBezTo>
                  <a:cubicBezTo>
                    <a:pt x="68" y="32"/>
                    <a:pt x="58" y="64"/>
                    <a:pt x="58" y="64"/>
                  </a:cubicBezTo>
                  <a:cubicBezTo>
                    <a:pt x="58" y="64"/>
                    <a:pt x="82" y="64"/>
                    <a:pt x="94" y="64"/>
                  </a:cubicBezTo>
                  <a:cubicBezTo>
                    <a:pt x="106" y="64"/>
                    <a:pt x="109" y="68"/>
                    <a:pt x="111" y="74"/>
                  </a:cubicBezTo>
                  <a:cubicBezTo>
                    <a:pt x="112" y="79"/>
                    <a:pt x="110" y="83"/>
                    <a:pt x="108" y="89"/>
                  </a:cubicBezTo>
                  <a:cubicBezTo>
                    <a:pt x="107" y="94"/>
                    <a:pt x="116" y="98"/>
                    <a:pt x="113" y="106"/>
                  </a:cubicBezTo>
                  <a:cubicBezTo>
                    <a:pt x="112" y="114"/>
                    <a:pt x="109" y="113"/>
                    <a:pt x="108" y="118"/>
                  </a:cubicBezTo>
                  <a:cubicBezTo>
                    <a:pt x="107" y="124"/>
                    <a:pt x="111" y="125"/>
                    <a:pt x="109" y="132"/>
                  </a:cubicBezTo>
                  <a:cubicBezTo>
                    <a:pt x="107" y="140"/>
                    <a:pt x="101" y="142"/>
                    <a:pt x="100" y="146"/>
                  </a:cubicBezTo>
                  <a:cubicBezTo>
                    <a:pt x="99" y="151"/>
                    <a:pt x="101" y="151"/>
                    <a:pt x="98" y="157"/>
                  </a:cubicBezTo>
                  <a:cubicBezTo>
                    <a:pt x="95" y="167"/>
                    <a:pt x="86" y="167"/>
                    <a:pt x="74" y="167"/>
                  </a:cubicBezTo>
                  <a:cubicBezTo>
                    <a:pt x="61" y="167"/>
                    <a:pt x="53" y="167"/>
                    <a:pt x="42" y="167"/>
                  </a:cubicBezTo>
                  <a:cubicBezTo>
                    <a:pt x="25" y="167"/>
                    <a:pt x="20" y="151"/>
                    <a:pt x="6" y="151"/>
                  </a:cubicBezTo>
                  <a:cubicBezTo>
                    <a:pt x="4" y="151"/>
                    <a:pt x="2" y="151"/>
                    <a:pt x="0" y="151"/>
                  </a:cubicBezTo>
                  <a:cubicBezTo>
                    <a:pt x="0" y="73"/>
                    <a:pt x="0" y="73"/>
                    <a:pt x="0" y="73"/>
                  </a:cubicBezTo>
                  <a:cubicBezTo>
                    <a:pt x="8" y="70"/>
                    <a:pt x="16" y="66"/>
                    <a:pt x="22" y="60"/>
                  </a:cubicBezTo>
                  <a:cubicBezTo>
                    <a:pt x="35" y="46"/>
                    <a:pt x="38" y="37"/>
                    <a:pt x="4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7"/>
            <p:cNvSpPr>
              <a:spLocks noChangeArrowheads="1"/>
            </p:cNvSpPr>
            <p:nvPr/>
          </p:nvSpPr>
          <p:spPr bwMode="auto">
            <a:xfrm>
              <a:off x="1127958" y="2135813"/>
              <a:ext cx="84427" cy="3072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Content Placeholder 2"/>
          <p:cNvSpPr txBox="1">
            <a:spLocks/>
          </p:cNvSpPr>
          <p:nvPr/>
        </p:nvSpPr>
        <p:spPr>
          <a:xfrm>
            <a:off x="455613" y="1695044"/>
            <a:ext cx="8232775" cy="900000"/>
          </a:xfrm>
          <a:prstGeom prst="rect">
            <a:avLst/>
          </a:prstGeom>
        </p:spPr>
        <p:txBody>
          <a:bodyPr vert="horz" lIns="0" tIns="45720" rIns="0" bIns="0" numCol="2" spcCol="36000" rtlCol="0">
            <a:noAutofit/>
          </a:bodyPr>
          <a:lstStyle>
            <a:lvl1pPr marL="266700" indent="-177800" eaLnBrk="1" hangingPunct="1">
              <a:spcBef>
                <a:spcPts val="600"/>
              </a:spcBef>
              <a:buFont typeface="Arial" pitchFamily="34" charset="0"/>
              <a:buChar char="•"/>
              <a:defRPr sz="1800">
                <a:solidFill>
                  <a:schemeClr val="tx2"/>
                </a:solidFill>
                <a:latin typeface="+mn-lt"/>
                <a:ea typeface="Arial" pitchFamily="-105" charset="-52"/>
                <a:cs typeface="Arial" pitchFamily="34" charset="0"/>
              </a:defRPr>
            </a:lvl1pPr>
            <a:lvl2pPr marL="361950" indent="-185738"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252000" indent="-252000">
              <a:spcBef>
                <a:spcPts val="1200"/>
              </a:spcBef>
            </a:pPr>
            <a:r>
              <a:rPr lang="zh-CN" altLang="en-US" dirty="0" smtClean="0">
                <a:latin typeface="SimSun" panose="02010600030101010101" pitchFamily="2" charset="-122"/>
                <a:ea typeface="SimSun" panose="02010600030101010101" pitchFamily="2" charset="-122"/>
              </a:rPr>
              <a:t>每个人至少每天都提交一次到顶层</a:t>
            </a:r>
            <a:endParaRPr lang="en-US" altLang="zh-CN" dirty="0" smtClean="0">
              <a:latin typeface="SimSun" panose="02010600030101010101" pitchFamily="2" charset="-122"/>
              <a:ea typeface="SimSun" panose="02010600030101010101" pitchFamily="2" charset="-122"/>
            </a:endParaRPr>
          </a:p>
          <a:p>
            <a:pPr marL="252000" indent="-252000">
              <a:spcBef>
                <a:spcPts val="1200"/>
              </a:spcBef>
            </a:pPr>
            <a:endParaRPr lang="en-US" dirty="0">
              <a:latin typeface="SimSun" panose="02010600030101010101" pitchFamily="2" charset="-122"/>
              <a:ea typeface="SimSun" panose="02010600030101010101" pitchFamily="2" charset="-122"/>
            </a:endParaRPr>
          </a:p>
          <a:p>
            <a:pPr marL="252000" indent="-252000">
              <a:spcBef>
                <a:spcPts val="1200"/>
              </a:spcBef>
            </a:pPr>
            <a:r>
              <a:rPr lang="zh-CN" altLang="en-US" dirty="0" smtClean="0">
                <a:latin typeface="SimSun" panose="02010600030101010101" pitchFamily="2" charset="-122"/>
                <a:ea typeface="SimSun" panose="02010600030101010101" pitchFamily="2" charset="-122"/>
              </a:rPr>
              <a:t>修补程序也提交到主方法</a:t>
            </a:r>
            <a:endParaRPr lang="en-US" altLang="zh-CN" dirty="0" smtClean="0">
              <a:latin typeface="SimSun" panose="02010600030101010101" pitchFamily="2" charset="-122"/>
              <a:ea typeface="SimSun" panose="02010600030101010101" pitchFamily="2" charset="-122"/>
            </a:endParaRPr>
          </a:p>
          <a:p>
            <a:pPr marL="252000" indent="-252000">
              <a:spcBef>
                <a:spcPts val="1200"/>
              </a:spcBef>
            </a:pPr>
            <a:r>
              <a:rPr lang="zh-CN" altLang="en-US" dirty="0" smtClean="0">
                <a:latin typeface="SimSun" panose="02010600030101010101" pitchFamily="2" charset="-122"/>
                <a:ea typeface="SimSun" panose="02010600030101010101" pitchFamily="2" charset="-122"/>
              </a:rPr>
              <a:t>谷歌也是这样做的</a:t>
            </a:r>
            <a:r>
              <a:rPr lang="en-US" dirty="0" smtClean="0">
                <a:latin typeface="SimSun" panose="02010600030101010101" pitchFamily="2" charset="-122"/>
                <a:ea typeface="SimSun" panose="02010600030101010101" pitchFamily="2" charset="-122"/>
              </a:rPr>
              <a:t>!</a:t>
            </a:r>
            <a:endParaRPr lang="en-US" dirty="0">
              <a:latin typeface="SimSun" panose="02010600030101010101" pitchFamily="2" charset="-122"/>
              <a:ea typeface="SimSun" panose="02010600030101010101" pitchFamily="2" charset="-122"/>
            </a:endParaRPr>
          </a:p>
        </p:txBody>
      </p:sp>
      <p:sp>
        <p:nvSpPr>
          <p:cNvPr id="54" name="Oval 53"/>
          <p:cNvSpPr/>
          <p:nvPr/>
        </p:nvSpPr>
        <p:spPr>
          <a:xfrm>
            <a:off x="460376"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p:cNvSpPr/>
          <p:nvPr/>
        </p:nvSpPr>
        <p:spPr>
          <a:xfrm>
            <a:off x="4579939"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Straight Connector 55"/>
          <p:cNvCxnSpPr/>
          <p:nvPr/>
        </p:nvCxnSpPr>
        <p:spPr>
          <a:xfrm>
            <a:off x="4406265" y="1798638"/>
            <a:ext cx="0" cy="576000"/>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4579939" y="2237977"/>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55191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11656"/>
          <a:stretch/>
        </p:blipFill>
        <p:spPr>
          <a:xfrm>
            <a:off x="0" y="1"/>
            <a:ext cx="9144000" cy="6857998"/>
          </a:xfrm>
          <a:prstGeom prst="rect">
            <a:avLst/>
          </a:prstGeom>
        </p:spPr>
      </p:pic>
      <p:sp>
        <p:nvSpPr>
          <p:cNvPr id="5" name="Rectangle 4"/>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ctrTitle"/>
          </p:nvPr>
        </p:nvSpPr>
        <p:spPr>
          <a:xfrm>
            <a:off x="455613" y="1185332"/>
            <a:ext cx="8232775" cy="724959"/>
          </a:xfrm>
        </p:spPr>
        <p:txBody>
          <a:bodyPr/>
          <a:lstStyle/>
          <a:p>
            <a:r>
              <a:rPr lang="en-GB" altLang="ja-JP" b="1" dirty="0" smtClean="0">
                <a:latin typeface="SimSun" panose="02010600030101010101" pitchFamily="2" charset="-122"/>
                <a:ea typeface="SimSun" panose="02010600030101010101" pitchFamily="2" charset="-122"/>
              </a:rPr>
              <a:t>DevOps</a:t>
            </a:r>
            <a:r>
              <a:rPr lang="zh-CN" altLang="en-US" dirty="0">
                <a:latin typeface="SimSun" panose="02010600030101010101" pitchFamily="2" charset="-122"/>
                <a:ea typeface="SimSun" panose="02010600030101010101" pitchFamily="2" charset="-122"/>
              </a:rPr>
              <a:t>核心概念</a:t>
            </a:r>
            <a:endParaRPr lang="en-US" dirty="0">
              <a:latin typeface="SimSun" panose="02010600030101010101" pitchFamily="2" charset="-122"/>
              <a:ea typeface="SimSun" panose="02010600030101010101" pitchFamily="2" charset="-122"/>
            </a:endParaRPr>
          </a:p>
        </p:txBody>
      </p:sp>
      <p:sp>
        <p:nvSpPr>
          <p:cNvPr id="2" name="Footer Placeholder 1"/>
          <p:cNvSpPr>
            <a:spLocks noGrp="1"/>
          </p:cNvSpPr>
          <p:nvPr>
            <p:ph type="ftr" sz="quarter" idx="10"/>
          </p:nvPr>
        </p:nvSpPr>
        <p:spPr/>
        <p:txBody>
          <a:bodyPr/>
          <a:lstStyle/>
          <a:p>
            <a:r>
              <a:rPr lang="en-US" dirty="0" smtClean="0"/>
              <a:t>Copyright © 201</a:t>
            </a:r>
            <a:r>
              <a:rPr lang="en-US" altLang="zh-CN" dirty="0" smtClean="0"/>
              <a:t>6</a:t>
            </a:r>
            <a:r>
              <a:rPr lang="en-US" dirty="0" smtClean="0"/>
              <a:t> Accenture  All rights reserved.</a:t>
            </a:r>
            <a:endParaRPr lang="en-US" dirty="0"/>
          </a:p>
        </p:txBody>
      </p:sp>
      <p:sp>
        <p:nvSpPr>
          <p:cNvPr id="7" name="Title 5"/>
          <p:cNvSpPr txBox="1">
            <a:spLocks/>
          </p:cNvSpPr>
          <p:nvPr/>
        </p:nvSpPr>
        <p:spPr>
          <a:xfrm>
            <a:off x="629183" y="4198394"/>
            <a:ext cx="7939084" cy="648246"/>
          </a:xfrm>
          <a:prstGeom prst="rect">
            <a:avLst/>
          </a:prstGeom>
        </p:spPr>
        <p:txBody>
          <a:bodyPr vert="horz" lIns="0" tIns="0" rIns="0" bIns="0" rtlCol="0" anchor="b"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bg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dirty="0" smtClean="0">
                <a:latin typeface="SimSun" panose="02010600030101010101" pitchFamily="2" charset="-122"/>
                <a:ea typeface="SimSun" panose="02010600030101010101" pitchFamily="2" charset="-122"/>
              </a:rPr>
              <a:t>代码质量</a:t>
            </a:r>
            <a:endParaRPr lang="en-US" dirty="0">
              <a:latin typeface="SimSun" panose="02010600030101010101" pitchFamily="2" charset="-122"/>
              <a:ea typeface="SimSun" panose="02010600030101010101" pitchFamily="2" charset="-122"/>
            </a:endParaRPr>
          </a:p>
        </p:txBody>
      </p:sp>
      <p:grpSp>
        <p:nvGrpSpPr>
          <p:cNvPr id="14" name="Group 13"/>
          <p:cNvGrpSpPr/>
          <p:nvPr/>
        </p:nvGrpSpPr>
        <p:grpSpPr>
          <a:xfrm>
            <a:off x="637251" y="3051796"/>
            <a:ext cx="941347" cy="929680"/>
            <a:chOff x="3963486" y="1832293"/>
            <a:chExt cx="1220202" cy="1220199"/>
          </a:xfrm>
        </p:grpSpPr>
        <p:grpSp>
          <p:nvGrpSpPr>
            <p:cNvPr id="15" name="Group 14"/>
            <p:cNvGrpSpPr/>
            <p:nvPr/>
          </p:nvGrpSpPr>
          <p:grpSpPr>
            <a:xfrm>
              <a:off x="4148666" y="2009632"/>
              <a:ext cx="799143" cy="800624"/>
              <a:chOff x="-5155462" y="1962936"/>
              <a:chExt cx="890579" cy="892230"/>
            </a:xfrm>
          </p:grpSpPr>
          <p:grpSp>
            <p:nvGrpSpPr>
              <p:cNvPr id="24" name="Group 23"/>
              <p:cNvGrpSpPr/>
              <p:nvPr/>
            </p:nvGrpSpPr>
            <p:grpSpPr>
              <a:xfrm>
                <a:off x="-4964057" y="2131173"/>
                <a:ext cx="338081" cy="384139"/>
                <a:chOff x="5468660" y="5379773"/>
                <a:chExt cx="547688" cy="622301"/>
              </a:xfrm>
              <a:solidFill>
                <a:schemeClr val="accent1"/>
              </a:solidFill>
            </p:grpSpPr>
            <p:sp>
              <p:nvSpPr>
                <p:cNvPr id="29" name="Freeform 36"/>
                <p:cNvSpPr>
                  <a:spLocks/>
                </p:cNvSpPr>
                <p:nvPr/>
              </p:nvSpPr>
              <p:spPr bwMode="auto">
                <a:xfrm>
                  <a:off x="5468660" y="555598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7"/>
                <p:cNvSpPr>
                  <a:spLocks/>
                </p:cNvSpPr>
                <p:nvPr/>
              </p:nvSpPr>
              <p:spPr bwMode="auto">
                <a:xfrm>
                  <a:off x="5757585" y="555598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8"/>
                <p:cNvSpPr>
                  <a:spLocks/>
                </p:cNvSpPr>
                <p:nvPr/>
              </p:nvSpPr>
              <p:spPr bwMode="auto">
                <a:xfrm>
                  <a:off x="5482948" y="537977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 name="Freeform 6"/>
              <p:cNvSpPr>
                <a:spLocks noEditPoints="1"/>
              </p:cNvSpPr>
              <p:nvPr/>
            </p:nvSpPr>
            <p:spPr bwMode="auto">
              <a:xfrm rot="16200000">
                <a:off x="-5156287" y="1963761"/>
                <a:ext cx="892230" cy="890579"/>
              </a:xfrm>
              <a:custGeom>
                <a:avLst/>
                <a:gdLst>
                  <a:gd name="T0" fmla="*/ 1294 w 1513"/>
                  <a:gd name="T1" fmla="*/ 1011 h 1512"/>
                  <a:gd name="T2" fmla="*/ 1294 w 1513"/>
                  <a:gd name="T3" fmla="*/ 218 h 1512"/>
                  <a:gd name="T4" fmla="*/ 502 w 1513"/>
                  <a:gd name="T5" fmla="*/ 218 h 1512"/>
                  <a:gd name="T6" fmla="*/ 429 w 1513"/>
                  <a:gd name="T7" fmla="*/ 921 h 1512"/>
                  <a:gd name="T8" fmla="*/ 45 w 1513"/>
                  <a:gd name="T9" fmla="*/ 1306 h 1512"/>
                  <a:gd name="T10" fmla="*/ 45 w 1513"/>
                  <a:gd name="T11" fmla="*/ 1467 h 1512"/>
                  <a:gd name="T12" fmla="*/ 207 w 1513"/>
                  <a:gd name="T13" fmla="*/ 1468 h 1512"/>
                  <a:gd name="T14" fmla="*/ 591 w 1513"/>
                  <a:gd name="T15" fmla="*/ 1083 h 1512"/>
                  <a:gd name="T16" fmla="*/ 1294 w 1513"/>
                  <a:gd name="T17" fmla="*/ 1011 h 1512"/>
                  <a:gd name="T18" fmla="*/ 621 w 1513"/>
                  <a:gd name="T19" fmla="*/ 891 h 1512"/>
                  <a:gd name="T20" fmla="*/ 621 w 1513"/>
                  <a:gd name="T21" fmla="*/ 337 h 1512"/>
                  <a:gd name="T22" fmla="*/ 1175 w 1513"/>
                  <a:gd name="T23" fmla="*/ 337 h 1512"/>
                  <a:gd name="T24" fmla="*/ 1175 w 1513"/>
                  <a:gd name="T25" fmla="*/ 891 h 1512"/>
                  <a:gd name="T26" fmla="*/ 621 w 1513"/>
                  <a:gd name="T27" fmla="*/ 891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3" h="1512">
                    <a:moveTo>
                      <a:pt x="1294" y="1011"/>
                    </a:moveTo>
                    <a:cubicBezTo>
                      <a:pt x="1513" y="792"/>
                      <a:pt x="1513" y="437"/>
                      <a:pt x="1294" y="218"/>
                    </a:cubicBezTo>
                    <a:cubicBezTo>
                      <a:pt x="1076" y="0"/>
                      <a:pt x="720" y="0"/>
                      <a:pt x="502" y="218"/>
                    </a:cubicBezTo>
                    <a:cubicBezTo>
                      <a:pt x="311" y="409"/>
                      <a:pt x="287" y="704"/>
                      <a:pt x="429" y="921"/>
                    </a:cubicBezTo>
                    <a:cubicBezTo>
                      <a:pt x="45" y="1306"/>
                      <a:pt x="45" y="1306"/>
                      <a:pt x="45" y="1306"/>
                    </a:cubicBezTo>
                    <a:cubicBezTo>
                      <a:pt x="0" y="1350"/>
                      <a:pt x="1" y="1422"/>
                      <a:pt x="45" y="1467"/>
                    </a:cubicBezTo>
                    <a:cubicBezTo>
                      <a:pt x="90" y="1512"/>
                      <a:pt x="162" y="1512"/>
                      <a:pt x="207" y="1468"/>
                    </a:cubicBezTo>
                    <a:cubicBezTo>
                      <a:pt x="591" y="1083"/>
                      <a:pt x="591" y="1083"/>
                      <a:pt x="591" y="1083"/>
                    </a:cubicBezTo>
                    <a:cubicBezTo>
                      <a:pt x="808" y="1225"/>
                      <a:pt x="1103" y="1201"/>
                      <a:pt x="1294" y="1011"/>
                    </a:cubicBezTo>
                    <a:close/>
                    <a:moveTo>
                      <a:pt x="621" y="891"/>
                    </a:moveTo>
                    <a:cubicBezTo>
                      <a:pt x="468" y="739"/>
                      <a:pt x="468" y="490"/>
                      <a:pt x="621" y="337"/>
                    </a:cubicBezTo>
                    <a:cubicBezTo>
                      <a:pt x="774" y="185"/>
                      <a:pt x="1022" y="185"/>
                      <a:pt x="1175" y="337"/>
                    </a:cubicBezTo>
                    <a:cubicBezTo>
                      <a:pt x="1328" y="490"/>
                      <a:pt x="1328" y="739"/>
                      <a:pt x="1175" y="891"/>
                    </a:cubicBezTo>
                    <a:cubicBezTo>
                      <a:pt x="1022" y="1044"/>
                      <a:pt x="774" y="1044"/>
                      <a:pt x="621" y="8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6" name="Straight Connector 25"/>
              <p:cNvCxnSpPr/>
              <p:nvPr/>
            </p:nvCxnSpPr>
            <p:spPr>
              <a:xfrm>
                <a:off x="-4980781" y="2216635"/>
                <a:ext cx="195074" cy="113046"/>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807709" y="2219016"/>
                <a:ext cx="195074" cy="113046"/>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4795506" y="2319290"/>
                <a:ext cx="0" cy="215145"/>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6" name="Oval 15"/>
            <p:cNvSpPr/>
            <p:nvPr/>
          </p:nvSpPr>
          <p:spPr>
            <a:xfrm>
              <a:off x="3963486"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34122217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为什么我们需要测试？</a:t>
            </a:r>
            <a:endParaRPr lang="en-US" altLang="zh-CN" dirty="0" smtClean="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a:xfrm>
            <a:off x="496800" y="1622321"/>
            <a:ext cx="4456944" cy="1505631"/>
          </a:xfrm>
        </p:spPr>
        <p:txBody>
          <a:bodyPr/>
          <a:lstStyle/>
          <a:p>
            <a:r>
              <a:rPr lang="zh-CN" altLang="en-US" sz="1800" dirty="0" smtClean="0">
                <a:latin typeface="SimSun" panose="02010600030101010101" pitchFamily="2" charset="-122"/>
                <a:ea typeface="SimSun" panose="02010600030101010101" pitchFamily="2" charset="-122"/>
              </a:rPr>
              <a:t>软件的功能“达成目标”</a:t>
            </a:r>
            <a:endParaRPr lang="en-GB" sz="1800" dirty="0" smtClean="0">
              <a:latin typeface="SimSun" panose="02010600030101010101" pitchFamily="2" charset="-122"/>
              <a:ea typeface="SimSun" panose="02010600030101010101" pitchFamily="2" charset="-122"/>
            </a:endParaRPr>
          </a:p>
          <a:p>
            <a:r>
              <a:rPr lang="zh-CN" altLang="en-US" sz="1800" dirty="0" smtClean="0">
                <a:latin typeface="SimSun" panose="02010600030101010101" pitchFamily="2" charset="-122"/>
                <a:ea typeface="SimSun" panose="02010600030101010101" pitchFamily="2" charset="-122"/>
              </a:rPr>
              <a:t>判断软件设计以及实现的好坏</a:t>
            </a:r>
            <a:endParaRPr lang="en-GB" sz="1800" dirty="0" smtClean="0">
              <a:latin typeface="SimSun" panose="02010600030101010101" pitchFamily="2" charset="-122"/>
              <a:ea typeface="SimSun" panose="02010600030101010101" pitchFamily="2" charset="-122"/>
            </a:endParaRPr>
          </a:p>
          <a:p>
            <a:r>
              <a:rPr lang="zh-CN" altLang="en-US" sz="1800" dirty="0" smtClean="0">
                <a:latin typeface="SimSun" panose="02010600030101010101" pitchFamily="2" charset="-122"/>
                <a:ea typeface="SimSun" panose="02010600030101010101" pitchFamily="2" charset="-122"/>
              </a:rPr>
              <a:t>软件的标准可能是主观的</a:t>
            </a:r>
            <a:endParaRPr lang="en-GB" sz="1800" dirty="0" smtClean="0">
              <a:latin typeface="SimSun" panose="02010600030101010101" pitchFamily="2" charset="-122"/>
              <a:ea typeface="SimSun" panose="02010600030101010101" pitchFamily="2" charset="-122"/>
            </a:endParaRPr>
          </a:p>
          <a:p>
            <a:endParaRPr lang="en-GB" sz="1800" dirty="0" smtClean="0">
              <a:latin typeface="SimSun" panose="02010600030101010101" pitchFamily="2" charset="-122"/>
              <a:ea typeface="SimSun" panose="02010600030101010101" pitchFamily="2" charset="-122"/>
            </a:endParaRPr>
          </a:p>
          <a:p>
            <a:endParaRPr lang="en-GB" sz="1800" dirty="0" smtClean="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代码质量</a:t>
            </a:r>
            <a:endParaRPr lang="en-GB" dirty="0">
              <a:latin typeface="SimSun" panose="02010600030101010101" pitchFamily="2" charset="-122"/>
              <a:ea typeface="SimSun" panose="02010600030101010101" pitchFamily="2" charset="-122"/>
            </a:endParaRPr>
          </a:p>
        </p:txBody>
      </p:sp>
      <p:sp>
        <p:nvSpPr>
          <p:cNvPr id="6" name="Rectangle 5"/>
          <p:cNvSpPr/>
          <p:nvPr/>
        </p:nvSpPr>
        <p:spPr>
          <a:xfrm rot="2347805">
            <a:off x="7421023" y="3931770"/>
            <a:ext cx="275334" cy="14690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a:t>
            </a:r>
            <a:endParaRPr lang="en-GB" dirty="0">
              <a:solidFill>
                <a:schemeClr val="tx1"/>
              </a:solidFill>
            </a:endParaRPr>
          </a:p>
        </p:txBody>
      </p:sp>
      <p:sp>
        <p:nvSpPr>
          <p:cNvPr id="7" name="TextBox 6"/>
          <p:cNvSpPr txBox="1"/>
          <p:nvPr/>
        </p:nvSpPr>
        <p:spPr>
          <a:xfrm>
            <a:off x="5893376" y="5204038"/>
            <a:ext cx="3024336" cy="461665"/>
          </a:xfrm>
          <a:prstGeom prst="rect">
            <a:avLst/>
          </a:prstGeom>
          <a:noFill/>
        </p:spPr>
        <p:txBody>
          <a:bodyPr wrap="square" rtlCol="0">
            <a:spAutoFit/>
          </a:bodyPr>
          <a:lstStyle/>
          <a:p>
            <a:r>
              <a:rPr lang="en-GB" sz="1200" i="1" dirty="0" smtClean="0"/>
              <a:t>Source: </a:t>
            </a:r>
            <a:r>
              <a:rPr lang="en-GB" sz="1200" i="1" dirty="0" smtClean="0">
                <a:hlinkClick r:id="rId3"/>
              </a:rPr>
              <a:t>http://www.osnews.com/comics</a:t>
            </a:r>
            <a:endParaRPr lang="en-GB" sz="1200" i="1" dirty="0" smtClean="0"/>
          </a:p>
          <a:p>
            <a:r>
              <a:rPr lang="en-GB" sz="1200" dirty="0" smtClean="0"/>
              <a:t>N.B. WTF = Why The Face</a:t>
            </a:r>
            <a:endParaRPr lang="en-GB" sz="1200" dirty="0"/>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9905" y="2235234"/>
            <a:ext cx="3096344" cy="28165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p:nvPr/>
        </p:nvGrpSpPr>
        <p:grpSpPr>
          <a:xfrm>
            <a:off x="65086" y="3465508"/>
            <a:ext cx="4888658" cy="1416427"/>
            <a:chOff x="65086" y="3465508"/>
            <a:chExt cx="4888658" cy="1416427"/>
          </a:xfrm>
        </p:grpSpPr>
        <p:sp>
          <p:nvSpPr>
            <p:cNvPr id="5" name="Rectangle 4"/>
            <p:cNvSpPr/>
            <p:nvPr/>
          </p:nvSpPr>
          <p:spPr>
            <a:xfrm>
              <a:off x="381744" y="3465508"/>
              <a:ext cx="4572000" cy="369332"/>
            </a:xfrm>
            <a:prstGeom prst="rect">
              <a:avLst/>
            </a:prstGeom>
          </p:spPr>
          <p:txBody>
            <a:bodyPr>
              <a:spAutoFit/>
            </a:bodyPr>
            <a:lstStyle/>
            <a:p>
              <a:r>
                <a:rPr lang="zh-CN" altLang="en-US" dirty="0" smtClean="0">
                  <a:latin typeface="SimSun" panose="02010600030101010101" pitchFamily="2" charset="-122"/>
                  <a:ea typeface="SimSun" panose="02010600030101010101" pitchFamily="2" charset="-122"/>
                </a:rPr>
                <a:t>关键的测试考虑点</a:t>
              </a:r>
              <a:r>
                <a:rPr lang="en-US" altLang="zh-CN" dirty="0" smtClean="0">
                  <a:latin typeface="SimSun" panose="02010600030101010101" pitchFamily="2" charset="-122"/>
                  <a:ea typeface="SimSun" panose="02010600030101010101" pitchFamily="2" charset="-122"/>
                </a:rPr>
                <a:t>:</a:t>
              </a:r>
              <a:endParaRPr lang="en-GB" dirty="0">
                <a:latin typeface="SimSun" panose="02010600030101010101" pitchFamily="2" charset="-122"/>
                <a:ea typeface="SimSun" panose="02010600030101010101" pitchFamily="2" charset="-122"/>
              </a:endParaRPr>
            </a:p>
          </p:txBody>
        </p:sp>
        <p:sp>
          <p:nvSpPr>
            <p:cNvPr id="9" name="Rectangle 8"/>
            <p:cNvSpPr/>
            <p:nvPr/>
          </p:nvSpPr>
          <p:spPr>
            <a:xfrm>
              <a:off x="65086" y="3804717"/>
              <a:ext cx="4572000" cy="1077218"/>
            </a:xfrm>
            <a:prstGeom prst="rect">
              <a:avLst/>
            </a:prstGeom>
          </p:spPr>
          <p:txBody>
            <a:bodyPr>
              <a:spAutoFit/>
            </a:bodyPr>
            <a:lstStyle/>
            <a:p>
              <a:pPr marL="742950" lvl="1" indent="-285750">
                <a:buFont typeface="Arial" panose="020B0604020202020204" pitchFamily="34" charset="0"/>
                <a:buChar char="•"/>
              </a:pPr>
              <a:r>
                <a:rPr lang="zh-CN" altLang="en-US" sz="1600" dirty="0" smtClean="0">
                  <a:latin typeface="SimSun" panose="02010600030101010101" pitchFamily="2" charset="-122"/>
                  <a:ea typeface="SimSun" panose="02010600030101010101" pitchFamily="2" charset="-122"/>
                </a:rPr>
                <a:t>维护成本</a:t>
              </a:r>
              <a:endParaRPr lang="en-GB" sz="1600" dirty="0">
                <a:latin typeface="SimSun" panose="02010600030101010101" pitchFamily="2" charset="-122"/>
                <a:ea typeface="SimSun" panose="02010600030101010101" pitchFamily="2" charset="-122"/>
              </a:endParaRPr>
            </a:p>
            <a:p>
              <a:pPr marL="742950" lvl="1" indent="-285750">
                <a:buFont typeface="Arial" panose="020B0604020202020204" pitchFamily="34" charset="0"/>
                <a:buChar char="•"/>
              </a:pPr>
              <a:r>
                <a:rPr lang="zh-CN" altLang="en-US" sz="1600" dirty="0" smtClean="0">
                  <a:latin typeface="SimSun" panose="02010600030101010101" pitchFamily="2" charset="-122"/>
                  <a:ea typeface="SimSun" panose="02010600030101010101" pitchFamily="2" charset="-122"/>
                </a:rPr>
                <a:t>技术短板</a:t>
              </a:r>
              <a:endParaRPr lang="en-GB" sz="1600" dirty="0">
                <a:latin typeface="SimSun" panose="02010600030101010101" pitchFamily="2" charset="-122"/>
                <a:ea typeface="SimSun" panose="02010600030101010101" pitchFamily="2" charset="-122"/>
              </a:endParaRPr>
            </a:p>
            <a:p>
              <a:pPr marL="742950" lvl="1" indent="-285750">
                <a:buFont typeface="Arial" panose="020B0604020202020204" pitchFamily="34" charset="0"/>
                <a:buChar char="•"/>
              </a:pPr>
              <a:r>
                <a:rPr lang="zh-CN" altLang="en-US" sz="1600" dirty="0" smtClean="0">
                  <a:latin typeface="SimSun" panose="02010600030101010101" pitchFamily="2" charset="-122"/>
                  <a:ea typeface="SimSun" panose="02010600030101010101" pitchFamily="2" charset="-122"/>
                </a:rPr>
                <a:t>读代码的人会比写代码的人多得多</a:t>
              </a:r>
              <a:endParaRPr lang="en-GB" sz="1600" dirty="0">
                <a:latin typeface="SimSun" panose="02010600030101010101" pitchFamily="2" charset="-122"/>
                <a:ea typeface="SimSun" panose="02010600030101010101" pitchFamily="2" charset="-122"/>
              </a:endParaRPr>
            </a:p>
            <a:p>
              <a:pPr marL="742950" lvl="1" indent="-285750">
                <a:buFont typeface="Arial" panose="020B0604020202020204" pitchFamily="34" charset="0"/>
                <a:buChar char="•"/>
              </a:pPr>
              <a:r>
                <a:rPr lang="zh-CN" altLang="en-US" sz="1600" dirty="0">
                  <a:latin typeface="SimSun" panose="02010600030101010101" pitchFamily="2" charset="-122"/>
                  <a:ea typeface="SimSun" panose="02010600030101010101" pitchFamily="2" charset="-122"/>
                </a:rPr>
                <a:t>风险</a:t>
              </a:r>
              <a:r>
                <a:rPr lang="en-GB" sz="1600" dirty="0" smtClean="0">
                  <a:latin typeface="SimSun" panose="02010600030101010101" pitchFamily="2" charset="-122"/>
                  <a:ea typeface="SimSun" panose="02010600030101010101" pitchFamily="2" charset="-122"/>
                </a:rPr>
                <a:t> </a:t>
              </a:r>
              <a:r>
                <a:rPr lang="zh-CN" altLang="en-US" sz="1600" dirty="0" smtClean="0">
                  <a:latin typeface="SimSun" panose="02010600030101010101" pitchFamily="2" charset="-122"/>
                  <a:ea typeface="SimSun" panose="02010600030101010101" pitchFamily="2" charset="-122"/>
                </a:rPr>
                <a:t>例如财务损失</a:t>
              </a:r>
              <a:endParaRPr lang="en-GB" sz="1600" dirty="0">
                <a:latin typeface="SimSun" panose="02010600030101010101" pitchFamily="2" charset="-122"/>
                <a:ea typeface="SimSun" panose="02010600030101010101" pitchFamily="2" charset="-122"/>
              </a:endParaRPr>
            </a:p>
          </p:txBody>
        </p:sp>
      </p:grpSp>
      <p:sp>
        <p:nvSpPr>
          <p:cNvPr id="11" name="Footer Placeholder 20"/>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3344951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ChangeArrowheads="1"/>
          </p:cNvSpPr>
          <p:nvPr>
            <p:ph type="title"/>
          </p:nvPr>
        </p:nvSpPr>
        <p:spPr/>
        <p:txBody>
          <a:bodyPr/>
          <a:lstStyle/>
          <a:p>
            <a:r>
              <a:rPr lang="zh-CN" altLang="en-US" sz="2400" dirty="0" smtClean="0">
                <a:latin typeface="SimSun" panose="02010600030101010101" pitchFamily="2" charset="-122"/>
                <a:ea typeface="SimSun" panose="02010600030101010101" pitchFamily="2" charset="-122"/>
              </a:rPr>
              <a:t>什么是测试？</a:t>
            </a:r>
            <a:r>
              <a:rPr lang="en-GB" altLang="en-US" sz="2400" dirty="0" smtClean="0">
                <a:latin typeface="SimSun" panose="02010600030101010101" pitchFamily="2" charset="-122"/>
                <a:ea typeface="SimSun" panose="02010600030101010101" pitchFamily="2" charset="-122"/>
              </a:rPr>
              <a:t>	</a:t>
            </a:r>
            <a:endParaRPr lang="en-GB" altLang="en-US" sz="2400"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定义</a:t>
            </a:r>
            <a:endParaRPr lang="en-GB" dirty="0">
              <a:latin typeface="SimSun" panose="02010600030101010101" pitchFamily="2" charset="-122"/>
              <a:ea typeface="SimSun" panose="02010600030101010101" pitchFamily="2" charset="-122"/>
            </a:endParaRPr>
          </a:p>
        </p:txBody>
      </p:sp>
      <p:sp>
        <p:nvSpPr>
          <p:cNvPr id="113" name="Footer Placeholder 4"/>
          <p:cNvSpPr>
            <a:spLocks noGrp="1"/>
          </p:cNvSpPr>
          <p:nvPr>
            <p:ph type="ftr" sz="quarter" idx="13"/>
          </p:nvPr>
        </p:nvSpPr>
        <p:spPr/>
        <p:txBody>
          <a:bodyPr/>
          <a:lstStyle/>
          <a:p>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
        <p:nvSpPr>
          <p:cNvPr id="3" name="Rectangle 2"/>
          <p:cNvSpPr/>
          <p:nvPr/>
        </p:nvSpPr>
        <p:spPr>
          <a:xfrm>
            <a:off x="395536" y="1674674"/>
            <a:ext cx="8424936" cy="1815882"/>
          </a:xfrm>
          <a:prstGeom prst="rect">
            <a:avLst/>
          </a:prstGeom>
        </p:spPr>
        <p:txBody>
          <a:bodyPr wrap="square">
            <a:spAutoFit/>
          </a:bodyPr>
          <a:lstStyle/>
          <a:p>
            <a:r>
              <a:rPr lang="zh-CN" altLang="en-US" sz="1400" dirty="0" smtClean="0">
                <a:latin typeface="SimSun" panose="02010600030101010101" pitchFamily="2" charset="-122"/>
                <a:ea typeface="SimSun" panose="02010600030101010101" pitchFamily="2" charset="-122"/>
              </a:rPr>
              <a:t>软件测试是进行产品或服务质量的测试，并把调查结果提供给利益相关方。</a:t>
            </a:r>
            <a:endParaRPr lang="en-GB" sz="1400" dirty="0">
              <a:latin typeface="SimSun" panose="02010600030101010101" pitchFamily="2" charset="-122"/>
              <a:ea typeface="SimSun" panose="02010600030101010101" pitchFamily="2" charset="-122"/>
            </a:endParaRPr>
          </a:p>
          <a:p>
            <a:endParaRPr lang="en-US" altLang="zh-CN" sz="1400" dirty="0" smtClean="0">
              <a:latin typeface="SimSun" panose="02010600030101010101" pitchFamily="2" charset="-122"/>
              <a:ea typeface="SimSun" panose="02010600030101010101" pitchFamily="2" charset="-122"/>
            </a:endParaRPr>
          </a:p>
          <a:p>
            <a:r>
              <a:rPr lang="zh-CN" altLang="en-US" sz="1400" dirty="0" smtClean="0">
                <a:latin typeface="SimSun" panose="02010600030101010101" pitchFamily="2" charset="-122"/>
                <a:ea typeface="SimSun" panose="02010600030101010101" pitchFamily="2" charset="-122"/>
              </a:rPr>
              <a:t>软件测试也可以提供：</a:t>
            </a:r>
            <a:endParaRPr lang="en-GB" sz="1400" dirty="0">
              <a:latin typeface="SimSun" panose="02010600030101010101" pitchFamily="2" charset="-122"/>
              <a:ea typeface="SimSun" panose="02010600030101010101" pitchFamily="2" charset="-122"/>
            </a:endParaRPr>
          </a:p>
          <a:p>
            <a:pPr marL="285750" indent="-285750">
              <a:buFont typeface="Arial" charset="0"/>
              <a:buChar char="•"/>
            </a:pPr>
            <a:r>
              <a:rPr lang="zh-CN" altLang="en-US" sz="1400" dirty="0">
                <a:latin typeface="SimSun" panose="02010600030101010101" pitchFamily="2" charset="-122"/>
                <a:ea typeface="SimSun" panose="02010600030101010101" pitchFamily="2" charset="-122"/>
              </a:rPr>
              <a:t>意见</a:t>
            </a:r>
            <a:endParaRPr lang="en-GB" sz="1400" dirty="0">
              <a:latin typeface="SimSun" panose="02010600030101010101" pitchFamily="2" charset="-122"/>
              <a:ea typeface="SimSun" panose="02010600030101010101" pitchFamily="2" charset="-122"/>
            </a:endParaRPr>
          </a:p>
          <a:p>
            <a:pPr marL="285750" indent="-285750">
              <a:buFont typeface="Arial" charset="0"/>
              <a:buChar char="•"/>
            </a:pPr>
            <a:r>
              <a:rPr lang="zh-CN" altLang="en-US" sz="1400" dirty="0">
                <a:latin typeface="SimSun" panose="02010600030101010101" pitchFamily="2" charset="-122"/>
                <a:ea typeface="SimSun" panose="02010600030101010101" pitchFamily="2" charset="-122"/>
              </a:rPr>
              <a:t>以</a:t>
            </a:r>
            <a:r>
              <a:rPr lang="zh-CN" altLang="en-US" sz="1400" dirty="0" smtClean="0">
                <a:latin typeface="SimSun" panose="02010600030101010101" pitchFamily="2" charset="-122"/>
                <a:ea typeface="SimSun" panose="02010600030101010101" pitchFamily="2" charset="-122"/>
              </a:rPr>
              <a:t>独立的视角让客户接受并理解软件实施的风险。</a:t>
            </a:r>
            <a:r>
              <a:rPr lang="en-GB" sz="1400" dirty="0" smtClean="0">
                <a:latin typeface="SimSun" panose="02010600030101010101" pitchFamily="2" charset="-122"/>
                <a:ea typeface="SimSun" panose="02010600030101010101" pitchFamily="2" charset="-122"/>
              </a:rPr>
              <a:t> </a:t>
            </a:r>
            <a:endParaRPr lang="en-GB" sz="1400" dirty="0">
              <a:latin typeface="SimSun" panose="02010600030101010101" pitchFamily="2" charset="-122"/>
              <a:ea typeface="SimSun" panose="02010600030101010101" pitchFamily="2" charset="-122"/>
            </a:endParaRPr>
          </a:p>
          <a:p>
            <a:endParaRPr lang="en-GB" sz="1400" dirty="0">
              <a:latin typeface="SimSun" panose="02010600030101010101" pitchFamily="2" charset="-122"/>
              <a:ea typeface="SimSun" panose="02010600030101010101" pitchFamily="2" charset="-122"/>
            </a:endParaRPr>
          </a:p>
          <a:p>
            <a:r>
              <a:rPr lang="zh-CN" altLang="en-US" sz="1400" dirty="0" smtClean="0">
                <a:latin typeface="SimSun" panose="02010600030101010101" pitchFamily="2" charset="-122"/>
                <a:ea typeface="SimSun" panose="02010600030101010101" pitchFamily="2" charset="-122"/>
              </a:rPr>
              <a:t>测试技术包括但不限于以发现软件</a:t>
            </a:r>
            <a:r>
              <a:rPr lang="en-US" altLang="zh-CN" sz="1400" dirty="0" smtClean="0">
                <a:latin typeface="SimSun" panose="02010600030101010101" pitchFamily="2" charset="-122"/>
                <a:ea typeface="SimSun" panose="02010600030101010101" pitchFamily="2" charset="-122"/>
              </a:rPr>
              <a:t>BUG</a:t>
            </a:r>
            <a:r>
              <a:rPr lang="en-GB" altLang="ja-JP" sz="1400" dirty="0">
                <a:latin typeface="SimSun" panose="02010600030101010101" pitchFamily="2" charset="-122"/>
                <a:ea typeface="SimSun" panose="02010600030101010101" pitchFamily="2" charset="-122"/>
              </a:rPr>
              <a:t> </a:t>
            </a:r>
            <a:r>
              <a:rPr lang="en-GB" altLang="ja-JP" sz="1400" dirty="0" smtClean="0">
                <a:latin typeface="SimSun" panose="02010600030101010101" pitchFamily="2" charset="-122"/>
                <a:ea typeface="SimSun" panose="02010600030101010101" pitchFamily="2" charset="-122"/>
              </a:rPr>
              <a:t>(</a:t>
            </a:r>
            <a:r>
              <a:rPr lang="zh-CN" altLang="en-US" sz="1400" dirty="0" smtClean="0">
                <a:latin typeface="SimSun" panose="02010600030101010101" pitchFamily="2" charset="-122"/>
                <a:ea typeface="SimSun" panose="02010600030101010101" pitchFamily="2" charset="-122"/>
              </a:rPr>
              <a:t>错误或其他瑕疵</a:t>
            </a:r>
            <a:r>
              <a:rPr lang="en-GB" altLang="ja-JP" sz="1400" dirty="0" smtClean="0">
                <a:latin typeface="SimSun" panose="02010600030101010101" pitchFamily="2" charset="-122"/>
                <a:ea typeface="SimSun" panose="02010600030101010101" pitchFamily="2" charset="-122"/>
              </a:rPr>
              <a:t>)</a:t>
            </a:r>
            <a:r>
              <a:rPr lang="zh-CN" altLang="en-US" sz="1400" dirty="0" smtClean="0">
                <a:latin typeface="SimSun" panose="02010600030101010101" pitchFamily="2" charset="-122"/>
                <a:ea typeface="SimSun" panose="02010600030101010101" pitchFamily="2" charset="-122"/>
              </a:rPr>
              <a:t>为目的执行程序或应用的过程</a:t>
            </a:r>
            <a:r>
              <a:rPr lang="zh-CN" altLang="en-US" sz="1400" dirty="0">
                <a:latin typeface="SimSun" panose="02010600030101010101" pitchFamily="2" charset="-122"/>
                <a:ea typeface="SimSun" panose="02010600030101010101" pitchFamily="2" charset="-122"/>
              </a:rPr>
              <a:t>。</a:t>
            </a:r>
            <a:endParaRPr lang="en-GB" sz="1400" dirty="0" smtClean="0">
              <a:latin typeface="SimSun" panose="02010600030101010101" pitchFamily="2" charset="-122"/>
              <a:ea typeface="SimSun" panose="02010600030101010101" pitchFamily="2" charset="-122"/>
            </a:endParaRPr>
          </a:p>
          <a:p>
            <a:r>
              <a:rPr lang="en-GB" sz="1400" dirty="0" smtClean="0">
                <a:latin typeface="SimSun" panose="02010600030101010101" pitchFamily="2" charset="-122"/>
                <a:ea typeface="SimSun" panose="02010600030101010101" pitchFamily="2" charset="-122"/>
                <a:hlinkClick r:id="rId3"/>
              </a:rPr>
              <a:t>http://en.wikipedia.org/wiki/Software_testing</a:t>
            </a:r>
            <a:endParaRPr lang="en-GB" sz="1400" dirty="0" smtClean="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40142450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ChangeArrowheads="1"/>
          </p:cNvSpPr>
          <p:nvPr>
            <p:ph type="title"/>
          </p:nvPr>
        </p:nvSpPr>
        <p:spPr/>
        <p:txBody>
          <a:bodyPr/>
          <a:lstStyle/>
          <a:p>
            <a:r>
              <a:rPr lang="zh-CN" altLang="en-US" sz="2400" dirty="0" smtClean="0">
                <a:latin typeface="SimSun" panose="02010600030101010101" pitchFamily="2" charset="-122"/>
                <a:ea typeface="SimSun" panose="02010600030101010101" pitchFamily="2" charset="-122"/>
              </a:rPr>
              <a:t>不同的测试阶段</a:t>
            </a:r>
            <a:endParaRPr lang="en-GB" altLang="en-US" sz="2400"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阶段名</a:t>
            </a:r>
            <a:endParaRPr lang="en-GB" dirty="0">
              <a:latin typeface="SimSun" panose="02010600030101010101" pitchFamily="2" charset="-122"/>
              <a:ea typeface="SimSun" panose="02010600030101010101" pitchFamily="2" charset="-122"/>
            </a:endParaRPr>
          </a:p>
        </p:txBody>
      </p:sp>
      <p:sp>
        <p:nvSpPr>
          <p:cNvPr id="3" name="Rectangle 2"/>
          <p:cNvSpPr/>
          <p:nvPr/>
        </p:nvSpPr>
        <p:spPr>
          <a:xfrm>
            <a:off x="395536" y="1674674"/>
            <a:ext cx="8424936" cy="4278094"/>
          </a:xfrm>
          <a:prstGeom prst="rect">
            <a:avLst/>
          </a:prstGeom>
        </p:spPr>
        <p:txBody>
          <a:bodyPr wrap="square">
            <a:spAutoFit/>
          </a:bodyPr>
          <a:lstStyle/>
          <a:p>
            <a:endParaRPr lang="en-GB" sz="1600" dirty="0">
              <a:latin typeface="SimSun" panose="02010600030101010101" pitchFamily="2" charset="-122"/>
              <a:ea typeface="SimSun" panose="02010600030101010101" pitchFamily="2" charset="-122"/>
            </a:endParaRPr>
          </a:p>
          <a:p>
            <a:r>
              <a:rPr lang="zh-CN" altLang="en-US" sz="1600" dirty="0" smtClean="0">
                <a:latin typeface="SimSun" panose="02010600030101010101" pitchFamily="2" charset="-122"/>
                <a:ea typeface="SimSun" panose="02010600030101010101" pitchFamily="2" charset="-122"/>
              </a:rPr>
              <a:t>测试种类</a:t>
            </a:r>
            <a:r>
              <a:rPr lang="en-GB" sz="1600" dirty="0" smtClean="0">
                <a:latin typeface="SimSun" panose="02010600030101010101" pitchFamily="2" charset="-122"/>
                <a:ea typeface="SimSun" panose="02010600030101010101" pitchFamily="2" charset="-122"/>
              </a:rPr>
              <a:t>:</a:t>
            </a:r>
          </a:p>
          <a:p>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UT	</a:t>
            </a:r>
            <a:r>
              <a:rPr lang="zh-CN" altLang="en-US" sz="1600" dirty="0" smtClean="0">
                <a:latin typeface="SimSun" panose="02010600030101010101" pitchFamily="2" charset="-122"/>
                <a:ea typeface="SimSun" panose="02010600030101010101" pitchFamily="2" charset="-122"/>
              </a:rPr>
              <a:t>单体测试</a:t>
            </a: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ST	</a:t>
            </a:r>
            <a:r>
              <a:rPr lang="zh-CN" altLang="en-US" sz="1600" dirty="0" smtClean="0">
                <a:latin typeface="SimSun" panose="02010600030101010101" pitchFamily="2" charset="-122"/>
                <a:ea typeface="SimSun" panose="02010600030101010101" pitchFamily="2" charset="-122"/>
              </a:rPr>
              <a:t>系统测试</a:t>
            </a: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SIT	</a:t>
            </a:r>
            <a:r>
              <a:rPr lang="zh-CN" altLang="en-US" sz="1600" dirty="0" smtClean="0">
                <a:latin typeface="SimSun" panose="02010600030101010101" pitchFamily="2" charset="-122"/>
                <a:ea typeface="SimSun" panose="02010600030101010101" pitchFamily="2" charset="-122"/>
              </a:rPr>
              <a:t>系统结合测试</a:t>
            </a: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UAT	</a:t>
            </a:r>
            <a:r>
              <a:rPr lang="zh-CN" altLang="en-US" sz="1600" dirty="0" smtClean="0">
                <a:latin typeface="SimSun" panose="02010600030101010101" pitchFamily="2" charset="-122"/>
                <a:ea typeface="SimSun" panose="02010600030101010101" pitchFamily="2" charset="-122"/>
              </a:rPr>
              <a:t>用户验收测试</a:t>
            </a: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TT	</a:t>
            </a:r>
            <a:r>
              <a:rPr lang="zh-CN" altLang="en-US" sz="1600" dirty="0" smtClean="0">
                <a:latin typeface="SimSun" panose="02010600030101010101" pitchFamily="2" charset="-122"/>
                <a:ea typeface="SimSun" panose="02010600030101010101" pitchFamily="2" charset="-122"/>
              </a:rPr>
              <a:t>技术测试</a:t>
            </a: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OAT	</a:t>
            </a:r>
            <a:r>
              <a:rPr lang="zh-CN" altLang="en-US" sz="1600" dirty="0" smtClean="0">
                <a:latin typeface="SimSun" panose="02010600030101010101" pitchFamily="2" charset="-122"/>
                <a:ea typeface="SimSun" panose="02010600030101010101" pitchFamily="2" charset="-122"/>
              </a:rPr>
              <a:t>运营商验收测试</a:t>
            </a: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endParaRPr lang="en-GB" sz="1600" dirty="0" smtClean="0">
              <a:latin typeface="SimSun" panose="02010600030101010101" pitchFamily="2" charset="-122"/>
              <a:ea typeface="SimSun" panose="02010600030101010101" pitchFamily="2" charset="-122"/>
            </a:endParaRPr>
          </a:p>
          <a:p>
            <a:pPr marL="285750" indent="-285750">
              <a:buFont typeface="Arial" panose="020B0604020202020204" pitchFamily="34" charset="0"/>
              <a:buChar char="•"/>
            </a:pPr>
            <a:r>
              <a:rPr lang="en-GB" sz="1600" dirty="0" smtClean="0">
                <a:latin typeface="SimSun" panose="02010600030101010101" pitchFamily="2" charset="-122"/>
                <a:ea typeface="SimSun" panose="02010600030101010101" pitchFamily="2" charset="-122"/>
              </a:rPr>
              <a:t>FAT	</a:t>
            </a:r>
            <a:r>
              <a:rPr lang="zh-CN" altLang="en-US" sz="1600" dirty="0" smtClean="0">
                <a:latin typeface="SimSun" panose="02010600030101010101" pitchFamily="2" charset="-122"/>
                <a:ea typeface="SimSun" panose="02010600030101010101" pitchFamily="2" charset="-122"/>
              </a:rPr>
              <a:t>领域验收测试</a:t>
            </a:r>
            <a:endParaRPr lang="en-GB" sz="1600" dirty="0" smtClean="0">
              <a:latin typeface="SimSun" panose="02010600030101010101" pitchFamily="2" charset="-122"/>
              <a:ea typeface="SimSun" panose="02010600030101010101" pitchFamily="2" charset="-122"/>
            </a:endParaRPr>
          </a:p>
          <a:p>
            <a:endParaRPr lang="en-GB" sz="1600" dirty="0">
              <a:latin typeface="SimSun" panose="02010600030101010101" pitchFamily="2" charset="-122"/>
              <a:ea typeface="SimSun" panose="02010600030101010101" pitchFamily="2" charset="-122"/>
            </a:endParaRPr>
          </a:p>
        </p:txBody>
      </p:sp>
      <p:sp>
        <p:nvSpPr>
          <p:cNvPr id="8" name="Footer Placeholder 4"/>
          <p:cNvSpPr>
            <a:spLocks noGrp="1"/>
          </p:cNvSpPr>
          <p:nvPr>
            <p:ph type="ftr" sz="quarter" idx="13"/>
          </p:nvPr>
        </p:nvSpPr>
        <p:spPr>
          <a:xfrm>
            <a:off x="455613" y="6575425"/>
            <a:ext cx="3600000" cy="128588"/>
          </a:xfrm>
        </p:spPr>
        <p:txBody>
          <a:bodyPr/>
          <a:lstStyle/>
          <a:p>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1573956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使用代码质量进行流程控制</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a:xfrm>
            <a:off x="455613" y="1625960"/>
            <a:ext cx="8232775" cy="4757325"/>
          </a:xfrm>
        </p:spPr>
        <p:txBody>
          <a:bodyPr/>
          <a:lstStyle/>
          <a:p>
            <a:r>
              <a:rPr lang="zh-CN" altLang="en-US" dirty="0" smtClean="0">
                <a:latin typeface="SimSun" panose="02010600030101010101" pitchFamily="2" charset="-122"/>
                <a:ea typeface="SimSun" panose="02010600030101010101" pitchFamily="2" charset="-122"/>
              </a:rPr>
              <a:t>质量检验关是用来确定你的项目是否通过一</a:t>
            </a:r>
            <a:r>
              <a:rPr lang="zh-CN" altLang="en-US" dirty="0">
                <a:latin typeface="SimSun" panose="02010600030101010101" pitchFamily="2" charset="-122"/>
                <a:ea typeface="SimSun" panose="02010600030101010101" pitchFamily="2" charset="-122"/>
              </a:rPr>
              <a:t>个</a:t>
            </a:r>
            <a:r>
              <a:rPr lang="zh-CN" altLang="en-US" dirty="0" smtClean="0">
                <a:latin typeface="SimSun" panose="02010600030101010101" pitchFamily="2" charset="-122"/>
                <a:ea typeface="SimSun" panose="02010600030101010101" pitchFamily="2" charset="-122"/>
              </a:rPr>
              <a:t>条件组合。</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作为确认点用于判断</a:t>
            </a:r>
            <a:r>
              <a:rPr lang="zh-CN" altLang="en-US" dirty="0">
                <a:latin typeface="SimSun" panose="02010600030101010101" pitchFamily="2" charset="-122"/>
                <a:ea typeface="SimSun" panose="02010600030101010101" pitchFamily="2" charset="-122"/>
              </a:rPr>
              <a:t>项目代码</a:t>
            </a:r>
            <a:r>
              <a:rPr lang="zh-CN" altLang="en-US" dirty="0" smtClean="0">
                <a:latin typeface="SimSun" panose="02010600030101010101" pitchFamily="2" charset="-122"/>
                <a:ea typeface="SimSun" panose="02010600030101010101" pitchFamily="2" charset="-122"/>
              </a:rPr>
              <a:t>的质量是否过关，可以继续开发和实施流程，还是代码质量需要提高。</a:t>
            </a:r>
            <a:endParaRPr lang="en-GB" dirty="0" smtClean="0">
              <a:latin typeface="SimSun" panose="02010600030101010101" pitchFamily="2" charset="-122"/>
              <a:ea typeface="SimSun" panose="02010600030101010101" pitchFamily="2" charset="-122"/>
            </a:endParaRPr>
          </a:p>
          <a:p>
            <a:pPr marL="0" indent="0">
              <a:buNone/>
            </a:pPr>
            <a:endParaRPr lang="en-GB" dirty="0">
              <a:latin typeface="SimSun" panose="02010600030101010101" pitchFamily="2" charset="-122"/>
              <a:ea typeface="SimSun" panose="02010600030101010101" pitchFamily="2" charset="-122"/>
            </a:endParaRPr>
          </a:p>
          <a:p>
            <a:pPr marL="0" indent="0">
              <a:buNone/>
            </a:pPr>
            <a:r>
              <a:rPr lang="zh-CN" altLang="en-US" dirty="0" smtClean="0">
                <a:latin typeface="SimSun" panose="02010600030101010101" pitchFamily="2" charset="-122"/>
                <a:ea typeface="SimSun" panose="02010600030101010101" pitchFamily="2" charset="-122"/>
              </a:rPr>
              <a:t>质量检查关的种类：</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静态</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单体测试</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功能性</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非功</a:t>
            </a:r>
            <a:r>
              <a:rPr lang="zh-CN" altLang="en-US" dirty="0">
                <a:latin typeface="SimSun" panose="02010600030101010101" pitchFamily="2" charset="-122"/>
                <a:ea typeface="SimSun" panose="02010600030101010101" pitchFamily="2" charset="-122"/>
              </a:rPr>
              <a:t>能性</a:t>
            </a:r>
            <a:endParaRPr lang="en-GB" dirty="0" smtClean="0">
              <a:latin typeface="SimSun" panose="02010600030101010101" pitchFamily="2" charset="-122"/>
              <a:ea typeface="SimSun" panose="02010600030101010101" pitchFamily="2" charset="-122"/>
            </a:endParaRPr>
          </a:p>
          <a:p>
            <a:r>
              <a:rPr lang="en-GB" dirty="0" smtClean="0">
                <a:latin typeface="SimSun" panose="02010600030101010101" pitchFamily="2" charset="-122"/>
                <a:ea typeface="SimSun" panose="02010600030101010101" pitchFamily="2" charset="-122"/>
              </a:rPr>
              <a:t>Canary</a:t>
            </a:r>
            <a:r>
              <a:rPr lang="zh-CN" altLang="en-US" dirty="0" smtClean="0">
                <a:latin typeface="SimSun" panose="02010600030101010101" pitchFamily="2" charset="-122"/>
                <a:ea typeface="SimSun" panose="02010600030101010101" pitchFamily="2" charset="-122"/>
              </a:rPr>
              <a:t>测试</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质量检验关</a:t>
            </a:r>
            <a:endParaRPr lang="en-GB" dirty="0">
              <a:latin typeface="SimSun" panose="02010600030101010101" pitchFamily="2" charset="-122"/>
              <a:ea typeface="SimSun" panose="02010600030101010101" pitchFamily="2" charset="-122"/>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3212976"/>
            <a:ext cx="2143125"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6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32102812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p:cNvGrpSpPr/>
          <p:nvPr/>
        </p:nvGrpSpPr>
        <p:grpSpPr>
          <a:xfrm>
            <a:off x="406887" y="1109663"/>
            <a:ext cx="8331861" cy="528297"/>
            <a:chOff x="457687" y="1122363"/>
            <a:chExt cx="8331861" cy="528297"/>
          </a:xfrm>
          <a:solidFill>
            <a:schemeClr val="accent5"/>
          </a:solidFill>
        </p:grpSpPr>
        <p:sp>
          <p:nvSpPr>
            <p:cNvPr id="8" name="Chevron 7"/>
            <p:cNvSpPr/>
            <p:nvPr/>
          </p:nvSpPr>
          <p:spPr>
            <a:xfrm>
              <a:off x="457687" y="1122363"/>
              <a:ext cx="1224000" cy="528297"/>
            </a:xfrm>
            <a:prstGeom prst="chevron">
              <a:avLst>
                <a:gd name="adj" fmla="val 40000"/>
              </a:avLst>
            </a:pr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0" name="Chevron 9"/>
            <p:cNvSpPr/>
            <p:nvPr/>
          </p:nvSpPr>
          <p:spPr>
            <a:xfrm>
              <a:off x="1473096" y="1122363"/>
              <a:ext cx="1224000" cy="528297"/>
            </a:xfrm>
            <a:prstGeom prst="chevron">
              <a:avLst>
                <a:gd name="adj" fmla="val 40000"/>
              </a:avLst>
            </a:prstGeom>
            <a:solidFill>
              <a:schemeClr val="accent4">
                <a:lumMod val="25000"/>
              </a:schemeClr>
            </a:solidFill>
          </p:spPr>
          <p:style>
            <a:lnRef idx="2">
              <a:schemeClr val="lt1">
                <a:hueOff val="0"/>
                <a:satOff val="0"/>
                <a:lumOff val="0"/>
                <a:alphaOff val="0"/>
              </a:schemeClr>
            </a:lnRef>
            <a:fillRef idx="1">
              <a:schemeClr val="accent3">
                <a:hueOff val="-180009"/>
                <a:satOff val="4029"/>
                <a:lumOff val="3333"/>
                <a:alphaOff val="0"/>
              </a:schemeClr>
            </a:fillRef>
            <a:effectRef idx="0">
              <a:schemeClr val="accent3">
                <a:hueOff val="-180009"/>
                <a:satOff val="4029"/>
                <a:lumOff val="3333"/>
                <a:alphaOff val="0"/>
              </a:schemeClr>
            </a:effectRef>
            <a:fontRef idx="minor">
              <a:schemeClr val="lt1"/>
            </a:fontRef>
          </p:style>
        </p:sp>
        <p:sp>
          <p:nvSpPr>
            <p:cNvPr id="12" name="Chevron 11"/>
            <p:cNvSpPr/>
            <p:nvPr/>
          </p:nvSpPr>
          <p:spPr>
            <a:xfrm>
              <a:off x="2488505" y="1122363"/>
              <a:ext cx="1224000" cy="528297"/>
            </a:xfrm>
            <a:prstGeom prst="chevron">
              <a:avLst>
                <a:gd name="adj" fmla="val 40000"/>
              </a:avLst>
            </a:prstGeom>
            <a:solidFill>
              <a:schemeClr val="accent5">
                <a:lumMod val="90000"/>
                <a:lumOff val="10000"/>
              </a:schemeClr>
            </a:solidFill>
          </p:spPr>
          <p:style>
            <a:lnRef idx="2">
              <a:schemeClr val="lt1">
                <a:hueOff val="0"/>
                <a:satOff val="0"/>
                <a:lumOff val="0"/>
                <a:alphaOff val="0"/>
              </a:schemeClr>
            </a:lnRef>
            <a:fillRef idx="1">
              <a:schemeClr val="accent3">
                <a:hueOff val="-360018"/>
                <a:satOff val="8059"/>
                <a:lumOff val="6667"/>
                <a:alphaOff val="0"/>
              </a:schemeClr>
            </a:fillRef>
            <a:effectRef idx="0">
              <a:schemeClr val="accent3">
                <a:hueOff val="-360018"/>
                <a:satOff val="8059"/>
                <a:lumOff val="6667"/>
                <a:alphaOff val="0"/>
              </a:schemeClr>
            </a:effectRef>
            <a:fontRef idx="minor">
              <a:schemeClr val="lt1"/>
            </a:fontRef>
          </p:style>
        </p:sp>
        <p:sp>
          <p:nvSpPr>
            <p:cNvPr id="14" name="Chevron 13"/>
            <p:cNvSpPr/>
            <p:nvPr/>
          </p:nvSpPr>
          <p:spPr>
            <a:xfrm>
              <a:off x="3503914" y="1122363"/>
              <a:ext cx="1224000" cy="528297"/>
            </a:xfrm>
            <a:prstGeom prst="chevron">
              <a:avLst>
                <a:gd name="adj" fmla="val 40000"/>
              </a:avLst>
            </a:prstGeom>
            <a:solidFill>
              <a:schemeClr val="accent5">
                <a:lumMod val="75000"/>
                <a:lumOff val="25000"/>
              </a:schemeClr>
            </a:solidFill>
          </p:spPr>
          <p:style>
            <a:lnRef idx="2">
              <a:schemeClr val="lt1">
                <a:hueOff val="0"/>
                <a:satOff val="0"/>
                <a:lumOff val="0"/>
                <a:alphaOff val="0"/>
              </a:schemeClr>
            </a:lnRef>
            <a:fillRef idx="1">
              <a:schemeClr val="accent3">
                <a:hueOff val="-540027"/>
                <a:satOff val="12088"/>
                <a:lumOff val="10000"/>
                <a:alphaOff val="0"/>
              </a:schemeClr>
            </a:fillRef>
            <a:effectRef idx="0">
              <a:schemeClr val="accent3">
                <a:hueOff val="-540027"/>
                <a:satOff val="12088"/>
                <a:lumOff val="10000"/>
                <a:alphaOff val="0"/>
              </a:schemeClr>
            </a:effectRef>
            <a:fontRef idx="minor">
              <a:schemeClr val="lt1"/>
            </a:fontRef>
          </p:style>
        </p:sp>
        <p:sp>
          <p:nvSpPr>
            <p:cNvPr id="16" name="Chevron 15"/>
            <p:cNvSpPr/>
            <p:nvPr/>
          </p:nvSpPr>
          <p:spPr>
            <a:xfrm>
              <a:off x="4519323" y="1122363"/>
              <a:ext cx="1224000" cy="528297"/>
            </a:xfrm>
            <a:prstGeom prst="chevron">
              <a:avLst>
                <a:gd name="adj" fmla="val 40000"/>
              </a:avLst>
            </a:prstGeom>
            <a:solidFill>
              <a:srgbClr val="008899"/>
            </a:solidFill>
          </p:spPr>
          <p:style>
            <a:lnRef idx="2">
              <a:schemeClr val="lt1">
                <a:hueOff val="0"/>
                <a:satOff val="0"/>
                <a:lumOff val="0"/>
                <a:alphaOff val="0"/>
              </a:schemeClr>
            </a:lnRef>
            <a:fillRef idx="1">
              <a:schemeClr val="accent3">
                <a:hueOff val="-720036"/>
                <a:satOff val="16117"/>
                <a:lumOff val="13333"/>
                <a:alphaOff val="0"/>
              </a:schemeClr>
            </a:fillRef>
            <a:effectRef idx="0">
              <a:schemeClr val="accent3">
                <a:hueOff val="-720036"/>
                <a:satOff val="16117"/>
                <a:lumOff val="13333"/>
                <a:alphaOff val="0"/>
              </a:schemeClr>
            </a:effectRef>
            <a:fontRef idx="minor">
              <a:schemeClr val="lt1"/>
            </a:fontRef>
          </p:style>
        </p:sp>
        <p:sp>
          <p:nvSpPr>
            <p:cNvPr id="18" name="Chevron 17"/>
            <p:cNvSpPr/>
            <p:nvPr/>
          </p:nvSpPr>
          <p:spPr>
            <a:xfrm>
              <a:off x="5534732" y="1122363"/>
              <a:ext cx="1224000" cy="528297"/>
            </a:xfrm>
            <a:prstGeom prst="chevron">
              <a:avLst>
                <a:gd name="adj" fmla="val 40000"/>
              </a:avLst>
            </a:prstGeom>
            <a:solidFill>
              <a:schemeClr val="accent6"/>
            </a:solidFill>
          </p:spPr>
          <p:style>
            <a:lnRef idx="2">
              <a:schemeClr val="lt1">
                <a:hueOff val="0"/>
                <a:satOff val="0"/>
                <a:lumOff val="0"/>
                <a:alphaOff val="0"/>
              </a:schemeClr>
            </a:lnRef>
            <a:fillRef idx="1">
              <a:schemeClr val="accent3">
                <a:hueOff val="-900045"/>
                <a:satOff val="20146"/>
                <a:lumOff val="16666"/>
                <a:alphaOff val="0"/>
              </a:schemeClr>
            </a:fillRef>
            <a:effectRef idx="0">
              <a:schemeClr val="accent3">
                <a:hueOff val="-900045"/>
                <a:satOff val="20146"/>
                <a:lumOff val="16666"/>
                <a:alphaOff val="0"/>
              </a:schemeClr>
            </a:effectRef>
            <a:fontRef idx="minor">
              <a:schemeClr val="lt1"/>
            </a:fontRef>
          </p:style>
        </p:sp>
        <p:sp>
          <p:nvSpPr>
            <p:cNvPr id="20" name="Chevron 19"/>
            <p:cNvSpPr/>
            <p:nvPr/>
          </p:nvSpPr>
          <p:spPr>
            <a:xfrm>
              <a:off x="6550141" y="1122363"/>
              <a:ext cx="1224000" cy="528297"/>
            </a:xfrm>
            <a:prstGeom prst="chevron">
              <a:avLst>
                <a:gd name="adj" fmla="val 40000"/>
              </a:avLst>
            </a:prstGeom>
            <a:solidFill>
              <a:schemeClr val="accent6">
                <a:lumMod val="75000"/>
              </a:schemeClr>
            </a:solidFill>
          </p:spPr>
          <p:style>
            <a:lnRef idx="2">
              <a:schemeClr val="lt1">
                <a:hueOff val="0"/>
                <a:satOff val="0"/>
                <a:lumOff val="0"/>
                <a:alphaOff val="0"/>
              </a:schemeClr>
            </a:lnRef>
            <a:fillRef idx="1">
              <a:schemeClr val="accent3">
                <a:hueOff val="-1080054"/>
                <a:satOff val="24176"/>
                <a:lumOff val="20000"/>
                <a:alphaOff val="0"/>
              </a:schemeClr>
            </a:fillRef>
            <a:effectRef idx="0">
              <a:schemeClr val="accent3">
                <a:hueOff val="-1080054"/>
                <a:satOff val="24176"/>
                <a:lumOff val="20000"/>
                <a:alphaOff val="0"/>
              </a:schemeClr>
            </a:effectRef>
            <a:fontRef idx="minor">
              <a:schemeClr val="lt1"/>
            </a:fontRef>
          </p:style>
        </p:sp>
        <p:sp>
          <p:nvSpPr>
            <p:cNvPr id="22" name="Chevron 21"/>
            <p:cNvSpPr/>
            <p:nvPr/>
          </p:nvSpPr>
          <p:spPr>
            <a:xfrm>
              <a:off x="7565548" y="1122363"/>
              <a:ext cx="1224000" cy="528297"/>
            </a:xfrm>
            <a:prstGeom prst="chevron">
              <a:avLst>
                <a:gd name="adj" fmla="val 40000"/>
              </a:avLst>
            </a:prstGeom>
            <a:solidFill>
              <a:schemeClr val="accent6">
                <a:lumMod val="50000"/>
              </a:schemeClr>
            </a:solidFill>
          </p:spPr>
          <p:style>
            <a:lnRef idx="2">
              <a:schemeClr val="lt1">
                <a:hueOff val="0"/>
                <a:satOff val="0"/>
                <a:lumOff val="0"/>
                <a:alphaOff val="0"/>
              </a:schemeClr>
            </a:lnRef>
            <a:fillRef idx="1">
              <a:schemeClr val="accent3">
                <a:hueOff val="-1260063"/>
                <a:satOff val="28205"/>
                <a:lumOff val="23333"/>
                <a:alphaOff val="0"/>
              </a:schemeClr>
            </a:fillRef>
            <a:effectRef idx="0">
              <a:schemeClr val="accent3">
                <a:hueOff val="-1260063"/>
                <a:satOff val="28205"/>
                <a:lumOff val="23333"/>
                <a:alphaOff val="0"/>
              </a:schemeClr>
            </a:effectRef>
            <a:fontRef idx="minor">
              <a:schemeClr val="lt1"/>
            </a:fontRef>
          </p:style>
        </p:sp>
      </p:grpSp>
      <p:sp>
        <p:nvSpPr>
          <p:cNvPr id="9" name="Rectangle 8"/>
          <p:cNvSpPr/>
          <p:nvPr/>
        </p:nvSpPr>
        <p:spPr>
          <a:xfrm>
            <a:off x="662996" y="1215323"/>
            <a:ext cx="792000" cy="316977"/>
          </a:xfrm>
          <a:prstGeom prst="rect">
            <a:avLst/>
          </a:prstGeom>
          <a:noFill/>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445" tIns="126445" rIns="126445"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想法</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11" name="Rectangle 10"/>
          <p:cNvSpPr/>
          <p:nvPr/>
        </p:nvSpPr>
        <p:spPr>
          <a:xfrm>
            <a:off x="1665705" y="1215323"/>
            <a:ext cx="792000" cy="316977"/>
          </a:xfrm>
          <a:prstGeom prst="rect">
            <a:avLst/>
          </a:prstGeom>
          <a:noFill/>
          <a:ln>
            <a:noFill/>
          </a:ln>
        </p:spPr>
        <p:style>
          <a:lnRef idx="2">
            <a:schemeClr val="accent3">
              <a:hueOff val="-180009"/>
              <a:satOff val="4029"/>
              <a:lumOff val="333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445" tIns="126445" rIns="126445"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计划</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13" name="Rectangle 12"/>
          <p:cNvSpPr/>
          <p:nvPr/>
        </p:nvSpPr>
        <p:spPr>
          <a:xfrm>
            <a:off x="2738264" y="1215323"/>
            <a:ext cx="792000" cy="316977"/>
          </a:xfrm>
          <a:prstGeom prst="rect">
            <a:avLst/>
          </a:prstGeom>
          <a:noFill/>
          <a:ln>
            <a:noFill/>
          </a:ln>
        </p:spPr>
        <p:style>
          <a:lnRef idx="2">
            <a:schemeClr val="accent3">
              <a:hueOff val="-360018"/>
              <a:satOff val="8059"/>
              <a:lumOff val="666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53" tIns="126445" rIns="12653" bIns="126445" numCol="1" spcCol="1270" anchor="ctr" anchorCtr="0">
            <a:noAutofit/>
          </a:bodyPr>
          <a:lstStyle/>
          <a:p>
            <a:pPr lvl="0" algn="ctr" defTabSz="711200">
              <a:lnSpc>
                <a:spcPct val="90000"/>
              </a:lnSpc>
              <a:spcBef>
                <a:spcPct val="0"/>
              </a:spcBef>
              <a:spcAft>
                <a:spcPct val="35000"/>
              </a:spcAft>
            </a:pPr>
            <a:r>
              <a:rPr lang="zh-CN" altLang="en-US" sz="1200" dirty="0">
                <a:solidFill>
                  <a:schemeClr val="bg1"/>
                </a:solidFill>
                <a:latin typeface="SimSun" panose="02010600030101010101" pitchFamily="2" charset="-122"/>
                <a:ea typeface="SimSun" panose="02010600030101010101" pitchFamily="2" charset="-122"/>
              </a:rPr>
              <a:t>设计</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15" name="Rectangle 14"/>
          <p:cNvSpPr/>
          <p:nvPr/>
        </p:nvSpPr>
        <p:spPr>
          <a:xfrm>
            <a:off x="3740972" y="1215323"/>
            <a:ext cx="792000" cy="316977"/>
          </a:xfrm>
          <a:prstGeom prst="rect">
            <a:avLst/>
          </a:prstGeom>
          <a:noFill/>
          <a:ln>
            <a:noFill/>
          </a:ln>
        </p:spPr>
        <p:style>
          <a:lnRef idx="2">
            <a:schemeClr val="accent3">
              <a:hueOff val="-540027"/>
              <a:satOff val="12088"/>
              <a:lumOff val="1000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53" tIns="126445" rIns="12653"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架构</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17" name="Rectangle 16"/>
          <p:cNvSpPr/>
          <p:nvPr/>
        </p:nvSpPr>
        <p:spPr>
          <a:xfrm>
            <a:off x="4724631" y="1215323"/>
            <a:ext cx="792000" cy="316977"/>
          </a:xfrm>
          <a:prstGeom prst="rect">
            <a:avLst/>
          </a:prstGeom>
          <a:noFill/>
          <a:ln>
            <a:noFill/>
          </a:ln>
        </p:spPr>
        <p:style>
          <a:lnRef idx="2">
            <a:schemeClr val="accent3">
              <a:hueOff val="-720036"/>
              <a:satOff val="16117"/>
              <a:lumOff val="1333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8653" tIns="126445" rIns="48653"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实施</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19" name="Rectangle 18"/>
          <p:cNvSpPr/>
          <p:nvPr/>
        </p:nvSpPr>
        <p:spPr>
          <a:xfrm>
            <a:off x="5714640" y="1215323"/>
            <a:ext cx="792000" cy="316977"/>
          </a:xfrm>
          <a:prstGeom prst="rect">
            <a:avLst/>
          </a:prstGeom>
          <a:noFill/>
          <a:ln>
            <a:noFill/>
          </a:ln>
        </p:spPr>
        <p:style>
          <a:lnRef idx="2">
            <a:schemeClr val="accent3">
              <a:hueOff val="-900045"/>
              <a:satOff val="20146"/>
              <a:lumOff val="1666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6445" tIns="126445" rIns="126445"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测试</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21" name="Rectangle 20"/>
          <p:cNvSpPr/>
          <p:nvPr/>
        </p:nvSpPr>
        <p:spPr>
          <a:xfrm>
            <a:off x="6761799" y="1215323"/>
            <a:ext cx="792000" cy="316977"/>
          </a:xfrm>
          <a:prstGeom prst="rect">
            <a:avLst/>
          </a:prstGeom>
          <a:noFill/>
          <a:ln>
            <a:noFill/>
          </a:ln>
        </p:spPr>
        <p:style>
          <a:lnRef idx="2">
            <a:schemeClr val="accent3">
              <a:hueOff val="-1080054"/>
              <a:satOff val="24176"/>
              <a:lumOff val="2000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8653" tIns="126445" rIns="12653"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公布</a:t>
            </a:r>
            <a:endParaRPr lang="en-GB" sz="1200" kern="1200" dirty="0">
              <a:solidFill>
                <a:schemeClr val="bg1"/>
              </a:solidFill>
              <a:latin typeface="SimSun" panose="02010600030101010101" pitchFamily="2" charset="-122"/>
              <a:ea typeface="SimSun" panose="02010600030101010101" pitchFamily="2" charset="-122"/>
            </a:endParaRPr>
          </a:p>
        </p:txBody>
      </p:sp>
      <p:sp>
        <p:nvSpPr>
          <p:cNvPr id="23" name="Rectangle 22"/>
          <p:cNvSpPr/>
          <p:nvPr/>
        </p:nvSpPr>
        <p:spPr>
          <a:xfrm>
            <a:off x="7723341" y="1215323"/>
            <a:ext cx="871267" cy="316977"/>
          </a:xfrm>
          <a:prstGeom prst="rect">
            <a:avLst/>
          </a:prstGeom>
          <a:noFill/>
          <a:ln>
            <a:noFill/>
          </a:ln>
        </p:spPr>
        <p:style>
          <a:lnRef idx="2">
            <a:schemeClr val="accent3">
              <a:hueOff val="-1260063"/>
              <a:satOff val="28205"/>
              <a:lumOff val="2333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8653" tIns="126445" rIns="48653" bIns="126445" numCol="1" spcCol="1270" anchor="ctr" anchorCtr="0">
            <a:noAutofit/>
          </a:bodyPr>
          <a:lstStyle/>
          <a:p>
            <a:pPr lvl="0" algn="ctr" defTabSz="711200">
              <a:lnSpc>
                <a:spcPct val="90000"/>
              </a:lnSpc>
              <a:spcBef>
                <a:spcPct val="0"/>
              </a:spcBef>
              <a:spcAft>
                <a:spcPct val="35000"/>
              </a:spcAft>
            </a:pPr>
            <a:r>
              <a:rPr lang="zh-CN" altLang="en-US" sz="1200" kern="1200" dirty="0" smtClean="0">
                <a:solidFill>
                  <a:schemeClr val="bg1"/>
                </a:solidFill>
                <a:latin typeface="SimSun" panose="02010600030101010101" pitchFamily="2" charset="-122"/>
                <a:ea typeface="SimSun" panose="02010600030101010101" pitchFamily="2" charset="-122"/>
              </a:rPr>
              <a:t>运营</a:t>
            </a:r>
            <a:endParaRPr lang="en-GB" sz="1200" kern="1200" dirty="0">
              <a:solidFill>
                <a:schemeClr val="bg1"/>
              </a:solidFill>
              <a:latin typeface="SimSun" panose="02010600030101010101" pitchFamily="2" charset="-122"/>
              <a:ea typeface="SimSun" panose="02010600030101010101" pitchFamily="2" charset="-122"/>
            </a:endParaRPr>
          </a:p>
        </p:txBody>
      </p:sp>
      <p:grpSp>
        <p:nvGrpSpPr>
          <p:cNvPr id="121" name="Group 120"/>
          <p:cNvGrpSpPr/>
          <p:nvPr/>
        </p:nvGrpSpPr>
        <p:grpSpPr>
          <a:xfrm>
            <a:off x="1422296" y="1708150"/>
            <a:ext cx="6106103" cy="4076700"/>
            <a:chOff x="1422296" y="1682750"/>
            <a:chExt cx="6106103" cy="4076700"/>
          </a:xfrm>
        </p:grpSpPr>
        <p:cxnSp>
          <p:nvCxnSpPr>
            <p:cNvPr id="114" name="Straight Connector 113"/>
            <p:cNvCxnSpPr/>
            <p:nvPr/>
          </p:nvCxnSpPr>
          <p:spPr>
            <a:xfrm>
              <a:off x="1422296"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2439980"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3457664"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475348"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5493032"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10716"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7528399" y="1682750"/>
              <a:ext cx="0" cy="4076700"/>
            </a:xfrm>
            <a:prstGeom prst="line">
              <a:avLst/>
            </a:prstGeom>
            <a:ln>
              <a:solidFill>
                <a:srgbClr val="CBCCCC"/>
              </a:solidFill>
              <a:prstDash val="sysDot"/>
            </a:ln>
          </p:spPr>
          <p:style>
            <a:lnRef idx="1">
              <a:schemeClr val="accent1"/>
            </a:lnRef>
            <a:fillRef idx="0">
              <a:schemeClr val="accent1"/>
            </a:fillRef>
            <a:effectRef idx="0">
              <a:schemeClr val="accent1"/>
            </a:effectRef>
            <a:fontRef idx="minor">
              <a:schemeClr val="tx1"/>
            </a:fontRef>
          </p:style>
        </p:cxnSp>
      </p:grpSp>
      <p:cxnSp>
        <p:nvCxnSpPr>
          <p:cNvPr id="123" name="Straight Connector 122"/>
          <p:cNvCxnSpPr/>
          <p:nvPr/>
        </p:nvCxnSpPr>
        <p:spPr>
          <a:xfrm>
            <a:off x="66644" y="6165850"/>
            <a:ext cx="8228843" cy="0"/>
          </a:xfrm>
          <a:prstGeom prst="line">
            <a:avLst/>
          </a:prstGeom>
          <a:ln w="19050">
            <a:solidFill>
              <a:srgbClr val="CBCCCC"/>
            </a:solidFill>
          </a:ln>
        </p:spPr>
        <p:style>
          <a:lnRef idx="1">
            <a:schemeClr val="accent1"/>
          </a:lnRef>
          <a:fillRef idx="0">
            <a:schemeClr val="accent1"/>
          </a:fillRef>
          <a:effectRef idx="0">
            <a:schemeClr val="accent1"/>
          </a:effectRef>
          <a:fontRef idx="minor">
            <a:schemeClr val="tx1"/>
          </a:fontRef>
        </p:style>
      </p:cxnSp>
      <p:grpSp>
        <p:nvGrpSpPr>
          <p:cNvPr id="130" name="Group 129"/>
          <p:cNvGrpSpPr/>
          <p:nvPr/>
        </p:nvGrpSpPr>
        <p:grpSpPr>
          <a:xfrm>
            <a:off x="3449573" y="4168502"/>
            <a:ext cx="5169318" cy="239193"/>
            <a:chOff x="3515138" y="4397102"/>
            <a:chExt cx="5169318" cy="239193"/>
          </a:xfrm>
        </p:grpSpPr>
        <p:cxnSp>
          <p:nvCxnSpPr>
            <p:cNvPr id="95" name="Straight Arrow Connector 94"/>
            <p:cNvCxnSpPr/>
            <p:nvPr/>
          </p:nvCxnSpPr>
          <p:spPr>
            <a:xfrm>
              <a:off x="3523229" y="4431112"/>
              <a:ext cx="5161227" cy="19811"/>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3515138" y="4397102"/>
              <a:ext cx="582798" cy="239193"/>
            </a:xfrm>
            <a:prstGeom prst="rect">
              <a:avLst/>
            </a:prstGeom>
          </p:spPr>
          <p:txBody>
            <a:bodyPr wrap="square" lIns="0" tIns="54000" rIns="0" bIns="0">
              <a:spAutoFit/>
            </a:bodyPr>
            <a:lstStyle/>
            <a:p>
              <a:r>
                <a:rPr lang="en-GB" sz="1200" dirty="0">
                  <a:solidFill>
                    <a:schemeClr val="tx2"/>
                  </a:solidFill>
                  <a:latin typeface="SimSun" panose="02010600030101010101" pitchFamily="2" charset="-122"/>
                  <a:ea typeface="SimSun" panose="02010600030101010101" pitchFamily="2" charset="-122"/>
                </a:rPr>
                <a:t>DevOps</a:t>
              </a:r>
            </a:p>
          </p:txBody>
        </p:sp>
      </p:grpSp>
      <p:grpSp>
        <p:nvGrpSpPr>
          <p:cNvPr id="129" name="Group 128"/>
          <p:cNvGrpSpPr/>
          <p:nvPr/>
        </p:nvGrpSpPr>
        <p:grpSpPr>
          <a:xfrm>
            <a:off x="2489835" y="3747799"/>
            <a:ext cx="5036926" cy="239193"/>
            <a:chOff x="2555400" y="3938299"/>
            <a:chExt cx="5036926" cy="239193"/>
          </a:xfrm>
        </p:grpSpPr>
        <p:cxnSp>
          <p:nvCxnSpPr>
            <p:cNvPr id="98" name="Straight Arrow Connector 97"/>
            <p:cNvCxnSpPr/>
            <p:nvPr/>
          </p:nvCxnSpPr>
          <p:spPr>
            <a:xfrm>
              <a:off x="2555400" y="3958110"/>
              <a:ext cx="5036926"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2555400" y="3938299"/>
              <a:ext cx="1442570" cy="239193"/>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持续交付</a:t>
              </a:r>
              <a:endParaRPr lang="en-GB" sz="1200" dirty="0">
                <a:solidFill>
                  <a:schemeClr val="tx2"/>
                </a:solidFill>
                <a:latin typeface="SimSun" panose="02010600030101010101" pitchFamily="2" charset="-122"/>
                <a:ea typeface="SimSun" panose="02010600030101010101" pitchFamily="2" charset="-122"/>
              </a:endParaRPr>
            </a:p>
          </p:txBody>
        </p:sp>
      </p:grpSp>
      <p:grpSp>
        <p:nvGrpSpPr>
          <p:cNvPr id="128" name="Group 127"/>
          <p:cNvGrpSpPr/>
          <p:nvPr/>
        </p:nvGrpSpPr>
        <p:grpSpPr>
          <a:xfrm>
            <a:off x="2489835" y="3241450"/>
            <a:ext cx="1985513" cy="239193"/>
            <a:chOff x="2555400" y="3445486"/>
            <a:chExt cx="1959119" cy="172661"/>
          </a:xfrm>
        </p:grpSpPr>
        <p:cxnSp>
          <p:nvCxnSpPr>
            <p:cNvPr id="100" name="Straight Arrow Connector 99"/>
            <p:cNvCxnSpPr/>
            <p:nvPr/>
          </p:nvCxnSpPr>
          <p:spPr>
            <a:xfrm>
              <a:off x="2555400" y="3460246"/>
              <a:ext cx="1959119"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2555400" y="3445486"/>
              <a:ext cx="1620007" cy="172661"/>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持</a:t>
              </a:r>
              <a:r>
                <a:rPr lang="zh-CN" altLang="en-US" sz="1200" dirty="0">
                  <a:solidFill>
                    <a:schemeClr val="tx2"/>
                  </a:solidFill>
                  <a:latin typeface="SimSun" panose="02010600030101010101" pitchFamily="2" charset="-122"/>
                  <a:ea typeface="SimSun" panose="02010600030101010101" pitchFamily="2" charset="-122"/>
                </a:rPr>
                <a:t>续</a:t>
              </a:r>
              <a:r>
                <a:rPr lang="zh-CN" altLang="en-US" sz="1200" dirty="0" smtClean="0">
                  <a:solidFill>
                    <a:schemeClr val="tx2"/>
                  </a:solidFill>
                  <a:latin typeface="SimSun" panose="02010600030101010101" pitchFamily="2" charset="-122"/>
                  <a:ea typeface="SimSun" panose="02010600030101010101" pitchFamily="2" charset="-122"/>
                </a:rPr>
                <a:t>整合</a:t>
              </a:r>
              <a:endParaRPr lang="en-GB" sz="1200" dirty="0">
                <a:solidFill>
                  <a:schemeClr val="tx2"/>
                </a:solidFill>
                <a:latin typeface="SimSun" panose="02010600030101010101" pitchFamily="2" charset="-122"/>
                <a:ea typeface="SimSun" panose="02010600030101010101" pitchFamily="2" charset="-122"/>
              </a:endParaRPr>
            </a:p>
          </p:txBody>
        </p:sp>
      </p:grpSp>
      <p:grpSp>
        <p:nvGrpSpPr>
          <p:cNvPr id="125" name="Group 124"/>
          <p:cNvGrpSpPr/>
          <p:nvPr/>
        </p:nvGrpSpPr>
        <p:grpSpPr>
          <a:xfrm>
            <a:off x="1504768" y="1928947"/>
            <a:ext cx="7047910" cy="239193"/>
            <a:chOff x="1504768" y="1967047"/>
            <a:chExt cx="7047910" cy="239193"/>
          </a:xfrm>
        </p:grpSpPr>
        <p:cxnSp>
          <p:nvCxnSpPr>
            <p:cNvPr id="108" name="Straight Arrow Connector 107"/>
            <p:cNvCxnSpPr/>
            <p:nvPr/>
          </p:nvCxnSpPr>
          <p:spPr>
            <a:xfrm>
              <a:off x="3540763" y="1985401"/>
              <a:ext cx="1941027" cy="1457"/>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5622443" y="1985401"/>
              <a:ext cx="1854768" cy="1457"/>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579587" y="1985401"/>
              <a:ext cx="968274"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1504768" y="1967047"/>
              <a:ext cx="1944653" cy="239193"/>
              <a:chOff x="1504768" y="1967047"/>
              <a:chExt cx="1944653" cy="239193"/>
            </a:xfrm>
          </p:grpSpPr>
          <p:cxnSp>
            <p:nvCxnSpPr>
              <p:cNvPr id="106" name="Straight Arrow Connector 105"/>
              <p:cNvCxnSpPr/>
              <p:nvPr/>
            </p:nvCxnSpPr>
            <p:spPr>
              <a:xfrm>
                <a:off x="1504768" y="1985401"/>
                <a:ext cx="1941027" cy="1457"/>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1523769" y="1967047"/>
                <a:ext cx="1925652" cy="239193"/>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执行架构</a:t>
                </a:r>
                <a:endParaRPr lang="en-GB" sz="1200" dirty="0">
                  <a:solidFill>
                    <a:schemeClr val="tx2"/>
                  </a:solidFill>
                  <a:latin typeface="SimSun" panose="02010600030101010101" pitchFamily="2" charset="-122"/>
                  <a:ea typeface="SimSun" panose="02010600030101010101" pitchFamily="2" charset="-122"/>
                </a:endParaRPr>
              </a:p>
            </p:txBody>
          </p:sp>
        </p:grpSp>
        <p:sp>
          <p:nvSpPr>
            <p:cNvPr id="68" name="Rectangle 67"/>
            <p:cNvSpPr/>
            <p:nvPr/>
          </p:nvSpPr>
          <p:spPr>
            <a:xfrm>
              <a:off x="3544454" y="1967047"/>
              <a:ext cx="1940130" cy="239193"/>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开发架构</a:t>
              </a:r>
              <a:endParaRPr lang="en-GB" sz="1200" dirty="0">
                <a:solidFill>
                  <a:schemeClr val="tx2"/>
                </a:solidFill>
                <a:latin typeface="SimSun" panose="02010600030101010101" pitchFamily="2" charset="-122"/>
                <a:ea typeface="SimSun" panose="02010600030101010101" pitchFamily="2" charset="-122"/>
              </a:endParaRPr>
            </a:p>
          </p:txBody>
        </p:sp>
        <p:sp>
          <p:nvSpPr>
            <p:cNvPr id="69" name="Rectangle 68"/>
            <p:cNvSpPr/>
            <p:nvPr/>
          </p:nvSpPr>
          <p:spPr>
            <a:xfrm>
              <a:off x="5618807" y="1967047"/>
              <a:ext cx="1142992" cy="239193"/>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测试策略</a:t>
              </a:r>
              <a:endParaRPr lang="en-GB" sz="1200" dirty="0">
                <a:solidFill>
                  <a:schemeClr val="tx2"/>
                </a:solidFill>
                <a:latin typeface="SimSun" panose="02010600030101010101" pitchFamily="2" charset="-122"/>
                <a:ea typeface="SimSun" panose="02010600030101010101" pitchFamily="2" charset="-122"/>
              </a:endParaRPr>
            </a:p>
          </p:txBody>
        </p:sp>
        <p:sp>
          <p:nvSpPr>
            <p:cNvPr id="72" name="Rectangle 71"/>
            <p:cNvSpPr/>
            <p:nvPr/>
          </p:nvSpPr>
          <p:spPr>
            <a:xfrm>
              <a:off x="7588836" y="1967047"/>
              <a:ext cx="963842" cy="239193"/>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运营架构</a:t>
              </a:r>
              <a:endParaRPr lang="en-GB" sz="1200" dirty="0">
                <a:solidFill>
                  <a:schemeClr val="tx2"/>
                </a:solidFill>
                <a:latin typeface="SimSun" panose="02010600030101010101" pitchFamily="2" charset="-122"/>
                <a:ea typeface="SimSun" panose="02010600030101010101" pitchFamily="2" charset="-122"/>
              </a:endParaRPr>
            </a:p>
          </p:txBody>
        </p:sp>
      </p:grpSp>
      <p:grpSp>
        <p:nvGrpSpPr>
          <p:cNvPr id="132" name="Group 131"/>
          <p:cNvGrpSpPr/>
          <p:nvPr/>
        </p:nvGrpSpPr>
        <p:grpSpPr>
          <a:xfrm>
            <a:off x="460569" y="2388712"/>
            <a:ext cx="5056061" cy="239193"/>
            <a:chOff x="460570" y="2459860"/>
            <a:chExt cx="1249586" cy="244354"/>
          </a:xfrm>
        </p:grpSpPr>
        <p:cxnSp>
          <p:nvCxnSpPr>
            <p:cNvPr id="103" name="Straight Arrow Connector 102"/>
            <p:cNvCxnSpPr/>
            <p:nvPr/>
          </p:nvCxnSpPr>
          <p:spPr>
            <a:xfrm>
              <a:off x="469929" y="2479671"/>
              <a:ext cx="985067"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60570" y="2459860"/>
              <a:ext cx="1249586" cy="244354"/>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设计思维</a:t>
              </a:r>
              <a:endParaRPr lang="en-GB" sz="1200" dirty="0">
                <a:solidFill>
                  <a:schemeClr val="tx2"/>
                </a:solidFill>
                <a:latin typeface="SimSun" panose="02010600030101010101" pitchFamily="2" charset="-122"/>
                <a:ea typeface="SimSun" panose="02010600030101010101" pitchFamily="2" charset="-122"/>
              </a:endParaRPr>
            </a:p>
          </p:txBody>
        </p:sp>
      </p:grpSp>
      <p:grpSp>
        <p:nvGrpSpPr>
          <p:cNvPr id="131" name="Group 130"/>
          <p:cNvGrpSpPr/>
          <p:nvPr/>
        </p:nvGrpSpPr>
        <p:grpSpPr>
          <a:xfrm>
            <a:off x="4532972" y="2361294"/>
            <a:ext cx="4014889" cy="239193"/>
            <a:chOff x="2489835" y="2459860"/>
            <a:chExt cx="985067" cy="227201"/>
          </a:xfrm>
        </p:grpSpPr>
        <p:cxnSp>
          <p:nvCxnSpPr>
            <p:cNvPr id="105" name="Straight Arrow Connector 104"/>
            <p:cNvCxnSpPr/>
            <p:nvPr/>
          </p:nvCxnSpPr>
          <p:spPr>
            <a:xfrm>
              <a:off x="2489835" y="2479671"/>
              <a:ext cx="985067"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2489835" y="2459860"/>
              <a:ext cx="985067" cy="227201"/>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系统思维</a:t>
              </a:r>
              <a:endParaRPr lang="en-US" sz="1200" dirty="0">
                <a:solidFill>
                  <a:schemeClr val="tx2"/>
                </a:solidFill>
                <a:latin typeface="SimSun" panose="02010600030101010101" pitchFamily="2" charset="-122"/>
                <a:ea typeface="SimSun" panose="02010600030101010101" pitchFamily="2" charset="-122"/>
              </a:endParaRPr>
            </a:p>
          </p:txBody>
        </p:sp>
      </p:grpSp>
      <p:grpSp>
        <p:nvGrpSpPr>
          <p:cNvPr id="133" name="Group 132"/>
          <p:cNvGrpSpPr/>
          <p:nvPr/>
        </p:nvGrpSpPr>
        <p:grpSpPr>
          <a:xfrm>
            <a:off x="455613" y="4657228"/>
            <a:ext cx="8228843" cy="423859"/>
            <a:chOff x="455613" y="4923928"/>
            <a:chExt cx="8228843" cy="423859"/>
          </a:xfrm>
        </p:grpSpPr>
        <p:sp>
          <p:nvSpPr>
            <p:cNvPr id="24" name="Rectangle 23"/>
            <p:cNvSpPr/>
            <p:nvPr/>
          </p:nvSpPr>
          <p:spPr>
            <a:xfrm>
              <a:off x="455613" y="4923928"/>
              <a:ext cx="4114421" cy="423859"/>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精益生产</a:t>
              </a:r>
              <a:endParaRPr lang="en-GB" sz="1200" dirty="0" smtClean="0">
                <a:solidFill>
                  <a:schemeClr val="tx2"/>
                </a:solidFill>
                <a:latin typeface="SimSun" panose="02010600030101010101" pitchFamily="2" charset="-122"/>
                <a:ea typeface="SimSun" panose="02010600030101010101" pitchFamily="2" charset="-122"/>
              </a:endParaRPr>
            </a:p>
            <a:p>
              <a:r>
                <a:rPr lang="zh-CN" altLang="en-US" sz="1200" dirty="0" smtClean="0">
                  <a:solidFill>
                    <a:schemeClr val="tx2"/>
                  </a:solidFill>
                  <a:latin typeface="SimSun" panose="02010600030101010101" pitchFamily="2" charset="-122"/>
                  <a:ea typeface="SimSun" panose="02010600030101010101" pitchFamily="2" charset="-122"/>
                </a:rPr>
                <a:t>精益企业</a:t>
              </a:r>
              <a:endParaRPr lang="en-GB" sz="1200" dirty="0">
                <a:solidFill>
                  <a:schemeClr val="tx2"/>
                </a:solidFill>
                <a:latin typeface="SimSun" panose="02010600030101010101" pitchFamily="2" charset="-122"/>
                <a:ea typeface="SimSun" panose="02010600030101010101" pitchFamily="2" charset="-122"/>
              </a:endParaRPr>
            </a:p>
          </p:txBody>
        </p:sp>
        <p:cxnSp>
          <p:nvCxnSpPr>
            <p:cNvPr id="94" name="Straight Arrow Connector 93"/>
            <p:cNvCxnSpPr/>
            <p:nvPr/>
          </p:nvCxnSpPr>
          <p:spPr>
            <a:xfrm>
              <a:off x="455614" y="4943727"/>
              <a:ext cx="8228842"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grpSp>
      <p:grpSp>
        <p:nvGrpSpPr>
          <p:cNvPr id="135" name="Group 134"/>
          <p:cNvGrpSpPr/>
          <p:nvPr/>
        </p:nvGrpSpPr>
        <p:grpSpPr>
          <a:xfrm>
            <a:off x="1480318" y="2825264"/>
            <a:ext cx="5996893" cy="239192"/>
            <a:chOff x="1480319" y="2952673"/>
            <a:chExt cx="3564354" cy="168428"/>
          </a:xfrm>
        </p:grpSpPr>
        <p:cxnSp>
          <p:nvCxnSpPr>
            <p:cNvPr id="134" name="Straight Arrow Connector 133"/>
            <p:cNvCxnSpPr/>
            <p:nvPr/>
          </p:nvCxnSpPr>
          <p:spPr>
            <a:xfrm>
              <a:off x="3085554" y="2972484"/>
              <a:ext cx="1959119" cy="0"/>
            </a:xfrm>
            <a:prstGeom prst="straightConnector1">
              <a:avLst/>
            </a:prstGeom>
            <a:ln w="28575" cap="rnd">
              <a:solidFill>
                <a:srgbClr val="CBCCCC"/>
              </a:solidFill>
              <a:prstDash val="sysDot"/>
              <a:tailEnd type="arrow" w="sm"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1480319" y="2952673"/>
              <a:ext cx="1970550" cy="168428"/>
            </a:xfrm>
            <a:prstGeom prst="rect">
              <a:avLst/>
            </a:prstGeom>
          </p:spPr>
          <p:txBody>
            <a:bodyPr wrap="square" lIns="0" tIns="54000" rIns="0" bIns="0">
              <a:spAutoFit/>
            </a:bodyPr>
            <a:lstStyle/>
            <a:p>
              <a:r>
                <a:rPr lang="zh-CN" altLang="en-US" sz="1200" dirty="0" smtClean="0">
                  <a:solidFill>
                    <a:schemeClr val="tx2"/>
                  </a:solidFill>
                  <a:latin typeface="SimSun" panose="02010600030101010101" pitchFamily="2" charset="-122"/>
                  <a:ea typeface="SimSun" panose="02010600030101010101" pitchFamily="2" charset="-122"/>
                </a:rPr>
                <a:t>敏捷开发</a:t>
              </a:r>
              <a:endParaRPr lang="en-GB" sz="1200" dirty="0">
                <a:solidFill>
                  <a:schemeClr val="tx2"/>
                </a:solidFill>
                <a:latin typeface="SimSun" panose="02010600030101010101" pitchFamily="2" charset="-122"/>
                <a:ea typeface="SimSun" panose="02010600030101010101" pitchFamily="2" charset="-122"/>
              </a:endParaRPr>
            </a:p>
          </p:txBody>
        </p:sp>
        <p:cxnSp>
          <p:nvCxnSpPr>
            <p:cNvPr id="102" name="Straight Arrow Connector 101"/>
            <p:cNvCxnSpPr/>
            <p:nvPr/>
          </p:nvCxnSpPr>
          <p:spPr>
            <a:xfrm>
              <a:off x="1494324" y="2972484"/>
              <a:ext cx="1959119" cy="0"/>
            </a:xfrm>
            <a:prstGeom prst="straightConnector1">
              <a:avLst/>
            </a:prstGeom>
            <a:ln w="28575" cap="rnd">
              <a:gradFill>
                <a:gsLst>
                  <a:gs pos="0">
                    <a:schemeClr val="accent5"/>
                  </a:gs>
                  <a:gs pos="100000">
                    <a:schemeClr val="accent6">
                      <a:lumMod val="75000"/>
                    </a:schemeClr>
                  </a:gs>
                </a:gsLst>
                <a:lin ang="5400000" scaled="0"/>
              </a:gradFill>
              <a:prstDash val="solid"/>
              <a:tailEnd type="arrow" w="sm" len="med"/>
            </a:ln>
          </p:spPr>
          <p:style>
            <a:lnRef idx="1">
              <a:schemeClr val="accent1"/>
            </a:lnRef>
            <a:fillRef idx="0">
              <a:schemeClr val="accent1"/>
            </a:fillRef>
            <a:effectRef idx="0">
              <a:schemeClr val="accent1"/>
            </a:effectRef>
            <a:fontRef idx="minor">
              <a:schemeClr val="tx1"/>
            </a:fontRef>
          </p:style>
        </p:cxnSp>
      </p:grpSp>
      <p:sp>
        <p:nvSpPr>
          <p:cNvPr id="2" name="Footer Placeholder 1"/>
          <p:cNvSpPr>
            <a:spLocks noGrp="1"/>
          </p:cNvSpPr>
          <p:nvPr>
            <p:ph type="ftr" sz="quarter" idx="3"/>
          </p:nvPr>
        </p:nvSpPr>
        <p:spPr/>
        <p:txBody>
          <a:bodyPr/>
          <a:lstStyle/>
          <a:p>
            <a:r>
              <a:rPr lang="en-US" dirty="0" smtClean="0"/>
              <a:t>Copyright © 201</a:t>
            </a:r>
            <a:r>
              <a:rPr lang="en-US" altLang="zh-CN" dirty="0" smtClean="0"/>
              <a:t>6</a:t>
            </a:r>
            <a:r>
              <a:rPr lang="en-US" dirty="0" smtClean="0"/>
              <a:t> Accenture  All rights reserved.</a:t>
            </a:r>
            <a:endParaRPr lang="en-US" dirty="0"/>
          </a:p>
        </p:txBody>
      </p:sp>
      <p:cxnSp>
        <p:nvCxnSpPr>
          <p:cNvPr id="70" name="Straight Arrow Connector 69"/>
          <p:cNvCxnSpPr/>
          <p:nvPr/>
        </p:nvCxnSpPr>
        <p:spPr>
          <a:xfrm>
            <a:off x="1480318" y="4202512"/>
            <a:ext cx="2064136" cy="0"/>
          </a:xfrm>
          <a:prstGeom prst="straightConnector1">
            <a:avLst/>
          </a:prstGeom>
          <a:ln w="28575" cap="rnd">
            <a:solidFill>
              <a:srgbClr val="CBCCCC"/>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078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accel="40000" decel="42000" fill="hold" nodeType="clickEffect">
                                  <p:stCondLst>
                                    <p:cond delay="0"/>
                                  </p:stCondLst>
                                  <p:childTnLst>
                                    <p:set>
                                      <p:cBhvr>
                                        <p:cTn id="6" dur="1" fill="hold">
                                          <p:stCondLst>
                                            <p:cond delay="0"/>
                                          </p:stCondLst>
                                        </p:cTn>
                                        <p:tgtEl>
                                          <p:spTgt spid="135"/>
                                        </p:tgtEl>
                                        <p:attrNameLst>
                                          <p:attrName>style.visibility</p:attrName>
                                        </p:attrNameLst>
                                      </p:cBhvr>
                                      <p:to>
                                        <p:strVal val="visible"/>
                                      </p:to>
                                    </p:set>
                                    <p:anim calcmode="lin" valueType="num">
                                      <p:cBhvr additive="base">
                                        <p:cTn id="7" dur="500" fill="hold"/>
                                        <p:tgtEl>
                                          <p:spTgt spid="135"/>
                                        </p:tgtEl>
                                        <p:attrNameLst>
                                          <p:attrName>ppt_x</p:attrName>
                                        </p:attrNameLst>
                                      </p:cBhvr>
                                      <p:tavLst>
                                        <p:tav tm="0">
                                          <p:val>
                                            <p:strVal val="0-#ppt_w/2"/>
                                          </p:val>
                                        </p:tav>
                                        <p:tav tm="100000">
                                          <p:val>
                                            <p:strVal val="#ppt_x"/>
                                          </p:val>
                                        </p:tav>
                                      </p:tavLst>
                                    </p:anim>
                                    <p:anim calcmode="lin" valueType="num">
                                      <p:cBhvr additive="base">
                                        <p:cTn id="8" dur="500" fill="hold"/>
                                        <p:tgtEl>
                                          <p:spTgt spid="13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accel="40000" decel="42000" fill="hold" nodeType="clickEffect">
                                  <p:stCondLst>
                                    <p:cond delay="0"/>
                                  </p:stCondLst>
                                  <p:childTnLst>
                                    <p:set>
                                      <p:cBhvr>
                                        <p:cTn id="12" dur="1" fill="hold">
                                          <p:stCondLst>
                                            <p:cond delay="0"/>
                                          </p:stCondLst>
                                        </p:cTn>
                                        <p:tgtEl>
                                          <p:spTgt spid="128"/>
                                        </p:tgtEl>
                                        <p:attrNameLst>
                                          <p:attrName>style.visibility</p:attrName>
                                        </p:attrNameLst>
                                      </p:cBhvr>
                                      <p:to>
                                        <p:strVal val="visible"/>
                                      </p:to>
                                    </p:set>
                                    <p:anim calcmode="lin" valueType="num">
                                      <p:cBhvr additive="base">
                                        <p:cTn id="13" dur="500" fill="hold"/>
                                        <p:tgtEl>
                                          <p:spTgt spid="128"/>
                                        </p:tgtEl>
                                        <p:attrNameLst>
                                          <p:attrName>ppt_x</p:attrName>
                                        </p:attrNameLst>
                                      </p:cBhvr>
                                      <p:tavLst>
                                        <p:tav tm="0">
                                          <p:val>
                                            <p:strVal val="0-#ppt_w/2"/>
                                          </p:val>
                                        </p:tav>
                                        <p:tav tm="100000">
                                          <p:val>
                                            <p:strVal val="#ppt_x"/>
                                          </p:val>
                                        </p:tav>
                                      </p:tavLst>
                                    </p:anim>
                                    <p:anim calcmode="lin" valueType="num">
                                      <p:cBhvr additive="base">
                                        <p:cTn id="14" dur="500" fill="hold"/>
                                        <p:tgtEl>
                                          <p:spTgt spid="12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accel="40000" decel="42000" fill="hold" nodeType="clickEffect">
                                  <p:stCondLst>
                                    <p:cond delay="0"/>
                                  </p:stCondLst>
                                  <p:childTnLst>
                                    <p:set>
                                      <p:cBhvr>
                                        <p:cTn id="18" dur="1" fill="hold">
                                          <p:stCondLst>
                                            <p:cond delay="0"/>
                                          </p:stCondLst>
                                        </p:cTn>
                                        <p:tgtEl>
                                          <p:spTgt spid="129"/>
                                        </p:tgtEl>
                                        <p:attrNameLst>
                                          <p:attrName>style.visibility</p:attrName>
                                        </p:attrNameLst>
                                      </p:cBhvr>
                                      <p:to>
                                        <p:strVal val="visible"/>
                                      </p:to>
                                    </p:set>
                                    <p:anim calcmode="lin" valueType="num">
                                      <p:cBhvr additive="base">
                                        <p:cTn id="19" dur="500" fill="hold"/>
                                        <p:tgtEl>
                                          <p:spTgt spid="129"/>
                                        </p:tgtEl>
                                        <p:attrNameLst>
                                          <p:attrName>ppt_x</p:attrName>
                                        </p:attrNameLst>
                                      </p:cBhvr>
                                      <p:tavLst>
                                        <p:tav tm="0">
                                          <p:val>
                                            <p:strVal val="0-#ppt_w/2"/>
                                          </p:val>
                                        </p:tav>
                                        <p:tav tm="100000">
                                          <p:val>
                                            <p:strVal val="#ppt_x"/>
                                          </p:val>
                                        </p:tav>
                                      </p:tavLst>
                                    </p:anim>
                                    <p:anim calcmode="lin" valueType="num">
                                      <p:cBhvr additive="base">
                                        <p:cTn id="20" dur="500" fill="hold"/>
                                        <p:tgtEl>
                                          <p:spTgt spid="12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accel="40000" decel="42000" fill="hold" nodeType="clickEffect">
                                  <p:stCondLst>
                                    <p:cond delay="0"/>
                                  </p:stCondLst>
                                  <p:childTnLst>
                                    <p:set>
                                      <p:cBhvr>
                                        <p:cTn id="24" dur="1" fill="hold">
                                          <p:stCondLst>
                                            <p:cond delay="0"/>
                                          </p:stCondLst>
                                        </p:cTn>
                                        <p:tgtEl>
                                          <p:spTgt spid="130"/>
                                        </p:tgtEl>
                                        <p:attrNameLst>
                                          <p:attrName>style.visibility</p:attrName>
                                        </p:attrNameLst>
                                      </p:cBhvr>
                                      <p:to>
                                        <p:strVal val="visible"/>
                                      </p:to>
                                    </p:set>
                                    <p:anim calcmode="lin" valueType="num">
                                      <p:cBhvr additive="base">
                                        <p:cTn id="25" dur="500" fill="hold"/>
                                        <p:tgtEl>
                                          <p:spTgt spid="130"/>
                                        </p:tgtEl>
                                        <p:attrNameLst>
                                          <p:attrName>ppt_x</p:attrName>
                                        </p:attrNameLst>
                                      </p:cBhvr>
                                      <p:tavLst>
                                        <p:tav tm="0">
                                          <p:val>
                                            <p:strVal val="0-#ppt_w/2"/>
                                          </p:val>
                                        </p:tav>
                                        <p:tav tm="100000">
                                          <p:val>
                                            <p:strVal val="#ppt_x"/>
                                          </p:val>
                                        </p:tav>
                                      </p:tavLst>
                                    </p:anim>
                                    <p:anim calcmode="lin" valueType="num">
                                      <p:cBhvr additive="base">
                                        <p:cTn id="26" dur="500" fill="hold"/>
                                        <p:tgtEl>
                                          <p:spTgt spid="13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accel="40000" decel="42000" fill="hold" nodeType="clickEffect">
                                  <p:stCondLst>
                                    <p:cond delay="0"/>
                                  </p:stCondLst>
                                  <p:childTnLst>
                                    <p:set>
                                      <p:cBhvr>
                                        <p:cTn id="30" dur="1" fill="hold">
                                          <p:stCondLst>
                                            <p:cond delay="0"/>
                                          </p:stCondLst>
                                        </p:cTn>
                                        <p:tgtEl>
                                          <p:spTgt spid="133"/>
                                        </p:tgtEl>
                                        <p:attrNameLst>
                                          <p:attrName>style.visibility</p:attrName>
                                        </p:attrNameLst>
                                      </p:cBhvr>
                                      <p:to>
                                        <p:strVal val="visible"/>
                                      </p:to>
                                    </p:set>
                                    <p:anim calcmode="lin" valueType="num">
                                      <p:cBhvr additive="base">
                                        <p:cTn id="31" dur="500" fill="hold"/>
                                        <p:tgtEl>
                                          <p:spTgt spid="133"/>
                                        </p:tgtEl>
                                        <p:attrNameLst>
                                          <p:attrName>ppt_x</p:attrName>
                                        </p:attrNameLst>
                                      </p:cBhvr>
                                      <p:tavLst>
                                        <p:tav tm="0">
                                          <p:val>
                                            <p:strVal val="0-#ppt_w/2"/>
                                          </p:val>
                                        </p:tav>
                                        <p:tav tm="100000">
                                          <p:val>
                                            <p:strVal val="#ppt_x"/>
                                          </p:val>
                                        </p:tav>
                                      </p:tavLst>
                                    </p:anim>
                                    <p:anim calcmode="lin" valueType="num">
                                      <p:cBhvr additive="base">
                                        <p:cTn id="32" dur="500" fill="hold"/>
                                        <p:tgtEl>
                                          <p:spTgt spid="1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5613" y="1102143"/>
            <a:ext cx="8232775" cy="396000"/>
          </a:xfrm>
        </p:spPr>
        <p:txBody>
          <a:bodyPr/>
          <a:lstStyle/>
          <a:p>
            <a:r>
              <a:rPr lang="zh-CN" altLang="en-US" dirty="0" smtClean="0">
                <a:latin typeface="SimSun" panose="02010600030101010101" pitchFamily="2" charset="-122"/>
                <a:ea typeface="SimSun" panose="02010600030101010101" pitchFamily="2" charset="-122"/>
              </a:rPr>
              <a:t>整个流程的特点</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a:xfrm>
            <a:off x="496800" y="1554969"/>
            <a:ext cx="8647200" cy="4826359"/>
          </a:xfrm>
        </p:spPr>
        <p:txBody>
          <a:bodyPr/>
          <a:lstStyle/>
          <a:p>
            <a:r>
              <a:rPr lang="zh-CN" altLang="en-US" dirty="0" smtClean="0">
                <a:latin typeface="SimSun" panose="02010600030101010101" pitchFamily="2" charset="-122"/>
                <a:ea typeface="SimSun" panose="02010600030101010101" pitchFamily="2" charset="-122"/>
              </a:rPr>
              <a:t>在代码提交到</a:t>
            </a:r>
            <a:r>
              <a:rPr lang="en-GB" altLang="ja-JP" dirty="0" smtClean="0">
                <a:latin typeface="SimSun" panose="02010600030101010101" pitchFamily="2" charset="-122"/>
                <a:ea typeface="SimSun" panose="02010600030101010101" pitchFamily="2" charset="-122"/>
              </a:rPr>
              <a:t>SCM</a:t>
            </a:r>
            <a:r>
              <a:rPr lang="zh-CN" altLang="en-US" dirty="0" smtClean="0">
                <a:latin typeface="SimSun" panose="02010600030101010101" pitchFamily="2" charset="-122"/>
                <a:ea typeface="SimSun" panose="02010600030101010101" pitchFamily="2" charset="-122"/>
              </a:rPr>
              <a:t>后即时生效</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如果质量不够好，我们希望尽快失败（以一种有意义的方式）</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静态</a:t>
            </a:r>
            <a:r>
              <a:rPr lang="en-GB" dirty="0" smtClean="0">
                <a:latin typeface="SimSun" panose="02010600030101010101" pitchFamily="2" charset="-122"/>
                <a:ea typeface="SimSun" panose="02010600030101010101" pitchFamily="2" charset="-122"/>
              </a:rPr>
              <a:t>: </a:t>
            </a:r>
            <a:r>
              <a:rPr lang="zh-CN" altLang="en-US" dirty="0" smtClean="0">
                <a:latin typeface="SimSun" panose="02010600030101010101" pitchFamily="2" charset="-122"/>
                <a:ea typeface="SimSun" panose="02010600030101010101" pitchFamily="2" charset="-122"/>
              </a:rPr>
              <a:t>在发布之前</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动态</a:t>
            </a:r>
            <a:r>
              <a:rPr lang="en-GB" dirty="0" smtClean="0">
                <a:latin typeface="SimSun" panose="02010600030101010101" pitchFamily="2" charset="-122"/>
                <a:ea typeface="SimSun" panose="02010600030101010101" pitchFamily="2" charset="-122"/>
              </a:rPr>
              <a:t>: </a:t>
            </a:r>
            <a:r>
              <a:rPr lang="zh-CN" altLang="en-US" dirty="0" smtClean="0">
                <a:latin typeface="SimSun" panose="02010600030101010101" pitchFamily="2" charset="-122"/>
                <a:ea typeface="SimSun" panose="02010600030101010101" pitchFamily="2" charset="-122"/>
              </a:rPr>
              <a:t>之后</a:t>
            </a:r>
            <a:endParaRPr lang="en-GB" dirty="0" smtClean="0">
              <a:latin typeface="SimSun" panose="02010600030101010101" pitchFamily="2" charset="-122"/>
              <a:ea typeface="SimSun" panose="02010600030101010101" pitchFamily="2" charset="-122"/>
            </a:endParaRPr>
          </a:p>
          <a:p>
            <a:pPr marL="0" indent="0">
              <a:buNone/>
            </a:pPr>
            <a:endParaRPr lang="en-GB" dirty="0" smtClean="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a:latin typeface="SimSun" panose="02010600030101010101" pitchFamily="2" charset="-122"/>
                <a:ea typeface="SimSun" panose="02010600030101010101" pitchFamily="2" charset="-122"/>
              </a:rPr>
              <a:t>在</a:t>
            </a:r>
            <a:r>
              <a:rPr lang="en-US" altLang="zh-CN" dirty="0">
                <a:latin typeface="SimSun" panose="02010600030101010101" pitchFamily="2" charset="-122"/>
                <a:ea typeface="SimSun" panose="02010600030101010101" pitchFamily="2" charset="-122"/>
              </a:rPr>
              <a:t>CI</a:t>
            </a:r>
            <a:r>
              <a:rPr lang="zh-CN" altLang="en-US" dirty="0">
                <a:latin typeface="SimSun" panose="02010600030101010101" pitchFamily="2" charset="-122"/>
                <a:ea typeface="SimSun" panose="02010600030101010101" pitchFamily="2" charset="-122"/>
              </a:rPr>
              <a:t>流</a:t>
            </a:r>
            <a:r>
              <a:rPr lang="zh-CN" altLang="en-US" dirty="0" smtClean="0">
                <a:latin typeface="SimSun" panose="02010600030101010101" pitchFamily="2" charset="-122"/>
                <a:ea typeface="SimSun" panose="02010600030101010101" pitchFamily="2" charset="-122"/>
              </a:rPr>
              <a:t>程中质量检查关的应用</a:t>
            </a:r>
            <a:endParaRPr lang="en-GB" dirty="0">
              <a:latin typeface="SimSun" panose="02010600030101010101" pitchFamily="2" charset="-122"/>
              <a:ea typeface="SimSun" panose="02010600030101010101" pitchFamily="2" charset="-122"/>
            </a:endParaRPr>
          </a:p>
        </p:txBody>
      </p:sp>
      <p:grpSp>
        <p:nvGrpSpPr>
          <p:cNvPr id="6" name="Group 5"/>
          <p:cNvGrpSpPr/>
          <p:nvPr/>
        </p:nvGrpSpPr>
        <p:grpSpPr>
          <a:xfrm>
            <a:off x="1037684" y="3723639"/>
            <a:ext cx="7926804" cy="2467787"/>
            <a:chOff x="1398561" y="148993"/>
            <a:chExt cx="10427599" cy="2467787"/>
          </a:xfrm>
        </p:grpSpPr>
        <p:grpSp>
          <p:nvGrpSpPr>
            <p:cNvPr id="7" name="Group 6"/>
            <p:cNvGrpSpPr/>
            <p:nvPr/>
          </p:nvGrpSpPr>
          <p:grpSpPr>
            <a:xfrm>
              <a:off x="1399632" y="148993"/>
              <a:ext cx="1035729" cy="509988"/>
              <a:chOff x="4299869" y="1700808"/>
              <a:chExt cx="1280242" cy="580256"/>
            </a:xfrm>
          </p:grpSpPr>
          <p:grpSp>
            <p:nvGrpSpPr>
              <p:cNvPr id="86" name="Group 85"/>
              <p:cNvGrpSpPr/>
              <p:nvPr/>
            </p:nvGrpSpPr>
            <p:grpSpPr>
              <a:xfrm>
                <a:off x="4299869" y="1700808"/>
                <a:ext cx="1280242" cy="580256"/>
                <a:chOff x="3923928" y="1700808"/>
                <a:chExt cx="1656184" cy="749967"/>
              </a:xfrm>
            </p:grpSpPr>
            <p:sp>
              <p:nvSpPr>
                <p:cNvPr id="89" name="Rounded Rectangle 88"/>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90" name="Rounded Rectangle 8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Compile &amp; Package</a:t>
                  </a:r>
                  <a:endParaRPr lang="en-GB" sz="700" dirty="0">
                    <a:solidFill>
                      <a:schemeClr val="tx1"/>
                    </a:solidFill>
                  </a:endParaRPr>
                </a:p>
              </p:txBody>
            </p:sp>
          </p:grpSp>
          <p:pic>
            <p:nvPicPr>
              <p:cNvPr id="8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58396"/>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58396"/>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1399632" y="799425"/>
              <a:ext cx="1036800" cy="511200"/>
              <a:chOff x="4299869" y="1700808"/>
              <a:chExt cx="1280242" cy="580256"/>
            </a:xfrm>
          </p:grpSpPr>
          <p:grpSp>
            <p:nvGrpSpPr>
              <p:cNvPr id="81" name="Group 80"/>
              <p:cNvGrpSpPr/>
              <p:nvPr/>
            </p:nvGrpSpPr>
            <p:grpSpPr>
              <a:xfrm>
                <a:off x="4299869" y="1700808"/>
                <a:ext cx="1280242" cy="580256"/>
                <a:chOff x="3923928" y="1700808"/>
                <a:chExt cx="1656184" cy="749967"/>
              </a:xfrm>
            </p:grpSpPr>
            <p:sp>
              <p:nvSpPr>
                <p:cNvPr id="84" name="Rounded Rectangle 83"/>
                <p:cNvSpPr/>
                <p:nvPr/>
              </p:nvSpPr>
              <p:spPr>
                <a:xfrm>
                  <a:off x="3923928" y="1700808"/>
                  <a:ext cx="1656184" cy="749967"/>
                </a:xfrm>
                <a:prstGeom prst="roundRect">
                  <a:avLst>
                    <a:gd name="adj" fmla="val 5869"/>
                  </a:avLst>
                </a:prstGeom>
                <a:solidFill>
                  <a:srgbClr val="C0000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85" name="Rounded Rectangle 8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Sonar Code Analysis</a:t>
                  </a:r>
                  <a:endParaRPr lang="en-GB" sz="700" dirty="0">
                    <a:solidFill>
                      <a:schemeClr val="tx1"/>
                    </a:solidFill>
                  </a:endParaRPr>
                </a:p>
              </p:txBody>
            </p:sp>
          </p:grpSp>
          <p:pic>
            <p:nvPicPr>
              <p:cNvPr id="8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1398561" y="1451069"/>
              <a:ext cx="1036800" cy="511200"/>
              <a:chOff x="4299869" y="1700808"/>
              <a:chExt cx="1280242" cy="580256"/>
            </a:xfrm>
          </p:grpSpPr>
          <p:grpSp>
            <p:nvGrpSpPr>
              <p:cNvPr id="76" name="Group 75"/>
              <p:cNvGrpSpPr/>
              <p:nvPr/>
            </p:nvGrpSpPr>
            <p:grpSpPr>
              <a:xfrm>
                <a:off x="4299869" y="1700808"/>
                <a:ext cx="1280242" cy="580256"/>
                <a:chOff x="3923928" y="1700808"/>
                <a:chExt cx="1656184" cy="749967"/>
              </a:xfrm>
            </p:grpSpPr>
            <p:sp>
              <p:nvSpPr>
                <p:cNvPr id="79" name="Rounded Rectangle 78"/>
                <p:cNvSpPr/>
                <p:nvPr/>
              </p:nvSpPr>
              <p:spPr>
                <a:xfrm>
                  <a:off x="3923928" y="1700808"/>
                  <a:ext cx="1656184" cy="749967"/>
                </a:xfrm>
                <a:prstGeom prst="roundRect">
                  <a:avLst>
                    <a:gd name="adj" fmla="val 5869"/>
                  </a:avLst>
                </a:prstGeom>
                <a:solidFill>
                  <a:srgbClr val="33CC33"/>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80" name="Rounded Rectangle 7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Run Unit Tests</a:t>
                  </a:r>
                  <a:endParaRPr lang="en-GB" sz="700" dirty="0">
                    <a:solidFill>
                      <a:schemeClr val="tx1"/>
                    </a:solidFill>
                  </a:endParaRPr>
                </a:p>
              </p:txBody>
            </p:sp>
          </p:grpSp>
          <p:pic>
            <p:nvPicPr>
              <p:cNvPr id="7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2576432" y="802997"/>
              <a:ext cx="1036800" cy="511200"/>
              <a:chOff x="4299869" y="1700808"/>
              <a:chExt cx="1280242" cy="580256"/>
            </a:xfrm>
          </p:grpSpPr>
          <p:grpSp>
            <p:nvGrpSpPr>
              <p:cNvPr id="71" name="Group 70"/>
              <p:cNvGrpSpPr/>
              <p:nvPr/>
            </p:nvGrpSpPr>
            <p:grpSpPr>
              <a:xfrm>
                <a:off x="4299869" y="1700808"/>
                <a:ext cx="1280242" cy="580256"/>
                <a:chOff x="3923928" y="1700808"/>
                <a:chExt cx="1656184" cy="749967"/>
              </a:xfrm>
            </p:grpSpPr>
            <p:sp>
              <p:nvSpPr>
                <p:cNvPr id="74" name="Rounded Rectangle 73"/>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75" name="Rounded Rectangle 7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Create ST env</a:t>
                  </a:r>
                  <a:endParaRPr lang="en-GB" sz="700" dirty="0">
                    <a:solidFill>
                      <a:schemeClr val="tx1"/>
                    </a:solidFill>
                  </a:endParaRPr>
                </a:p>
              </p:txBody>
            </p:sp>
          </p:grpSp>
          <p:pic>
            <p:nvPicPr>
              <p:cNvPr id="7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3753232" y="802997"/>
              <a:ext cx="1036800" cy="511200"/>
              <a:chOff x="4299869" y="1700808"/>
              <a:chExt cx="1280242" cy="580256"/>
            </a:xfrm>
          </p:grpSpPr>
          <p:grpSp>
            <p:nvGrpSpPr>
              <p:cNvPr id="66" name="Group 65"/>
              <p:cNvGrpSpPr/>
              <p:nvPr/>
            </p:nvGrpSpPr>
            <p:grpSpPr>
              <a:xfrm>
                <a:off x="4299869" y="1700808"/>
                <a:ext cx="1280242" cy="580256"/>
                <a:chOff x="3923928" y="1700808"/>
                <a:chExt cx="1656184" cy="749967"/>
              </a:xfrm>
            </p:grpSpPr>
            <p:sp>
              <p:nvSpPr>
                <p:cNvPr id="69" name="Rounded Rectangle 68"/>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70" name="Rounded Rectangle 6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Deploy Code</a:t>
                  </a:r>
                  <a:endParaRPr lang="en-GB" sz="700" dirty="0">
                    <a:solidFill>
                      <a:schemeClr val="tx1"/>
                    </a:solidFill>
                  </a:endParaRPr>
                </a:p>
              </p:txBody>
            </p:sp>
          </p:grpSp>
          <p:pic>
            <p:nvPicPr>
              <p:cNvPr id="6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4930032" y="802997"/>
              <a:ext cx="1036800" cy="511200"/>
              <a:chOff x="4299869" y="1700808"/>
              <a:chExt cx="1280242" cy="580256"/>
            </a:xfrm>
          </p:grpSpPr>
          <p:grpSp>
            <p:nvGrpSpPr>
              <p:cNvPr id="61" name="Group 60"/>
              <p:cNvGrpSpPr/>
              <p:nvPr/>
            </p:nvGrpSpPr>
            <p:grpSpPr>
              <a:xfrm>
                <a:off x="4299869" y="1700808"/>
                <a:ext cx="1280242" cy="580256"/>
                <a:chOff x="3923928" y="1700808"/>
                <a:chExt cx="1656184" cy="749967"/>
              </a:xfrm>
            </p:grpSpPr>
            <p:sp>
              <p:nvSpPr>
                <p:cNvPr id="64" name="Rounded Rectangle 63"/>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65" name="Rounded Rectangle 6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Load Test Data</a:t>
                  </a:r>
                  <a:endParaRPr lang="en-GB" sz="700" dirty="0">
                    <a:solidFill>
                      <a:schemeClr val="tx1"/>
                    </a:solidFill>
                  </a:endParaRPr>
                </a:p>
              </p:txBody>
            </p:sp>
          </p:grpSp>
          <p:pic>
            <p:nvPicPr>
              <p:cNvPr id="6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6106832" y="802997"/>
              <a:ext cx="1036800" cy="511200"/>
              <a:chOff x="4299869" y="1700808"/>
              <a:chExt cx="1280242" cy="580256"/>
            </a:xfrm>
          </p:grpSpPr>
          <p:grpSp>
            <p:nvGrpSpPr>
              <p:cNvPr id="56" name="Group 55"/>
              <p:cNvGrpSpPr/>
              <p:nvPr/>
            </p:nvGrpSpPr>
            <p:grpSpPr>
              <a:xfrm>
                <a:off x="4299869" y="1700808"/>
                <a:ext cx="1280242" cy="580256"/>
                <a:chOff x="3923928" y="1700808"/>
                <a:chExt cx="1656184" cy="749967"/>
              </a:xfrm>
            </p:grpSpPr>
            <p:sp>
              <p:nvSpPr>
                <p:cNvPr id="59" name="Rounded Rectangle 58"/>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60" name="Rounded Rectangle 5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Run Test Harness</a:t>
                  </a:r>
                  <a:endParaRPr lang="en-GB" sz="700" dirty="0">
                    <a:solidFill>
                      <a:schemeClr val="tx1"/>
                    </a:solidFill>
                  </a:endParaRPr>
                </a:p>
              </p:txBody>
            </p:sp>
          </p:grpSp>
          <p:pic>
            <p:nvPicPr>
              <p:cNvPr id="5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7283632" y="802997"/>
              <a:ext cx="1036800" cy="511200"/>
              <a:chOff x="4299869" y="1700808"/>
              <a:chExt cx="1280242" cy="580256"/>
            </a:xfrm>
          </p:grpSpPr>
          <p:grpSp>
            <p:nvGrpSpPr>
              <p:cNvPr id="51" name="Group 50"/>
              <p:cNvGrpSpPr/>
              <p:nvPr/>
            </p:nvGrpSpPr>
            <p:grpSpPr>
              <a:xfrm>
                <a:off x="4299869" y="1700808"/>
                <a:ext cx="1280242" cy="580256"/>
                <a:chOff x="3923928" y="1700808"/>
                <a:chExt cx="1656184" cy="749967"/>
              </a:xfrm>
            </p:grpSpPr>
            <p:sp>
              <p:nvSpPr>
                <p:cNvPr id="54" name="Rounded Rectangle 53"/>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55" name="Rounded Rectangle 5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Create clustered env</a:t>
                  </a:r>
                  <a:endParaRPr lang="en-GB" sz="700" dirty="0">
                    <a:solidFill>
                      <a:schemeClr val="tx1"/>
                    </a:solidFill>
                  </a:endParaRPr>
                </a:p>
              </p:txBody>
            </p:sp>
          </p:grpSp>
          <p:pic>
            <p:nvPicPr>
              <p:cNvPr id="5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7304288" y="1451093"/>
              <a:ext cx="1036800" cy="511200"/>
              <a:chOff x="4299869" y="1700808"/>
              <a:chExt cx="1280242" cy="580256"/>
            </a:xfrm>
          </p:grpSpPr>
          <p:grpSp>
            <p:nvGrpSpPr>
              <p:cNvPr id="46" name="Group 45"/>
              <p:cNvGrpSpPr/>
              <p:nvPr/>
            </p:nvGrpSpPr>
            <p:grpSpPr>
              <a:xfrm>
                <a:off x="4299869" y="1700808"/>
                <a:ext cx="1280242" cy="580256"/>
                <a:chOff x="3923928" y="1700808"/>
                <a:chExt cx="1656184" cy="749967"/>
              </a:xfrm>
            </p:grpSpPr>
            <p:sp>
              <p:nvSpPr>
                <p:cNvPr id="49" name="Rounded Rectangle 48"/>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50" name="Rounded Rectangle 4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Tear down ST env</a:t>
                  </a:r>
                  <a:endParaRPr lang="en-GB" sz="700" dirty="0">
                    <a:solidFill>
                      <a:schemeClr val="tx1"/>
                    </a:solidFill>
                  </a:endParaRPr>
                </a:p>
              </p:txBody>
            </p:sp>
          </p:grpSp>
          <p:pic>
            <p:nvPicPr>
              <p:cNvPr id="4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8460432" y="802997"/>
              <a:ext cx="1036800" cy="511200"/>
              <a:chOff x="4299869" y="1700808"/>
              <a:chExt cx="1280242" cy="580256"/>
            </a:xfrm>
          </p:grpSpPr>
          <p:grpSp>
            <p:nvGrpSpPr>
              <p:cNvPr id="41" name="Group 40"/>
              <p:cNvGrpSpPr/>
              <p:nvPr/>
            </p:nvGrpSpPr>
            <p:grpSpPr>
              <a:xfrm>
                <a:off x="4299869" y="1700808"/>
                <a:ext cx="1280242" cy="580256"/>
                <a:chOff x="3923928" y="1700808"/>
                <a:chExt cx="1656184" cy="749967"/>
              </a:xfrm>
            </p:grpSpPr>
            <p:sp>
              <p:nvSpPr>
                <p:cNvPr id="44" name="Rounded Rectangle 43"/>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45" name="Rounded Rectangle 4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Deploy Code</a:t>
                  </a:r>
                  <a:endParaRPr lang="en-GB" sz="700" dirty="0">
                    <a:solidFill>
                      <a:schemeClr val="tx1"/>
                    </a:solidFill>
                  </a:endParaRPr>
                </a:p>
              </p:txBody>
            </p:sp>
          </p:grpSp>
          <p:pic>
            <p:nvPicPr>
              <p:cNvPr id="4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9637232" y="802997"/>
              <a:ext cx="1036800" cy="511200"/>
              <a:chOff x="4299869" y="1700808"/>
              <a:chExt cx="1280242" cy="580256"/>
            </a:xfrm>
          </p:grpSpPr>
          <p:grpSp>
            <p:nvGrpSpPr>
              <p:cNvPr id="36" name="Group 35"/>
              <p:cNvGrpSpPr/>
              <p:nvPr/>
            </p:nvGrpSpPr>
            <p:grpSpPr>
              <a:xfrm>
                <a:off x="4299869" y="1700808"/>
                <a:ext cx="1280242" cy="580256"/>
                <a:chOff x="3923928" y="1700808"/>
                <a:chExt cx="1656184" cy="749967"/>
              </a:xfrm>
            </p:grpSpPr>
            <p:sp>
              <p:nvSpPr>
                <p:cNvPr id="39" name="Rounded Rectangle 38"/>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40" name="Rounded Rectangle 3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Run Perf Test</a:t>
                  </a:r>
                  <a:endParaRPr lang="en-GB" sz="700" dirty="0">
                    <a:solidFill>
                      <a:schemeClr val="tx1"/>
                    </a:solidFill>
                  </a:endParaRPr>
                </a:p>
              </p:txBody>
            </p:sp>
          </p:grpSp>
          <p:pic>
            <p:nvPicPr>
              <p:cNvPr id="3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9637232" y="1454288"/>
              <a:ext cx="1036800" cy="511200"/>
              <a:chOff x="4299869" y="1700808"/>
              <a:chExt cx="1280242" cy="580256"/>
            </a:xfrm>
          </p:grpSpPr>
          <p:grpSp>
            <p:nvGrpSpPr>
              <p:cNvPr id="31" name="Group 30"/>
              <p:cNvGrpSpPr/>
              <p:nvPr/>
            </p:nvGrpSpPr>
            <p:grpSpPr>
              <a:xfrm>
                <a:off x="4299869" y="1700808"/>
                <a:ext cx="1280242" cy="580256"/>
                <a:chOff x="3923928" y="1700808"/>
                <a:chExt cx="1656184" cy="749967"/>
              </a:xfrm>
            </p:grpSpPr>
            <p:sp>
              <p:nvSpPr>
                <p:cNvPr id="34" name="Rounded Rectangle 33"/>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35" name="Rounded Rectangle 3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Run Security Test</a:t>
                  </a:r>
                  <a:endParaRPr lang="en-GB" sz="700" dirty="0">
                    <a:solidFill>
                      <a:schemeClr val="tx1"/>
                    </a:solidFill>
                  </a:endParaRPr>
                </a:p>
              </p:txBody>
            </p:sp>
          </p:grpSp>
          <p:pic>
            <p:nvPicPr>
              <p:cNvPr id="3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9637232" y="2105580"/>
              <a:ext cx="1036800" cy="511200"/>
              <a:chOff x="4299869" y="1700808"/>
              <a:chExt cx="1280242" cy="580256"/>
            </a:xfrm>
          </p:grpSpPr>
          <p:grpSp>
            <p:nvGrpSpPr>
              <p:cNvPr id="26" name="Group 25"/>
              <p:cNvGrpSpPr/>
              <p:nvPr/>
            </p:nvGrpSpPr>
            <p:grpSpPr>
              <a:xfrm>
                <a:off x="4299869" y="1700808"/>
                <a:ext cx="1280242" cy="580256"/>
                <a:chOff x="3923928" y="1700808"/>
                <a:chExt cx="1656184" cy="749967"/>
              </a:xfrm>
            </p:grpSpPr>
            <p:sp>
              <p:nvSpPr>
                <p:cNvPr id="29" name="Rounded Rectangle 28"/>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30" name="Rounded Rectangle 29"/>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Run Ops Test</a:t>
                  </a:r>
                  <a:endParaRPr lang="en-GB" sz="700" dirty="0">
                    <a:solidFill>
                      <a:schemeClr val="tx1"/>
                    </a:solidFill>
                  </a:endParaRPr>
                </a:p>
              </p:txBody>
            </p:sp>
          </p:grpSp>
          <p:pic>
            <p:nvPicPr>
              <p:cNvPr id="2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10789360" y="1457508"/>
              <a:ext cx="1036800" cy="511200"/>
              <a:chOff x="4299869" y="1700808"/>
              <a:chExt cx="1280242" cy="580256"/>
            </a:xfrm>
          </p:grpSpPr>
          <p:grpSp>
            <p:nvGrpSpPr>
              <p:cNvPr id="21" name="Group 20"/>
              <p:cNvGrpSpPr/>
              <p:nvPr/>
            </p:nvGrpSpPr>
            <p:grpSpPr>
              <a:xfrm>
                <a:off x="4299869" y="1700808"/>
                <a:ext cx="1280242" cy="580256"/>
                <a:chOff x="3923928" y="1700808"/>
                <a:chExt cx="1656184" cy="749967"/>
              </a:xfrm>
            </p:grpSpPr>
            <p:sp>
              <p:nvSpPr>
                <p:cNvPr id="24" name="Rounded Rectangle 23"/>
                <p:cNvSpPr/>
                <p:nvPr/>
              </p:nvSpPr>
              <p:spPr>
                <a:xfrm>
                  <a:off x="3923928" y="1700808"/>
                  <a:ext cx="1656184" cy="749967"/>
                </a:xfrm>
                <a:prstGeom prst="roundRect">
                  <a:avLst>
                    <a:gd name="adj" fmla="val 5869"/>
                  </a:avLst>
                </a:prstGeom>
                <a:solidFill>
                  <a:srgbClr val="00B0F0"/>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1400" dirty="0"/>
                </a:p>
              </p:txBody>
            </p:sp>
            <p:sp>
              <p:nvSpPr>
                <p:cNvPr id="25" name="Rounded Rectangle 24"/>
                <p:cNvSpPr/>
                <p:nvPr/>
              </p:nvSpPr>
              <p:spPr>
                <a:xfrm>
                  <a:off x="3978020" y="1739661"/>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Tear down ST env</a:t>
                  </a:r>
                  <a:endParaRPr lang="en-GB" sz="700" dirty="0">
                    <a:solidFill>
                      <a:schemeClr val="tx1"/>
                    </a:solidFill>
                  </a:endParaRPr>
                </a:p>
              </p:txBody>
            </p:sp>
          </p:grpSp>
          <p:pic>
            <p:nvPicPr>
              <p:cNvPr id="22"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064" y="2060848"/>
                <a:ext cx="152401" cy="1524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7889" y="2060848"/>
                <a:ext cx="152401" cy="15240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9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1472" y="4351790"/>
            <a:ext cx="125324" cy="5785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3" name="Rounded Rectangular Callout 92"/>
          <p:cNvSpPr/>
          <p:nvPr/>
        </p:nvSpPr>
        <p:spPr bwMode="auto">
          <a:xfrm>
            <a:off x="542796" y="5681916"/>
            <a:ext cx="888962" cy="352605"/>
          </a:xfrm>
          <a:prstGeom prst="wedgeRoundRectCallout">
            <a:avLst>
              <a:gd name="adj1" fmla="val -2995"/>
              <a:gd name="adj2" fmla="val -172065"/>
              <a:gd name="adj3" fmla="val 16667"/>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lnSpc>
                <a:spcPct val="80000"/>
              </a:lnSpc>
            </a:pPr>
            <a:r>
              <a:rPr lang="en-US" altLang="ja-JP" sz="900" b="1" dirty="0" err="1">
                <a:latin typeface="SimSun" panose="02010600030101010101" pitchFamily="2" charset="-122"/>
                <a:ea typeface="SimSun" panose="02010600030101010101" pitchFamily="2" charset="-122"/>
              </a:rPr>
              <a:t>并行执行</a:t>
            </a:r>
            <a:endParaRPr kumimoji="0" lang="en-GB" sz="900" b="1" i="0" u="none" strike="noStrike" cap="none" normalizeH="0" baseline="0" dirty="0" smtClean="0">
              <a:ln>
                <a:noFill/>
              </a:ln>
              <a:solidFill>
                <a:schemeClr val="tx1"/>
              </a:solidFill>
              <a:effectLst/>
              <a:latin typeface="SimSun" panose="02010600030101010101" pitchFamily="2" charset="-122"/>
              <a:ea typeface="SimSun" panose="02010600030101010101" pitchFamily="2" charset="-122"/>
            </a:endParaRPr>
          </a:p>
        </p:txBody>
      </p:sp>
      <p:sp>
        <p:nvSpPr>
          <p:cNvPr id="96" name="Rounded Rectangular Callout 95"/>
          <p:cNvSpPr/>
          <p:nvPr/>
        </p:nvSpPr>
        <p:spPr bwMode="auto">
          <a:xfrm>
            <a:off x="1876836" y="3292878"/>
            <a:ext cx="1156815" cy="543582"/>
          </a:xfrm>
          <a:prstGeom prst="wedgeRoundRectCallout">
            <a:avLst>
              <a:gd name="adj1" fmla="val -54227"/>
              <a:gd name="adj2" fmla="val 146846"/>
              <a:gd name="adj3" fmla="val 16667"/>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zh-CN" altLang="en-US" sz="900" b="1" i="0" u="none" strike="noStrike" cap="none" normalizeH="0" baseline="0" dirty="0" smtClean="0">
                <a:ln>
                  <a:noFill/>
                </a:ln>
                <a:solidFill>
                  <a:schemeClr val="tx1"/>
                </a:solidFill>
                <a:effectLst/>
                <a:latin typeface="SimSun" panose="02010600030101010101" pitchFamily="2" charset="-122"/>
                <a:ea typeface="SimSun" panose="02010600030101010101" pitchFamily="2" charset="-122"/>
              </a:rPr>
              <a:t>所有的阶段，例如代码分析作为一个强制执行的关卡。</a:t>
            </a:r>
            <a:endParaRPr kumimoji="0" lang="en-GB" sz="900" b="1" i="0" u="none" strike="noStrike" cap="none" normalizeH="0" baseline="0" dirty="0" smtClean="0">
              <a:ln>
                <a:noFill/>
              </a:ln>
              <a:solidFill>
                <a:schemeClr val="tx1"/>
              </a:solidFill>
              <a:effectLst/>
              <a:latin typeface="SimSun" panose="02010600030101010101" pitchFamily="2" charset="-122"/>
              <a:ea typeface="SimSun" panose="02010600030101010101" pitchFamily="2" charset="-122"/>
            </a:endParaRPr>
          </a:p>
        </p:txBody>
      </p:sp>
      <p:sp>
        <p:nvSpPr>
          <p:cNvPr id="97" name="Rounded Rectangular Callout 96"/>
          <p:cNvSpPr/>
          <p:nvPr/>
        </p:nvSpPr>
        <p:spPr bwMode="auto">
          <a:xfrm>
            <a:off x="552065" y="3030175"/>
            <a:ext cx="1156815" cy="543582"/>
          </a:xfrm>
          <a:prstGeom prst="wedgeRoundRectCallout">
            <a:avLst>
              <a:gd name="adj1" fmla="val -6056"/>
              <a:gd name="adj2" fmla="val 72384"/>
              <a:gd name="adj3" fmla="val 16667"/>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lnSpc>
                <a:spcPct val="80000"/>
              </a:lnSpc>
            </a:pPr>
            <a:r>
              <a:rPr kumimoji="0" lang="zh-CN" altLang="en-US" sz="900" b="1" i="0" u="none" strike="noStrike" cap="none" normalizeH="0" baseline="0" dirty="0" smtClean="0">
                <a:ln>
                  <a:noFill/>
                </a:ln>
                <a:solidFill>
                  <a:schemeClr val="tx1"/>
                </a:solidFill>
                <a:effectLst/>
                <a:latin typeface="SimSun" panose="02010600030101010101" pitchFamily="2" charset="-122"/>
                <a:ea typeface="SimSun" panose="02010600030101010101" pitchFamily="2" charset="-122"/>
              </a:rPr>
              <a:t>在</a:t>
            </a:r>
            <a:r>
              <a:rPr lang="en-GB" altLang="ja-JP" sz="900" b="1" dirty="0" smtClean="0">
                <a:solidFill>
                  <a:schemeClr val="tx1"/>
                </a:solidFill>
                <a:latin typeface="SimSun" panose="02010600030101010101" pitchFamily="2" charset="-122"/>
                <a:ea typeface="SimSun" panose="02010600030101010101" pitchFamily="2" charset="-122"/>
              </a:rPr>
              <a:t>check-in</a:t>
            </a:r>
            <a:r>
              <a:rPr lang="zh-CN" altLang="en-US" sz="900" b="1" dirty="0" smtClean="0">
                <a:solidFill>
                  <a:schemeClr val="tx1"/>
                </a:solidFill>
                <a:latin typeface="SimSun" panose="02010600030101010101" pitchFamily="2" charset="-122"/>
                <a:ea typeface="SimSun" panose="02010600030101010101" pitchFamily="2" charset="-122"/>
              </a:rPr>
              <a:t>后立即</a:t>
            </a:r>
            <a:endParaRPr lang="en-US" altLang="zh-CN" sz="900" b="1" dirty="0" smtClean="0">
              <a:solidFill>
                <a:schemeClr val="tx1"/>
              </a:solidFill>
              <a:latin typeface="SimSun" panose="02010600030101010101" pitchFamily="2" charset="-122"/>
              <a:ea typeface="SimSun" panose="02010600030101010101" pitchFamily="2" charset="-122"/>
            </a:endParaRPr>
          </a:p>
          <a:p>
            <a:pPr eaLnBrk="0" hangingPunct="0">
              <a:lnSpc>
                <a:spcPct val="80000"/>
              </a:lnSpc>
            </a:pPr>
            <a:r>
              <a:rPr lang="zh-CN" altLang="en-US" sz="900" b="1" dirty="0" smtClean="0">
                <a:solidFill>
                  <a:schemeClr val="tx1"/>
                </a:solidFill>
                <a:latin typeface="SimSun" panose="02010600030101010101" pitchFamily="2" charset="-122"/>
                <a:ea typeface="SimSun" panose="02010600030101010101" pitchFamily="2" charset="-122"/>
              </a:rPr>
              <a:t>启动。每个管道都对应一个改动。</a:t>
            </a:r>
            <a:endParaRPr kumimoji="0" lang="en-GB" sz="900" b="1" i="0" u="none" strike="noStrike" cap="none" normalizeH="0" baseline="0" dirty="0" smtClean="0">
              <a:ln>
                <a:noFill/>
              </a:ln>
              <a:solidFill>
                <a:schemeClr val="tx1"/>
              </a:solidFill>
              <a:effectLst/>
              <a:latin typeface="SimSun" panose="02010600030101010101" pitchFamily="2" charset="-122"/>
              <a:ea typeface="SimSun" panose="02010600030101010101" pitchFamily="2" charset="-122"/>
            </a:endParaRPr>
          </a:p>
        </p:txBody>
      </p:sp>
      <p:grpSp>
        <p:nvGrpSpPr>
          <p:cNvPr id="100" name="Group 99"/>
          <p:cNvGrpSpPr/>
          <p:nvPr/>
        </p:nvGrpSpPr>
        <p:grpSpPr>
          <a:xfrm>
            <a:off x="144954" y="4417625"/>
            <a:ext cx="771602" cy="388231"/>
            <a:chOff x="4479190" y="5553343"/>
            <a:chExt cx="1656184" cy="749967"/>
          </a:xfrm>
        </p:grpSpPr>
        <p:sp>
          <p:nvSpPr>
            <p:cNvPr id="101" name="Rounded Rectangle 100"/>
            <p:cNvSpPr/>
            <p:nvPr/>
          </p:nvSpPr>
          <p:spPr>
            <a:xfrm>
              <a:off x="4479190" y="5553343"/>
              <a:ext cx="1656184" cy="749967"/>
            </a:xfrm>
            <a:prstGeom prst="roundRect">
              <a:avLst>
                <a:gd name="adj" fmla="val 5869"/>
              </a:avLst>
            </a:prstGeom>
            <a:solidFill>
              <a:schemeClr val="bg1">
                <a:lumMod val="75000"/>
              </a:schemeClr>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600" dirty="0" smtClean="0">
                <a:solidFill>
                  <a:schemeClr val="tx1"/>
                </a:solidFill>
              </a:endParaRPr>
            </a:p>
            <a:p>
              <a:pPr algn="ctr"/>
              <a:r>
                <a:rPr lang="en-GB" sz="600" dirty="0" smtClean="0">
                  <a:solidFill>
                    <a:schemeClr val="tx1"/>
                  </a:solidFill>
                </a:rPr>
                <a:t>Committer: jdoe</a:t>
              </a:r>
              <a:br>
                <a:rPr lang="en-GB" sz="600" dirty="0" smtClean="0">
                  <a:solidFill>
                    <a:schemeClr val="tx1"/>
                  </a:solidFill>
                </a:rPr>
              </a:br>
              <a:r>
                <a:rPr lang="en-GB" sz="600" dirty="0" smtClean="0">
                  <a:solidFill>
                    <a:schemeClr val="tx1"/>
                  </a:solidFill>
                </a:rPr>
                <a:t>Story:25</a:t>
              </a:r>
            </a:p>
          </p:txBody>
        </p:sp>
        <p:sp>
          <p:nvSpPr>
            <p:cNvPr id="102" name="Rounded Rectangle 101"/>
            <p:cNvSpPr/>
            <p:nvPr/>
          </p:nvSpPr>
          <p:spPr>
            <a:xfrm>
              <a:off x="4533283" y="5592195"/>
              <a:ext cx="1548000" cy="254113"/>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lstStyle/>
            <a:p>
              <a:pPr algn="ctr"/>
              <a:r>
                <a:rPr lang="en-GB" sz="700" dirty="0" smtClean="0">
                  <a:solidFill>
                    <a:schemeClr val="tx1"/>
                  </a:solidFill>
                </a:rPr>
                <a:t>Commit ID: 113</a:t>
              </a:r>
              <a:endParaRPr lang="en-GB" sz="700" dirty="0">
                <a:solidFill>
                  <a:schemeClr val="tx1"/>
                </a:solidFill>
              </a:endParaRPr>
            </a:p>
          </p:txBody>
        </p:sp>
      </p:grpSp>
      <p:sp>
        <p:nvSpPr>
          <p:cNvPr id="92" name="Rounded Rectangle 91"/>
          <p:cNvSpPr/>
          <p:nvPr/>
        </p:nvSpPr>
        <p:spPr>
          <a:xfrm>
            <a:off x="4453932" y="4233627"/>
            <a:ext cx="1126180" cy="825010"/>
          </a:xfrm>
          <a:prstGeom prst="roundRect">
            <a:avLst/>
          </a:prstGeom>
          <a:noFill/>
          <a:ln w="571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9" name="Rounded Rectangle 98"/>
          <p:cNvSpPr/>
          <p:nvPr/>
        </p:nvSpPr>
        <p:spPr>
          <a:xfrm>
            <a:off x="7118228" y="4171869"/>
            <a:ext cx="1126180" cy="2208253"/>
          </a:xfrm>
          <a:prstGeom prst="roundRect">
            <a:avLst/>
          </a:prstGeom>
          <a:noFill/>
          <a:ln w="571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3" name="Rounded Rectangle 102"/>
          <p:cNvSpPr/>
          <p:nvPr/>
        </p:nvSpPr>
        <p:spPr>
          <a:xfrm>
            <a:off x="853532" y="4233627"/>
            <a:ext cx="1126180" cy="1473082"/>
          </a:xfrm>
          <a:prstGeom prst="roundRect">
            <a:avLst/>
          </a:prstGeom>
          <a:noFill/>
          <a:ln w="571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4" name="TextBox 103"/>
          <p:cNvSpPr txBox="1"/>
          <p:nvPr/>
        </p:nvSpPr>
        <p:spPr>
          <a:xfrm>
            <a:off x="2298085" y="2698422"/>
            <a:ext cx="646331" cy="369332"/>
          </a:xfrm>
          <a:prstGeom prst="rect">
            <a:avLst/>
          </a:prstGeom>
          <a:noFill/>
        </p:spPr>
        <p:txBody>
          <a:bodyPr wrap="none" rtlCol="0">
            <a:spAutoFit/>
          </a:bodyPr>
          <a:lstStyle/>
          <a:p>
            <a:r>
              <a:rPr lang="zh-CN" altLang="en-US" dirty="0">
                <a:latin typeface="SimSun" panose="02010600030101010101" pitchFamily="2" charset="-122"/>
                <a:ea typeface="SimSun" panose="02010600030101010101" pitchFamily="2" charset="-122"/>
              </a:rPr>
              <a:t>静态</a:t>
            </a:r>
            <a:endParaRPr lang="en-GB" dirty="0">
              <a:latin typeface="SimSun" panose="02010600030101010101" pitchFamily="2" charset="-122"/>
              <a:ea typeface="SimSun" panose="02010600030101010101" pitchFamily="2" charset="-122"/>
            </a:endParaRPr>
          </a:p>
        </p:txBody>
      </p:sp>
      <p:sp>
        <p:nvSpPr>
          <p:cNvPr id="105" name="TextBox 104"/>
          <p:cNvSpPr txBox="1"/>
          <p:nvPr/>
        </p:nvSpPr>
        <p:spPr>
          <a:xfrm>
            <a:off x="3563888" y="2707714"/>
            <a:ext cx="646331" cy="369332"/>
          </a:xfrm>
          <a:prstGeom prst="rect">
            <a:avLst/>
          </a:prstGeom>
          <a:noFill/>
        </p:spPr>
        <p:txBody>
          <a:bodyPr wrap="none" rtlCol="0">
            <a:spAutoFit/>
          </a:bodyPr>
          <a:lstStyle/>
          <a:p>
            <a:r>
              <a:rPr lang="zh-CN" altLang="en-US" dirty="0" smtClean="0">
                <a:latin typeface="SimSun" panose="02010600030101010101" pitchFamily="2" charset="-122"/>
                <a:ea typeface="SimSun" panose="02010600030101010101" pitchFamily="2" charset="-122"/>
              </a:rPr>
              <a:t>动态</a:t>
            </a:r>
            <a:endParaRPr lang="en-GB" dirty="0">
              <a:latin typeface="SimSun" panose="02010600030101010101" pitchFamily="2" charset="-122"/>
              <a:ea typeface="SimSun" panose="02010600030101010101" pitchFamily="2" charset="-122"/>
            </a:endParaRPr>
          </a:p>
        </p:txBody>
      </p:sp>
      <p:cxnSp>
        <p:nvCxnSpPr>
          <p:cNvPr id="95" name="Straight Connector 94"/>
          <p:cNvCxnSpPr/>
          <p:nvPr/>
        </p:nvCxnSpPr>
        <p:spPr>
          <a:xfrm>
            <a:off x="3221721" y="2686639"/>
            <a:ext cx="0" cy="3837499"/>
          </a:xfrm>
          <a:prstGeom prst="line">
            <a:avLst/>
          </a:prstGeom>
          <a:ln w="76200">
            <a:solidFill>
              <a:srgbClr val="FF0000"/>
            </a:solidFill>
            <a:prstDash val="dash"/>
          </a:ln>
        </p:spPr>
        <p:style>
          <a:lnRef idx="3">
            <a:schemeClr val="accent6"/>
          </a:lnRef>
          <a:fillRef idx="0">
            <a:schemeClr val="accent6"/>
          </a:fillRef>
          <a:effectRef idx="2">
            <a:schemeClr val="accent6"/>
          </a:effectRef>
          <a:fontRef idx="minor">
            <a:schemeClr val="tx1"/>
          </a:fontRef>
        </p:style>
      </p:cxnSp>
      <p:sp>
        <p:nvSpPr>
          <p:cNvPr id="106" name="TextBox 105"/>
          <p:cNvSpPr txBox="1"/>
          <p:nvPr/>
        </p:nvSpPr>
        <p:spPr>
          <a:xfrm rot="5400000">
            <a:off x="3137357" y="3471346"/>
            <a:ext cx="646331" cy="369332"/>
          </a:xfrm>
          <a:prstGeom prst="rect">
            <a:avLst/>
          </a:prstGeom>
          <a:noFill/>
        </p:spPr>
        <p:txBody>
          <a:bodyPr wrap="none" rtlCol="0">
            <a:spAutoFit/>
          </a:bodyPr>
          <a:lstStyle/>
          <a:p>
            <a:r>
              <a:rPr lang="zh-CN" altLang="en-US" dirty="0" smtClean="0">
                <a:latin typeface="SimSun" panose="02010600030101010101" pitchFamily="2" charset="-122"/>
                <a:ea typeface="SimSun" panose="02010600030101010101" pitchFamily="2" charset="-122"/>
              </a:rPr>
              <a:t>发布</a:t>
            </a:r>
            <a:endParaRPr lang="en-GB" dirty="0">
              <a:latin typeface="SimSun" panose="02010600030101010101" pitchFamily="2" charset="-122"/>
              <a:ea typeface="SimSun" panose="02010600030101010101" pitchFamily="2" charset="-122"/>
            </a:endParaRPr>
          </a:p>
        </p:txBody>
      </p:sp>
      <p:sp>
        <p:nvSpPr>
          <p:cNvPr id="108"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16500745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5613" y="1121808"/>
            <a:ext cx="8232775" cy="396000"/>
          </a:xfrm>
        </p:spPr>
        <p:txBody>
          <a:bodyPr/>
          <a:lstStyle/>
          <a:p>
            <a:r>
              <a:rPr lang="zh-CN" altLang="en-US" dirty="0" smtClean="0">
                <a:latin typeface="SimSun" panose="02010600030101010101" pitchFamily="2" charset="-122"/>
                <a:ea typeface="SimSun" panose="02010600030101010101" pitchFamily="2" charset="-122"/>
              </a:rPr>
              <a:t>静态代码分析概述</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a:xfrm>
            <a:off x="496800" y="1563329"/>
            <a:ext cx="4723272" cy="4826359"/>
          </a:xfrm>
        </p:spPr>
        <p:txBody>
          <a:bodyPr/>
          <a:lstStyle/>
          <a:p>
            <a:r>
              <a:rPr lang="zh-CN" altLang="en-US" dirty="0" smtClean="0">
                <a:latin typeface="SimSun" panose="02010600030101010101" pitchFamily="2" charset="-122"/>
                <a:ea typeface="SimSun" panose="02010600030101010101" pitchFamily="2" charset="-122"/>
              </a:rPr>
              <a:t>静态代码分析工具</a:t>
            </a:r>
            <a:endParaRPr lang="en-GB" dirty="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通过读取源代码</a:t>
            </a:r>
            <a:r>
              <a:rPr lang="en-GB" dirty="0" smtClean="0">
                <a:latin typeface="SimSun" panose="02010600030101010101" pitchFamily="2" charset="-122"/>
                <a:ea typeface="SimSun" panose="02010600030101010101" pitchFamily="2" charset="-122"/>
              </a:rPr>
              <a:t>: </a:t>
            </a:r>
          </a:p>
          <a:p>
            <a:pPr lvl="1"/>
            <a:r>
              <a:rPr lang="zh-CN" altLang="en-US" dirty="0" smtClean="0">
                <a:latin typeface="SimSun" panose="02010600030101010101" pitchFamily="2" charset="-122"/>
                <a:ea typeface="SimSun" panose="02010600030101010101" pitchFamily="2" charset="-122"/>
              </a:rPr>
              <a:t>对于定义好的代码书写规则检查代码违规性</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基于代码提供统计数据</a:t>
            </a:r>
            <a:endParaRPr lang="en-US" altLang="zh-CN"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代码行</a:t>
            </a:r>
            <a:r>
              <a:rPr lang="en-GB" dirty="0" smtClean="0">
                <a:latin typeface="SimSun" panose="02010600030101010101" pitchFamily="2" charset="-122"/>
                <a:ea typeface="SimSun" panose="02010600030101010101" pitchFamily="2" charset="-122"/>
              </a:rPr>
              <a:t> </a:t>
            </a:r>
          </a:p>
          <a:p>
            <a:pPr lvl="1"/>
            <a:r>
              <a:rPr lang="zh-CN" altLang="en-US" dirty="0" smtClean="0">
                <a:latin typeface="SimSun" panose="02010600030101010101" pitchFamily="2" charset="-122"/>
                <a:ea typeface="SimSun" panose="02010600030101010101" pitchFamily="2" charset="-122"/>
              </a:rPr>
              <a:t>注释</a:t>
            </a:r>
            <a:r>
              <a:rPr lang="en-GB" dirty="0" smtClean="0">
                <a:latin typeface="SimSun" panose="02010600030101010101" pitchFamily="2" charset="-122"/>
                <a:ea typeface="SimSun" panose="02010600030101010101" pitchFamily="2" charset="-122"/>
              </a:rPr>
              <a:t> </a:t>
            </a:r>
            <a:r>
              <a:rPr lang="en-GB" dirty="0">
                <a:latin typeface="SimSun" panose="02010600030101010101" pitchFamily="2" charset="-122"/>
                <a:ea typeface="SimSun" panose="02010600030101010101" pitchFamily="2" charset="-122"/>
              </a:rPr>
              <a:t>(%) </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热点</a:t>
            </a:r>
            <a:r>
              <a:rPr lang="en-GB" dirty="0" smtClean="0">
                <a:latin typeface="SimSun" panose="02010600030101010101" pitchFamily="2" charset="-122"/>
                <a:ea typeface="SimSun" panose="02010600030101010101" pitchFamily="2" charset="-122"/>
              </a:rPr>
              <a:t>/ </a:t>
            </a:r>
            <a:r>
              <a:rPr lang="zh-CN" altLang="en-US" dirty="0" smtClean="0">
                <a:latin typeface="SimSun" panose="02010600030101010101" pitchFamily="2" charset="-122"/>
                <a:ea typeface="SimSun" panose="02010600030101010101" pitchFamily="2" charset="-122"/>
              </a:rPr>
              <a:t>质量</a:t>
            </a:r>
            <a:r>
              <a:rPr lang="en-GB" dirty="0" smtClean="0">
                <a:latin typeface="SimSun" panose="02010600030101010101" pitchFamily="2" charset="-122"/>
                <a:ea typeface="SimSun" panose="02010600030101010101" pitchFamily="2" charset="-122"/>
              </a:rPr>
              <a:t> </a:t>
            </a:r>
          </a:p>
          <a:p>
            <a:pPr lvl="1"/>
            <a:r>
              <a:rPr lang="zh-CN" altLang="en-US" dirty="0" smtClean="0">
                <a:latin typeface="SimSun" panose="02010600030101010101" pitchFamily="2" charset="-122"/>
                <a:ea typeface="SimSun" panose="02010600030101010101" pitchFamily="2" charset="-122"/>
              </a:rPr>
              <a:t>插件通常有效</a:t>
            </a:r>
            <a:r>
              <a:rPr lang="en-GB" dirty="0" smtClean="0">
                <a:latin typeface="SimSun" panose="02010600030101010101" pitchFamily="2" charset="-122"/>
                <a:ea typeface="SimSun" panose="02010600030101010101" pitchFamily="2" charset="-122"/>
              </a:rPr>
              <a:t/>
            </a:r>
            <a:br>
              <a:rPr lang="en-GB" dirty="0" smtClean="0">
                <a:latin typeface="SimSun" panose="02010600030101010101" pitchFamily="2" charset="-122"/>
                <a:ea typeface="SimSun" panose="02010600030101010101" pitchFamily="2" charset="-122"/>
              </a:rPr>
            </a:br>
            <a:endParaRPr lang="en-GB" dirty="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静态代码分析</a:t>
            </a:r>
            <a:endParaRPr lang="en-GB" dirty="0">
              <a:latin typeface="SimSun" panose="02010600030101010101" pitchFamily="2" charset="-122"/>
              <a:ea typeface="SimSun" panose="02010600030101010101" pitchFamily="2" charset="-122"/>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2400" y="3195880"/>
            <a:ext cx="4949973" cy="3119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306445119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5613" y="1121808"/>
            <a:ext cx="8232775" cy="396000"/>
          </a:xfrm>
        </p:spPr>
        <p:txBody>
          <a:bodyPr/>
          <a:lstStyle/>
          <a:p>
            <a:r>
              <a:rPr lang="zh-CN" altLang="en-US" dirty="0" smtClean="0">
                <a:latin typeface="SimSun" panose="02010600030101010101" pitchFamily="2" charset="-122"/>
                <a:ea typeface="SimSun" panose="02010600030101010101" pitchFamily="2" charset="-122"/>
              </a:rPr>
              <a:t>为你的项目量身订做代码分析</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zh-CN" altLang="en-US" dirty="0" smtClean="0">
                <a:latin typeface="SimSun" panose="02010600030101010101" pitchFamily="2" charset="-122"/>
                <a:ea typeface="SimSun" panose="02010600030101010101" pitchFamily="2" charset="-122"/>
              </a:rPr>
              <a:t>任何独立项目都有所不同</a:t>
            </a:r>
            <a:endParaRPr lang="en-GB" dirty="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分析可以基于项目调整</a:t>
            </a:r>
            <a:endParaRPr lang="en-GB" dirty="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代码分析可针对</a:t>
            </a:r>
            <a:r>
              <a:rPr lang="zh-CN" altLang="en-US" dirty="0" smtClean="0">
                <a:latin typeface="SimSun" panose="02010600030101010101" pitchFamily="2" charset="-122"/>
                <a:ea typeface="SimSun" panose="02010600030101010101" pitchFamily="2" charset="-122"/>
              </a:rPr>
              <a:t>所有主要语言定制化</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定制代码分析</a:t>
            </a:r>
            <a:endParaRPr lang="en-GB" dirty="0">
              <a:latin typeface="SimSun" panose="02010600030101010101" pitchFamily="2" charset="-122"/>
              <a:ea typeface="SimSun" panose="02010600030101010101" pitchFamily="2" charset="-122"/>
            </a:endParaRPr>
          </a:p>
        </p:txBody>
      </p:sp>
      <p:sp>
        <p:nvSpPr>
          <p:cNvPr id="5" name="AutoShape 4" descr="https://ams.accenture.com/wiki/download/attachments/129499164/image2014-10-7+12%3A37%3A6.png?version=1&amp;modificationDate=1412682071923"/>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 name="AutoShape 6" descr="https://ams.accenture.com/wiki/download/attachments/129499164/image2014-10-7+12%3A37%3A6.png?version=1&amp;modificationDate=1412682071923"/>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1032" name="Picture 8" descr="http://upload.wikimedia.org/wikipedia/commons/5/5c/Sonarqube-nemo-dashboar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9632" y="2852936"/>
            <a:ext cx="6590668" cy="3258474"/>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357288130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其他静态代码分析工具</a:t>
            </a:r>
            <a:endParaRPr lang="en-GB" dirty="0">
              <a:latin typeface="SimSun" panose="02010600030101010101" pitchFamily="2" charset="-122"/>
              <a:ea typeface="SimSun" panose="02010600030101010101" pitchFamily="2" charset="-122"/>
            </a:endParaRPr>
          </a:p>
        </p:txBody>
      </p:sp>
      <p:sp>
        <p:nvSpPr>
          <p:cNvPr id="5" name="AutoShape 4" descr="https://ams.accenture.com/wiki/download/attachments/129499164/image2014-10-7+12%3A37%3A6.png?version=1&amp;modificationDate=1412682071923"/>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 name="AutoShape 6" descr="https://ams.accenture.com/wiki/download/attachments/129499164/image2014-10-7+12%3A37%3A6.png?version=1&amp;modificationDate=1412682071923"/>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4098" name="Picture 2" descr="http://upload.wikimedia.org/wikipedia/commons/e/e6/Sonarqube-48x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775" y="1977482"/>
            <a:ext cx="3031878" cy="72765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peckycdn.sdm.netdna-cdn.com/wp-content/uploads/2011/07/01-css-lin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7862" y="1788581"/>
            <a:ext cx="2282570" cy="128037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www.foodcritic.io/images/foodcritic.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3081" y="4308573"/>
            <a:ext cx="1684408" cy="153307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www.dotnetperls.com/fxco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95353" y="4423109"/>
            <a:ext cx="2381250" cy="704851"/>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10" descr="data:image/png;base64,iVBORw0KGgoAAAANSUhEUgAAAOEAAADhCAMAAAAJbSJIAAAAnFBMVEX///8AAADrHCO9vb1TU1NCQkLyHSRxDRF3d3fAwMDy8vLm5ub4+Pjc3NyhoaHq6uqAgIALCwtpaWkrKys7OzthYWFKSkrV1dUfHx8wMDClpaWwsLCrq6uLi4vOzs5YWFiXl5fIyMgVFRVvb2+ampp+fn7iGyItLS03NzeHh4fTGR8qBQYjIyO1FhuWEhZDCArIGB6KEBRgCw5NCQt6Ht7LAAAH7ElEQVR4nO2d6WLaOBCAcUioMeZKOBIIwYY0TVra7m7f/90WW7csn8iMnM73JwSDrA8fkuUZuddDEARBEARBEARBEARB/irCcbzdTM48D9cBdGVsE8bR7dxTuJv1p9DVskWwWXlmTrsxdOUs0L/N0SM8Tjq+w74W6hH8Du+tkwp+CceObsfhoaLgmQi6sg0I9tX9zhxeoCtcl2Etv4QP6CrXY1Zb0PPeu3Q05jWAJayh612V4LGZoOcNoatejWlTvzNb6MpX4RLBTiiGFwl2YUf9dqGh53pnvF47bySEdiikSk+7jDtoiSLGFgQ9bwetUUDjhlDF3UNxZ0fQe4AWyWNkSdDzJtAqORSPV9TCzfPpiz1BbwYtY+TOoqHn4pXU2qagk9fDS6uGHrROlsCuoIMXGTb6azILaKEMD5YNvRG0kYa91p7hWqu/sW64glbSsNifYTjWr7Ev6MXQTgp2LgxVImgphW0LhktoKYWPFgzd6tbMVrfWca/NRzrN+mN/Z5uV34fW4kytXvvKODLE30ZbyHiFlku49FZMMS50bL62ajiH1uu10iOVgT8UbY4hmoAfkmqjRyoD3ztt23APLYiGn8DwuWVD8OGatjeh593DCtq9WWEGtr24OLakCpBjw212ugURoGFfr8yfL5fzn14o5JGonWe+vA2s8EstFrJboxr+O7ixw+AfNw1/2xI8K/5y0vCnPcObGycN3ywKDn67aGhR8Gbwx0XD7zYNf7ho+MvicfjdyePQ4oGo7KQOGf54s7MVB4MvnpuG5x3VxrH49vOH54xh7F2Dr4CG7Y53M0CHTG1FBRfxDVLQcsilGejgqPuW/U7gWcKZi2DLwI8mfv7xUjTsvmHbx+ERWrCFwFIVB+7k15hXoAnQrWGv7d0U/gZpz3oagoobYbTtKR7AOzSUvvVAfUIELSYxGvat426e5WdlNGZYKsaNc4yEOHouSqw78WIcaAhVHu0YLtAQjlzDl0kRz1oxHTQsu9WvJXB1z7A88VKN5u6eYYXejtK8dM6wUkqb3PnsmiG9PJ7lQXw2UjFdMySTYuVPNhcmU34qg/adM0wmNivKyp7qE5l00LBXnHb+ol0BdtGwHmgIyF9v+Lp40vCNF4AOGz4UGvpeloOpmHd3DcWtUsMMluZwd9MtCTEntivDbBwxFd0msyzv+iLKfFK6R9B+lWsi7uhnZurKj2fI5N5FxfswKNK0unp2a8F8rdoxK11rwd9z0pE3lHqSKIrXeFILkeIe3EkC5shzQsonm+I5k+VNFcob27nBRC0+yuebsSw/MWIfDJUJYHwIhTLUy/nH/X1CebzNIf3ccqG+61xbkfD5Z6Qzdlya4UJ+sxFrN9mcve1ka842+PztXIJ5efXLcbApFIQN55uXcXYXpVw6rdnRwaZeI7xkRqW96xuQsm0WdLqaONnO5xCs42Ed4hfnrukRBEEQBEEQBEEQBEEQxBbhKEOF0dr0c/XDouSVXe1JSKYYkfKMzvRj2YCTEtTJiK81QZsxCqb0yX3pp/QcgzL0EeQrTXhpjvMpU2ximE1gvI5iTiRTiWIDQ1OG5lUU82K1ioN+6xuaU1Cv8axOYvgxXjNisu5T4bdqG9JArxNfDYnKuMZMA8RQztqhcXWF36ptSPLxDlJDlERgXiWHO2tIE0QKv1XbkNwYV1raxZXai0LDIIFXK0z/TV9ywyAQbzICAX9vnj2xhPLEuqH4TigXIxfYhmFaLx6a9Sy2AzWM+SlDdBLUh8+xE5bBUGKqxEqtiEt6borlkLnaXYxywzR0hkcu6YZbOVyPfWrmqbxWMNQfYz5PFSfJy0iZVqXRM4QvMFQbgJlRkCkWGWaf054qpvFlt+p0FU0Us4Y0cq3cUCMpw/R8xH6JoSm4+DHn/do9RW7oi7kEaDz6UzXDVRpzyH8T8uKekf73rcSQFLtg33lnP0uYt5JGhlmGlQzpWWhLl5BKie5QxCtVYLjTap7+u5EM6Tl3Y9eQ7A1lhuw0O1QMRcCaqFSZoRSnONcMWaOytWpId/cSQ96O9HMMJ00MtW3IW02rhux4LjYUXZIWDUWgtE1DHjZY0h5ew1Cs5DLDKAzCmOjJ3f1iQ3Hm7oBh2h7SgEOpbfxshuwqVeRRqIasTeiwIZtVhffi2zWcAhjSHiJ/rqRiGBw0wzkPo6xo+K6seUMT3IsNH/nPbcWQTcvG5vSVDVl0t9ziT5WvlRp6kbTi5Kh+KTf0DkzRjiF7mOpWMiRNLo/QV3ptVLG8T0PzpXbaothgqPdp5oFVQ5ZYRiJdn/i+JeLz1Z73eHom8NmS9O8xmFL2vFIsqfKdPrtyIUoj/dI1+06sbcPzViQrubdkSMslvylZ+fxcI66Uf/WU/BILw/v30np0kt3UmGc0zrl6ur3ckD36iBR1kktfPNB1k132oOVzjXrmOTIDeUVZQWOe0a6XY9ggRjx7BUxOD16UvA6lFKBT75j8SQZL4uTFkuzEjHGOx1RdU1bQoJgersRwoqykSRA8Wa9yt4k2/ENV8SEknZpkjDOiv4q09rFSnrFO+iIxG4qmSM5HrD2U9qNGcfCjo+/7RzUHyU+hiZ8b8t+GfTbp7E+SxYnTM1noR2KoL4h8wasyQqos2snbY/hVLJjRzGje4m/YStxPQ6mH3qf5fKBh90HD7oOG3ecvMNwvl8u9w/nQCIIgCIIgCIIgCIIgiIn/Ad4Hk7Da5AO4AAAAAElFTkSuQmCC"/>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 name="AutoShape 12" descr="data:image/png;base64,iVBORw0KGgoAAAANSUhEUgAAAOEAAADhCAMAAAAJbSJIAAAAnFBMVEX///8AAADrHCO9vb1TU1NCQkLyHSRxDRF3d3fAwMDy8vLm5ub4+Pjc3NyhoaHq6uqAgIALCwtpaWkrKys7OzthYWFKSkrV1dUfHx8wMDClpaWwsLCrq6uLi4vOzs5YWFiXl5fIyMgVFRVvb2+ampp+fn7iGyItLS03NzeHh4fTGR8qBQYjIyO1FhuWEhZDCArIGB6KEBRgCw5NCQt6Ht7LAAAH7ElEQVR4nO2d6WLaOBCAcUioMeZKOBIIwYY0TVra7m7f/90WW7csn8iMnM73JwSDrA8fkuUZuddDEARBEARBEARBEARB/irCcbzdTM48D9cBdGVsE8bR7dxTuJv1p9DVskWwWXlmTrsxdOUs0L/N0SM8Tjq+w74W6hH8Du+tkwp+CceObsfhoaLgmQi6sg0I9tX9zhxeoCtcl2Etv4QP6CrXY1Zb0PPeu3Q05jWAJayh612V4LGZoOcNoatejWlTvzNb6MpX4RLBTiiGFwl2YUf9dqGh53pnvF47bySEdiikSk+7jDtoiSLGFgQ9bwetUUDjhlDF3UNxZ0fQe4AWyWNkSdDzJtAqORSPV9TCzfPpiz1BbwYtY+TOoqHn4pXU2qagk9fDS6uGHrROlsCuoIMXGTb6azILaKEMD5YNvRG0kYa91p7hWqu/sW64glbSsNifYTjWr7Ev6MXQTgp2LgxVImgphW0LhktoKYWPFgzd6tbMVrfWca/NRzrN+mN/Z5uV34fW4kytXvvKODLE30ZbyHiFlku49FZMMS50bL62ajiH1uu10iOVgT8UbY4hmoAfkmqjRyoD3ztt23APLYiGn8DwuWVD8OGatjeh593DCtq9WWEGtr24OLakCpBjw212ugURoGFfr8yfL5fzn14o5JGonWe+vA2s8EstFrJboxr+O7ixw+AfNw1/2xI8K/5y0vCnPcObGycN3ywKDn67aGhR8Gbwx0XD7zYNf7ho+MvicfjdyePQ4oGo7KQOGf54s7MVB4MvnpuG5x3VxrH49vOH54xh7F2Dr4CG7Y53M0CHTG1FBRfxDVLQcsilGejgqPuW/U7gWcKZi2DLwI8mfv7xUjTsvmHbx+ERWrCFwFIVB+7k15hXoAnQrWGv7d0U/gZpz3oagoobYbTtKR7AOzSUvvVAfUIELSYxGvat426e5WdlNGZYKsaNc4yEOHouSqw78WIcaAhVHu0YLtAQjlzDl0kRz1oxHTQsu9WvJXB1z7A88VKN5u6eYYXejtK8dM6wUkqb3PnsmiG9PJ7lQXw2UjFdMySTYuVPNhcmU34qg/adM0wmNivKyp7qE5l00LBXnHb+ol0BdtGwHmgIyF9v+Lp40vCNF4AOGz4UGvpeloOpmHd3DcWtUsMMluZwd9MtCTEntivDbBwxFd0msyzv+iLKfFK6R9B+lWsi7uhnZurKj2fI5N5FxfswKNK0unp2a8F8rdoxK11rwd9z0pE3lHqSKIrXeFILkeIe3EkC5shzQsonm+I5k+VNFcob27nBRC0+yuebsSw/MWIfDJUJYHwIhTLUy/nH/X1CebzNIf3ccqG+61xbkfD5Z6Qzdlya4UJ+sxFrN9mcve1ka842+PztXIJ5efXLcbApFIQN55uXcXYXpVw6rdnRwaZeI7xkRqW96xuQsm0WdLqaONnO5xCs42Ed4hfnrukRBEEQBEEQBEEQBEEQxBbhKEOF0dr0c/XDouSVXe1JSKYYkfKMzvRj2YCTEtTJiK81QZsxCqb0yX3pp/QcgzL0EeQrTXhpjvMpU2ximE1gvI5iTiRTiWIDQ1OG5lUU82K1ioN+6xuaU1Cv8axOYvgxXjNisu5T4bdqG9JArxNfDYnKuMZMA8RQztqhcXWF36ptSPLxDlJDlERgXiWHO2tIE0QKv1XbkNwYV1raxZXai0LDIIFXK0z/TV9ywyAQbzICAX9vnj2xhPLEuqH4TigXIxfYhmFaLx6a9Sy2AzWM+SlDdBLUh8+xE5bBUGKqxEqtiEt6borlkLnaXYxywzR0hkcu6YZbOVyPfWrmqbxWMNQfYz5PFSfJy0iZVqXRM4QvMFQbgJlRkCkWGWaf054qpvFlt+p0FU0Us4Y0cq3cUCMpw/R8xH6JoSm4+DHn/do9RW7oi7kEaDz6UzXDVRpzyH8T8uKekf73rcSQFLtg33lnP0uYt5JGhlmGlQzpWWhLl5BKie5QxCtVYLjTap7+u5EM6Tl3Y9eQ7A1lhuw0O1QMRcCaqFSZoRSnONcMWaOytWpId/cSQ96O9HMMJ00MtW3IW02rhux4LjYUXZIWDUWgtE1DHjZY0h5ew1Cs5DLDKAzCmOjJ3f1iQ3Hm7oBh2h7SgEOpbfxshuwqVeRRqIasTeiwIZtVhffi2zWcAhjSHiJ/rqRiGBw0wzkPo6xo+K6seUMT3IsNH/nPbcWQTcvG5vSVDVl0t9ziT5WvlRp6kbTi5Kh+KTf0DkzRjiF7mOpWMiRNLo/QV3ptVLG8T0PzpXbaothgqPdp5oFVQ5ZYRiJdn/i+JeLz1Z73eHom8NmS9O8xmFL2vFIsqfKdPrtyIUoj/dI1+06sbcPzViQrubdkSMslvylZ+fxcI66Uf/WU/BILw/v30np0kt3UmGc0zrl6ur3ckD36iBR1kktfPNB1k132oOVzjXrmOTIDeUVZQWOe0a6XY9ggRjx7BUxOD16UvA6lFKBT75j8SQZL4uTFkuzEjHGOx1RdU1bQoJgersRwoqykSRA8Wa9yt4k2/ENV8SEknZpkjDOiv4q09rFSnrFO+iIxG4qmSM5HrD2U9qNGcfCjo+/7RzUHyU+hiZ8b8t+GfTbp7E+SxYnTM1noR2KoL4h8wasyQqos2snbY/hVLJjRzGje4m/YStxPQ6mH3qf5fKBh90HD7oOG3ecvMNwvl8u9w/nQCIIgCIIgCIIgCIIgiIn/Ad4Hk7Da5AO4AAAAAElFTkSuQmCC"/>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4110" name="Picture 14" descr="http://batsov.com/images/articles/rubocop-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72200" y="3633127"/>
            <a:ext cx="1596950" cy="159695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www.quicktestingtips.com/tips/wp-content/uploads/2010/09/TotalValidator.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47553" y="3175387"/>
            <a:ext cx="28956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descr="http://www.perlcritic.org/perl-critic-log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43294" y="5423954"/>
            <a:ext cx="1974004" cy="821227"/>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descr="http://www-01.ibm.com/software/in/awdtools/appscan/images/Appscan_556x12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39830" y="5635696"/>
            <a:ext cx="3420602" cy="738260"/>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111994393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Cucumber</a:t>
            </a:r>
            <a:endParaRPr lang="en-GB" dirty="0"/>
          </a:p>
        </p:txBody>
      </p:sp>
      <p:pic>
        <p:nvPicPr>
          <p:cNvPr id="307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420" y="1700713"/>
            <a:ext cx="4822378" cy="4126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4" name="Picture 2" descr="http://www.masterthought.net/design/img/cucumbe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8330" y="2449051"/>
            <a:ext cx="3292470" cy="3292470"/>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
        <p:nvSpPr>
          <p:cNvPr id="7" name="Text Placeholder 1"/>
          <p:cNvSpPr>
            <a:spLocks noGrp="1"/>
          </p:cNvSpPr>
          <p:nvPr>
            <p:ph type="body" sz="quarter" idx="10"/>
          </p:nvPr>
        </p:nvSpPr>
        <p:spPr>
          <a:xfrm>
            <a:off x="455613" y="1180800"/>
            <a:ext cx="8232775" cy="396000"/>
          </a:xfrm>
        </p:spPr>
        <p:txBody>
          <a:bodyPr/>
          <a:lstStyle/>
          <a:p>
            <a:r>
              <a:rPr lang="zh-CN" altLang="en-US" dirty="0">
                <a:latin typeface="SimSun" panose="02010600030101010101" pitchFamily="2" charset="-122"/>
                <a:ea typeface="SimSun" panose="02010600030101010101" pitchFamily="2" charset="-122"/>
              </a:rPr>
              <a:t>示例</a:t>
            </a:r>
            <a:endParaRPr lang="en-GB" dirty="0" smtClean="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40329407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5613" y="1111976"/>
            <a:ext cx="8232775" cy="396000"/>
          </a:xfrm>
        </p:spPr>
        <p:txBody>
          <a:bodyPr/>
          <a:lstStyle/>
          <a:p>
            <a:r>
              <a:rPr lang="zh-CN" altLang="en-US" dirty="0" smtClean="0">
                <a:latin typeface="SimSun" panose="02010600030101010101" pitchFamily="2" charset="-122"/>
                <a:ea typeface="SimSun" panose="02010600030101010101" pitchFamily="2" charset="-122"/>
              </a:rPr>
              <a:t>通过</a:t>
            </a:r>
            <a:r>
              <a:rPr lang="en-GB" altLang="ja-JP" dirty="0" smtClean="0">
                <a:latin typeface="SimSun" panose="02010600030101010101" pitchFamily="2" charset="-122"/>
                <a:ea typeface="SimSun" panose="02010600030101010101" pitchFamily="2" charset="-122"/>
              </a:rPr>
              <a:t>Selenium</a:t>
            </a:r>
            <a:r>
              <a:rPr lang="zh-CN" altLang="en-US" dirty="0" smtClean="0">
                <a:latin typeface="SimSun" panose="02010600030101010101" pitchFamily="2" charset="-122"/>
                <a:ea typeface="SimSun" panose="02010600030101010101" pitchFamily="2" charset="-122"/>
              </a:rPr>
              <a:t>自动化浏览器进行功能测试</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zh-CN" altLang="en-US" dirty="0" smtClean="0">
                <a:latin typeface="SimSun" panose="02010600030101010101" pitchFamily="2" charset="-122"/>
                <a:ea typeface="SimSun" panose="02010600030101010101" pitchFamily="2" charset="-122"/>
              </a:rPr>
              <a:t>功能测试是确认应用和用户之间接口的交互，以及应用是否正常工作。</a:t>
            </a:r>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通常我们用</a:t>
            </a:r>
            <a:r>
              <a:rPr lang="en-US" altLang="zh-CN" dirty="0" smtClean="0">
                <a:latin typeface="SimSun" panose="02010600030101010101" pitchFamily="2" charset="-122"/>
                <a:ea typeface="SimSun" panose="02010600030101010101" pitchFamily="2" charset="-122"/>
              </a:rPr>
              <a:t>grid</a:t>
            </a:r>
            <a:r>
              <a:rPr lang="zh-CN" altLang="en-US" dirty="0" smtClean="0">
                <a:latin typeface="SimSun" panose="02010600030101010101" pitchFamily="2" charset="-122"/>
                <a:ea typeface="SimSun" panose="02010600030101010101" pitchFamily="2" charset="-122"/>
              </a:rPr>
              <a:t>来进行多线程测试。</a:t>
            </a:r>
            <a:endParaRPr lang="en-GB" dirty="0" smtClean="0">
              <a:latin typeface="SimSun" panose="02010600030101010101" pitchFamily="2" charset="-122"/>
              <a:ea typeface="SimSun" panose="02010600030101010101" pitchFamily="2" charset="-122"/>
            </a:endParaRPr>
          </a:p>
          <a:p>
            <a:endParaRPr lang="en-GB" dirty="0" smtClean="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功能自动化测试</a:t>
            </a:r>
            <a:r>
              <a:rPr lang="en-GB" altLang="ja-JP" dirty="0">
                <a:latin typeface="SimSun" panose="02010600030101010101" pitchFamily="2" charset="-122"/>
                <a:ea typeface="SimSun" panose="02010600030101010101" pitchFamily="2" charset="-122"/>
              </a:rPr>
              <a:t>– Selenium</a:t>
            </a:r>
            <a:endParaRPr lang="en-GB" dirty="0">
              <a:latin typeface="SimSun" panose="02010600030101010101" pitchFamily="2" charset="-122"/>
              <a:ea typeface="SimSun" panose="02010600030101010101" pitchFamily="2" charset="-122"/>
            </a:endParaRPr>
          </a:p>
        </p:txBody>
      </p:sp>
      <p:pic>
        <p:nvPicPr>
          <p:cNvPr id="5122" name="Picture 2" descr="Selenium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4733" y="1850593"/>
            <a:ext cx="1309989" cy="118554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https://lh3.googleusercontent.com/Wc2ql6Qyq19zAFodQCP-D7iiBH2ZheQlJB3vqRoV9LpHV14JxLRiDpCF-S-90QT0aIDto8NvnaSdqR2rJD495agvYd9iPk5Mex6Yp5DLK2s_8alWX_oWgPqYags-12hf-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736" y="2776595"/>
            <a:ext cx="2895553" cy="3402915"/>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12605482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latin typeface="SimSun" panose="02010600030101010101" pitchFamily="2" charset="-122"/>
                <a:ea typeface="SimSun" panose="02010600030101010101" pitchFamily="2" charset="-122"/>
              </a:rPr>
              <a:t>Selenium Hub/Grid </a:t>
            </a:r>
            <a:r>
              <a:rPr lang="zh-CN" altLang="en-US" dirty="0" smtClean="0">
                <a:latin typeface="SimSun" panose="02010600030101010101" pitchFamily="2" charset="-122"/>
                <a:ea typeface="SimSun" panose="02010600030101010101" pitchFamily="2" charset="-122"/>
              </a:rPr>
              <a:t>界面</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a:latin typeface="SimSun" panose="02010600030101010101" pitchFamily="2" charset="-122"/>
                <a:ea typeface="SimSun" panose="02010600030101010101" pitchFamily="2" charset="-122"/>
              </a:rPr>
              <a:t>功能自动化测试</a:t>
            </a:r>
            <a:r>
              <a:rPr lang="en-GB" dirty="0" smtClean="0">
                <a:latin typeface="SimSun" panose="02010600030101010101" pitchFamily="2" charset="-122"/>
                <a:ea typeface="SimSun" panose="02010600030101010101" pitchFamily="2" charset="-122"/>
              </a:rPr>
              <a:t>- Selenium</a:t>
            </a:r>
            <a:endParaRPr lang="en-GB" dirty="0">
              <a:latin typeface="SimSun" panose="02010600030101010101" pitchFamily="2" charset="-122"/>
              <a:ea typeface="SimSun" panose="02010600030101010101" pitchFamily="2" charset="-122"/>
            </a:endParaRPr>
          </a:p>
        </p:txBody>
      </p:sp>
      <p:pic>
        <p:nvPicPr>
          <p:cNvPr id="7" name="Picture 6"/>
          <p:cNvPicPr>
            <a:picLocks noChangeAspect="1"/>
          </p:cNvPicPr>
          <p:nvPr/>
        </p:nvPicPr>
        <p:blipFill>
          <a:blip r:embed="rId3"/>
          <a:stretch>
            <a:fillRect/>
          </a:stretch>
        </p:blipFill>
        <p:spPr>
          <a:xfrm>
            <a:off x="496800" y="2060848"/>
            <a:ext cx="8343893" cy="3312368"/>
          </a:xfrm>
          <a:prstGeom prst="rect">
            <a:avLst/>
          </a:prstGeom>
        </p:spPr>
      </p:pic>
      <p:sp>
        <p:nvSpPr>
          <p:cNvPr id="5"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18652257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通过</a:t>
            </a:r>
            <a:r>
              <a:rPr lang="en-GB" altLang="ja-JP" dirty="0" smtClean="0">
                <a:latin typeface="SimSun" panose="02010600030101010101" pitchFamily="2" charset="-122"/>
                <a:ea typeface="SimSun" panose="02010600030101010101" pitchFamily="2" charset="-122"/>
              </a:rPr>
              <a:t>Selenium</a:t>
            </a:r>
            <a:r>
              <a:rPr lang="zh-CN" altLang="en-US" dirty="0" smtClean="0">
                <a:latin typeface="SimSun" panose="02010600030101010101" pitchFamily="2" charset="-122"/>
                <a:ea typeface="SimSun" panose="02010600030101010101" pitchFamily="2" charset="-122"/>
              </a:rPr>
              <a:t>进行安全集成测试</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用于发现漏洞的免费开源的安全工具</a:t>
            </a:r>
            <a:r>
              <a:rPr lang="en-GB" dirty="0" smtClean="0">
                <a:latin typeface="SimSun" panose="02010600030101010101" pitchFamily="2" charset="-122"/>
                <a:ea typeface="SimSun" panose="02010600030101010101" pitchFamily="2" charset="-122"/>
              </a:rPr>
              <a:t>.</a:t>
            </a:r>
          </a:p>
          <a:p>
            <a:endParaRPr lang="en-GB" dirty="0" smtClean="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基于</a:t>
            </a:r>
            <a:r>
              <a:rPr lang="en-GB" altLang="ja-JP" dirty="0" smtClean="0">
                <a:latin typeface="SimSun" panose="02010600030101010101" pitchFamily="2" charset="-122"/>
                <a:ea typeface="SimSun" panose="02010600030101010101" pitchFamily="2" charset="-122"/>
              </a:rPr>
              <a:t>Common </a:t>
            </a:r>
            <a:r>
              <a:rPr lang="en-GB" altLang="ja-JP" dirty="0">
                <a:latin typeface="SimSun" panose="02010600030101010101" pitchFamily="2" charset="-122"/>
                <a:ea typeface="SimSun" panose="02010600030101010101" pitchFamily="2" charset="-122"/>
              </a:rPr>
              <a:t>Vulnerabilities and Exposures (CVE) </a:t>
            </a:r>
            <a:r>
              <a:rPr lang="zh-CN" altLang="en-US" dirty="0">
                <a:latin typeface="SimSun" panose="02010600030101010101" pitchFamily="2" charset="-122"/>
                <a:ea typeface="SimSun" panose="02010600030101010101" pitchFamily="2" charset="-122"/>
              </a:rPr>
              <a:t>数据库</a:t>
            </a:r>
            <a:r>
              <a:rPr lang="zh-CN" altLang="en-US" dirty="0" smtClean="0">
                <a:latin typeface="SimSun" panose="02010600030101010101" pitchFamily="2" charset="-122"/>
                <a:ea typeface="SimSun" panose="02010600030101010101" pitchFamily="2" charset="-122"/>
              </a:rPr>
              <a:t>扫描</a:t>
            </a:r>
            <a:r>
              <a:rPr lang="en-GB" dirty="0" smtClean="0">
                <a:latin typeface="SimSun" panose="02010600030101010101" pitchFamily="2" charset="-122"/>
                <a:ea typeface="SimSun" panose="02010600030101010101" pitchFamily="2" charset="-122"/>
              </a:rPr>
              <a:t> HTTP </a:t>
            </a:r>
            <a:r>
              <a:rPr lang="zh-CN" altLang="en-US" dirty="0" smtClean="0">
                <a:latin typeface="SimSun" panose="02010600030101010101" pitchFamily="2" charset="-122"/>
                <a:ea typeface="SimSun" panose="02010600030101010101" pitchFamily="2" charset="-122"/>
              </a:rPr>
              <a:t>请求</a:t>
            </a:r>
            <a:r>
              <a:rPr lang="en-GB"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响应</a:t>
            </a:r>
            <a:endParaRPr lang="en-GB" dirty="0" smtClean="0">
              <a:latin typeface="SimSun" panose="02010600030101010101" pitchFamily="2" charset="-122"/>
              <a:ea typeface="SimSun" panose="02010600030101010101" pitchFamily="2" charset="-122"/>
            </a:endParaRPr>
          </a:p>
          <a:p>
            <a:pPr lvl="1"/>
            <a:r>
              <a:rPr lang="en-GB" dirty="0" smtClean="0">
                <a:latin typeface="SimSun" panose="02010600030101010101" pitchFamily="2" charset="-122"/>
                <a:ea typeface="SimSun" panose="02010600030101010101" pitchFamily="2" charset="-122"/>
              </a:rPr>
              <a:t>SQL </a:t>
            </a:r>
            <a:r>
              <a:rPr lang="zh-CN" altLang="en-US" dirty="0" smtClean="0">
                <a:latin typeface="SimSun" panose="02010600030101010101" pitchFamily="2" charset="-122"/>
                <a:ea typeface="SimSun" panose="02010600030101010101" pitchFamily="2" charset="-122"/>
              </a:rPr>
              <a:t>注入</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跨站点脚本攻击</a:t>
            </a:r>
            <a:endParaRPr lang="en-GB"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信息泄露</a:t>
            </a:r>
            <a:r>
              <a:rPr lang="en-GB" dirty="0" smtClean="0">
                <a:latin typeface="SimSun" panose="02010600030101010101" pitchFamily="2" charset="-122"/>
                <a:ea typeface="SimSun" panose="02010600030101010101" pitchFamily="2" charset="-122"/>
              </a:rPr>
              <a:t>(</a:t>
            </a:r>
            <a:r>
              <a:rPr lang="zh-CN" altLang="en-US" dirty="0" smtClean="0">
                <a:latin typeface="SimSun" panose="02010600030101010101" pitchFamily="2" charset="-122"/>
                <a:ea typeface="SimSun" panose="02010600030101010101" pitchFamily="2" charset="-122"/>
              </a:rPr>
              <a:t>会话</a:t>
            </a:r>
            <a:r>
              <a:rPr lang="en-GB" dirty="0" smtClean="0">
                <a:latin typeface="SimSun" panose="02010600030101010101" pitchFamily="2" charset="-122"/>
                <a:ea typeface="SimSun" panose="02010600030101010101" pitchFamily="2" charset="-122"/>
              </a:rPr>
              <a:t>IDs</a:t>
            </a:r>
            <a:r>
              <a:rPr lang="zh-CN" altLang="en-US" dirty="0" smtClean="0">
                <a:latin typeface="SimSun" panose="02010600030101010101" pitchFamily="2" charset="-122"/>
                <a:ea typeface="SimSun" panose="02010600030101010101" pitchFamily="2" charset="-122"/>
              </a:rPr>
              <a:t>等</a:t>
            </a:r>
            <a:r>
              <a:rPr lang="en-GB" dirty="0" smtClean="0">
                <a:latin typeface="SimSun" panose="02010600030101010101" pitchFamily="2" charset="-122"/>
                <a:ea typeface="SimSun" panose="02010600030101010101" pitchFamily="2" charset="-122"/>
              </a:rPr>
              <a:t>)</a:t>
            </a:r>
          </a:p>
          <a:p>
            <a:pPr lvl="1"/>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通过拦截代理进行</a:t>
            </a:r>
            <a:r>
              <a:rPr lang="en-GB" altLang="ja-JP" dirty="0" smtClean="0">
                <a:latin typeface="SimSun" panose="02010600030101010101" pitchFamily="2" charset="-122"/>
                <a:ea typeface="SimSun" panose="02010600030101010101" pitchFamily="2" charset="-122"/>
              </a:rPr>
              <a:t>Selenium</a:t>
            </a:r>
            <a:r>
              <a:rPr lang="zh-CN" altLang="en-US" dirty="0" smtClean="0">
                <a:latin typeface="SimSun" panose="02010600030101010101" pitchFamily="2" charset="-122"/>
                <a:ea typeface="SimSun" panose="02010600030101010101" pitchFamily="2" charset="-122"/>
              </a:rPr>
              <a:t>功能测试</a:t>
            </a:r>
            <a:r>
              <a:rPr lang="en-GB" dirty="0" smtClean="0">
                <a:latin typeface="SimSun" panose="02010600030101010101" pitchFamily="2" charset="-122"/>
                <a:ea typeface="SimSun" panose="02010600030101010101" pitchFamily="2" charset="-122"/>
              </a:rPr>
              <a:t>.</a:t>
            </a:r>
          </a:p>
          <a:p>
            <a:endParaRPr lang="en-GB" dirty="0" smtClean="0">
              <a:latin typeface="SimSun" panose="02010600030101010101" pitchFamily="2" charset="-122"/>
              <a:ea typeface="SimSun" panose="02010600030101010101" pitchFamily="2" charset="-122"/>
            </a:endParaRPr>
          </a:p>
          <a:p>
            <a:r>
              <a:rPr lang="zh-CN" altLang="en-US" dirty="0" smtClean="0">
                <a:latin typeface="SimSun" panose="02010600030101010101" pitchFamily="2" charset="-122"/>
                <a:ea typeface="SimSun" panose="02010600030101010101" pitchFamily="2" charset="-122"/>
              </a:rPr>
              <a:t>生成</a:t>
            </a:r>
            <a:r>
              <a:rPr lang="en-GB" dirty="0" smtClean="0">
                <a:latin typeface="SimSun" panose="02010600030101010101" pitchFamily="2" charset="-122"/>
                <a:ea typeface="SimSun" panose="02010600030101010101" pitchFamily="2" charset="-122"/>
              </a:rPr>
              <a:t> XML/HTML </a:t>
            </a:r>
            <a:r>
              <a:rPr lang="zh-CN" altLang="en-US" dirty="0" smtClean="0">
                <a:latin typeface="SimSun" panose="02010600030101010101" pitchFamily="2" charset="-122"/>
                <a:ea typeface="SimSun" panose="02010600030101010101" pitchFamily="2" charset="-122"/>
              </a:rPr>
              <a:t>漏洞报告</a:t>
            </a:r>
            <a:r>
              <a:rPr lang="en-GB" dirty="0" smtClean="0">
                <a:latin typeface="SimSun" panose="02010600030101010101" pitchFamily="2" charset="-122"/>
                <a:ea typeface="SimSun" panose="02010600030101010101" pitchFamily="2" charset="-122"/>
              </a:rPr>
              <a:t>.</a:t>
            </a:r>
          </a:p>
          <a:p>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功能自动化测试</a:t>
            </a:r>
            <a:r>
              <a:rPr lang="en-GB" dirty="0" smtClean="0">
                <a:latin typeface="SimSun" panose="02010600030101010101" pitchFamily="2" charset="-122"/>
                <a:ea typeface="SimSun" panose="02010600030101010101" pitchFamily="2" charset="-122"/>
              </a:rPr>
              <a:t>– OWASP Zed Attack Proxy (ZAP)</a:t>
            </a:r>
            <a:endParaRPr lang="en-GB" dirty="0">
              <a:latin typeface="SimSun" panose="02010600030101010101" pitchFamily="2" charset="-122"/>
              <a:ea typeface="SimSun" panose="02010600030101010101" pitchFamily="2" charset="-122"/>
            </a:endParaRPr>
          </a:p>
        </p:txBody>
      </p:sp>
      <p:pic>
        <p:nvPicPr>
          <p:cNvPr id="1026" name="Picture 2" descr="http://www.chmag.in/system/files/imagecache/200xXX/header_1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6" y="1166781"/>
            <a:ext cx="1152128" cy="1152128"/>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44119829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安全测试</a:t>
            </a:r>
            <a:r>
              <a:rPr lang="en-GB" dirty="0" smtClean="0">
                <a:latin typeface="SimSun" panose="02010600030101010101" pitchFamily="2" charset="-122"/>
                <a:ea typeface="SimSun" panose="02010600030101010101" pitchFamily="2" charset="-122"/>
              </a:rPr>
              <a:t>- ZAP</a:t>
            </a:r>
            <a:r>
              <a:rPr lang="zh-CN" altLang="en-US" dirty="0" smtClean="0">
                <a:latin typeface="SimSun" panose="02010600030101010101" pitchFamily="2" charset="-122"/>
                <a:ea typeface="SimSun" panose="02010600030101010101" pitchFamily="2" charset="-122"/>
              </a:rPr>
              <a:t>报告示例</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a:latin typeface="SimSun" panose="02010600030101010101" pitchFamily="2" charset="-122"/>
                <a:ea typeface="SimSun" panose="02010600030101010101" pitchFamily="2" charset="-122"/>
              </a:rPr>
              <a:t>功能自动化测试</a:t>
            </a:r>
            <a:r>
              <a:rPr lang="en-GB" dirty="0" smtClean="0">
                <a:latin typeface="SimSun" panose="02010600030101010101" pitchFamily="2" charset="-122"/>
                <a:ea typeface="SimSun" panose="02010600030101010101" pitchFamily="2" charset="-122"/>
              </a:rPr>
              <a:t>– OWASP Zed Attack Proxy (ZAP)</a:t>
            </a:r>
            <a:endParaRPr lang="en-GB" dirty="0">
              <a:latin typeface="SimSun" panose="02010600030101010101" pitchFamily="2" charset="-122"/>
              <a:ea typeface="SimSun" panose="02010600030101010101" pitchFamily="2" charset="-122"/>
            </a:endParaRPr>
          </a:p>
        </p:txBody>
      </p:sp>
      <p:pic>
        <p:nvPicPr>
          <p:cNvPr id="1026" name="Picture 2" descr="http://www.chmag.in/system/files/imagecache/200xXX/header_1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0312" y="2636912"/>
            <a:ext cx="1040904" cy="10409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tretch>
            <a:fillRect/>
          </a:stretch>
        </p:blipFill>
        <p:spPr>
          <a:xfrm>
            <a:off x="496801" y="1727126"/>
            <a:ext cx="8191588" cy="4595919"/>
          </a:xfrm>
          <a:prstGeom prst="rect">
            <a:avLst/>
          </a:prstGeom>
        </p:spPr>
      </p:pic>
      <p:sp>
        <p:nvSpPr>
          <p:cNvPr id="6"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84636664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丰富的可选项</a:t>
            </a:r>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可选择的产品</a:t>
            </a:r>
            <a:endParaRPr lang="en-GB" dirty="0">
              <a:latin typeface="SimSun" panose="02010600030101010101" pitchFamily="2" charset="-122"/>
              <a:ea typeface="SimSun" panose="02010600030101010101" pitchFamily="2" charset="-122"/>
            </a:endParaRPr>
          </a:p>
        </p:txBody>
      </p:sp>
      <p:pic>
        <p:nvPicPr>
          <p:cNvPr id="5122" name="Picture 2" descr="Selenium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9926" y="4109581"/>
            <a:ext cx="1905000" cy="1724025"/>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http://blog.qatestlab.com/wp-content/uploads/2011/03/watir-web-app-testing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4868" y="2605597"/>
            <a:ext cx="3116894" cy="1012991"/>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static1.autoit-cdn.com/site/wp-content/themes/TheCorporation/images/logo@2x.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8360" y="3677218"/>
            <a:ext cx="2350535" cy="805898"/>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https://lh6.googleusercontent.com/-6kPAj1PEOiA/AAAAAAAAAAI/AAAAAAAAACI/UbJe2kQ6374/phot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6605" y="2276366"/>
            <a:ext cx="1163588" cy="1163588"/>
          </a:xfrm>
          <a:prstGeom prst="rect">
            <a:avLst/>
          </a:prstGeom>
          <a:noFill/>
          <a:extLst>
            <a:ext uri="{909E8E84-426E-40DD-AFC4-6F175D3DCCD1}">
              <a14:hiddenFill xmlns:a14="http://schemas.microsoft.com/office/drawing/2010/main">
                <a:solidFill>
                  <a:srgbClr val="FFFFFF"/>
                </a:solidFill>
              </a14:hiddenFill>
            </a:ext>
          </a:extLst>
        </p:spPr>
      </p:pic>
      <p:pic>
        <p:nvPicPr>
          <p:cNvPr id="922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72821" y="1647306"/>
            <a:ext cx="1872208" cy="532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7" name="Picture 11" descr="https://pbs.twimg.com/profile_images/3540976963/ccf11950bf0bc7e8bef76a8eb7b5a0f0_400x400.jpe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31735" y="2179507"/>
            <a:ext cx="1001946" cy="10019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www.bryntum.com/wp-content/uploads/2014/09/saucelabs-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71660" y="4094204"/>
            <a:ext cx="2771800" cy="10394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oasta.files.wordpress.com/2012/01/cropped-soasta_logo4.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86872" y="5380483"/>
            <a:ext cx="2571899" cy="571533"/>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3"/>
          </p:nvPr>
        </p:nvSpPr>
        <p:spPr>
          <a:xfrm>
            <a:off x="455613" y="6575425"/>
            <a:ext cx="3600000" cy="128588"/>
          </a:xfrm>
        </p:spPr>
        <p:txBody>
          <a:bodyPr/>
          <a:lstStyle/>
          <a:p>
            <a:pPr algn="l"/>
            <a:r>
              <a:rPr lang="en-US" altLang="en-US" dirty="0"/>
              <a:t>Copyright © </a:t>
            </a:r>
            <a:r>
              <a:rPr lang="en-US" altLang="en-US" dirty="0" smtClean="0"/>
              <a:t>201</a:t>
            </a:r>
            <a:r>
              <a:rPr lang="en-US" altLang="zh-CN" dirty="0" smtClean="0"/>
              <a:t>6</a:t>
            </a:r>
            <a:r>
              <a:rPr lang="en-US" altLang="en-US" dirty="0" smtClean="0"/>
              <a:t> </a:t>
            </a:r>
            <a:r>
              <a:rPr lang="en-US" altLang="en-US" dirty="0"/>
              <a:t>Accenture  </a:t>
            </a:r>
            <a:r>
              <a:rPr lang="en-US" altLang="en-US" dirty="0" smtClean="0"/>
              <a:t>All rights </a:t>
            </a:r>
            <a:r>
              <a:rPr lang="en-US" altLang="en-US" dirty="0"/>
              <a:t>r</a:t>
            </a:r>
            <a:r>
              <a:rPr lang="en-US" altLang="en-US" dirty="0" smtClean="0"/>
              <a:t>eserved</a:t>
            </a:r>
            <a:r>
              <a:rPr lang="en-US" altLang="en-US" dirty="0"/>
              <a:t>.  </a:t>
            </a:r>
          </a:p>
        </p:txBody>
      </p:sp>
    </p:spTree>
    <p:extLst>
      <p:ext uri="{BB962C8B-B14F-4D97-AF65-F5344CB8AC3E}">
        <p14:creationId xmlns:p14="http://schemas.microsoft.com/office/powerpoint/2010/main" val="41016842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11656"/>
          <a:stretch/>
        </p:blipFill>
        <p:spPr>
          <a:xfrm>
            <a:off x="0" y="1"/>
            <a:ext cx="9144000" cy="6857998"/>
          </a:xfrm>
          <a:prstGeom prst="rect">
            <a:avLst/>
          </a:prstGeom>
        </p:spPr>
      </p:pic>
      <p:sp>
        <p:nvSpPr>
          <p:cNvPr id="5" name="Rectangle 4"/>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ctrTitle"/>
          </p:nvPr>
        </p:nvSpPr>
        <p:spPr>
          <a:xfrm>
            <a:off x="455613" y="1185332"/>
            <a:ext cx="8232775" cy="724959"/>
          </a:xfrm>
        </p:spPr>
        <p:txBody>
          <a:bodyPr/>
          <a:lstStyle/>
          <a:p>
            <a:r>
              <a:rPr lang="en-GB" b="1" dirty="0" smtClean="0">
                <a:latin typeface="SimSun" panose="02010600030101010101" pitchFamily="2" charset="-122"/>
                <a:ea typeface="SimSun" panose="02010600030101010101" pitchFamily="2" charset="-122"/>
              </a:rPr>
              <a:t>DevOps</a:t>
            </a:r>
            <a:r>
              <a:rPr lang="zh-CN" altLang="en-US" dirty="0" smtClean="0">
                <a:latin typeface="SimSun" panose="02010600030101010101" pitchFamily="2" charset="-122"/>
                <a:ea typeface="SimSun" panose="02010600030101010101" pitchFamily="2" charset="-122"/>
              </a:rPr>
              <a:t>核心概念</a:t>
            </a:r>
            <a:endParaRPr lang="en-US" dirty="0">
              <a:latin typeface="SimSun" panose="02010600030101010101" pitchFamily="2" charset="-122"/>
              <a:ea typeface="SimSun" panose="02010600030101010101" pitchFamily="2" charset="-122"/>
            </a:endParaRPr>
          </a:p>
        </p:txBody>
      </p:sp>
      <p:sp>
        <p:nvSpPr>
          <p:cNvPr id="2" name="Footer Placeholder 1"/>
          <p:cNvSpPr>
            <a:spLocks noGrp="1"/>
          </p:cNvSpPr>
          <p:nvPr>
            <p:ph type="ftr" sz="quarter" idx="10"/>
          </p:nvPr>
        </p:nvSpPr>
        <p:spPr/>
        <p:txBody>
          <a:bodyPr/>
          <a:lstStyle/>
          <a:p>
            <a:r>
              <a:rPr lang="en-US" dirty="0" smtClean="0"/>
              <a:t>Copyright © 201</a:t>
            </a:r>
            <a:r>
              <a:rPr lang="en-US" altLang="zh-CN" dirty="0" smtClean="0"/>
              <a:t>6</a:t>
            </a:r>
            <a:r>
              <a:rPr lang="en-US" dirty="0" smtClean="0"/>
              <a:t> Accenture  All rights reserved.</a:t>
            </a:r>
            <a:endParaRPr lang="en-US" dirty="0"/>
          </a:p>
        </p:txBody>
      </p:sp>
      <p:sp>
        <p:nvSpPr>
          <p:cNvPr id="7" name="Title 5"/>
          <p:cNvSpPr txBox="1">
            <a:spLocks/>
          </p:cNvSpPr>
          <p:nvPr/>
        </p:nvSpPr>
        <p:spPr>
          <a:xfrm>
            <a:off x="629183" y="4198394"/>
            <a:ext cx="2073098" cy="648246"/>
          </a:xfrm>
          <a:prstGeom prst="rect">
            <a:avLst/>
          </a:prstGeom>
        </p:spPr>
        <p:txBody>
          <a:bodyPr vert="horz" lIns="0" tIns="0" rIns="0" bIns="0" rtlCol="0" anchor="b"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bg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dirty="0" smtClean="0">
                <a:latin typeface="SimSun" panose="02010600030101010101" pitchFamily="2" charset="-122"/>
                <a:ea typeface="SimSun" panose="02010600030101010101" pitchFamily="2" charset="-122"/>
              </a:rPr>
              <a:t>云技术</a:t>
            </a:r>
            <a:endParaRPr lang="en-US" dirty="0">
              <a:latin typeface="SimSun" panose="02010600030101010101" pitchFamily="2" charset="-122"/>
              <a:ea typeface="SimSun" panose="02010600030101010101" pitchFamily="2" charset="-122"/>
            </a:endParaRPr>
          </a:p>
        </p:txBody>
      </p:sp>
      <p:sp>
        <p:nvSpPr>
          <p:cNvPr id="8" name="Oval 7"/>
          <p:cNvSpPr/>
          <p:nvPr/>
        </p:nvSpPr>
        <p:spPr>
          <a:xfrm>
            <a:off x="656371" y="3050321"/>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Freeform 6"/>
          <p:cNvSpPr>
            <a:spLocks noEditPoints="1"/>
          </p:cNvSpPr>
          <p:nvPr/>
        </p:nvSpPr>
        <p:spPr bwMode="auto">
          <a:xfrm>
            <a:off x="802752" y="3268714"/>
            <a:ext cx="637843" cy="442912"/>
          </a:xfrm>
          <a:custGeom>
            <a:avLst/>
            <a:gdLst>
              <a:gd name="T0" fmla="*/ 180 w 219"/>
              <a:gd name="T1" fmla="*/ 51 h 152"/>
              <a:gd name="T2" fmla="*/ 176 w 219"/>
              <a:gd name="T3" fmla="*/ 50 h 152"/>
              <a:gd name="T4" fmla="*/ 175 w 219"/>
              <a:gd name="T5" fmla="*/ 46 h 152"/>
              <a:gd name="T6" fmla="*/ 117 w 219"/>
              <a:gd name="T7" fmla="*/ 0 h 152"/>
              <a:gd name="T8" fmla="*/ 60 w 219"/>
              <a:gd name="T9" fmla="*/ 44 h 152"/>
              <a:gd name="T10" fmla="*/ 59 w 219"/>
              <a:gd name="T11" fmla="*/ 50 h 152"/>
              <a:gd name="T12" fmla="*/ 53 w 219"/>
              <a:gd name="T13" fmla="*/ 50 h 152"/>
              <a:gd name="T14" fmla="*/ 52 w 219"/>
              <a:gd name="T15" fmla="*/ 49 h 152"/>
              <a:gd name="T16" fmla="*/ 49 w 219"/>
              <a:gd name="T17" fmla="*/ 49 h 152"/>
              <a:gd name="T18" fmla="*/ 0 w 219"/>
              <a:gd name="T19" fmla="*/ 101 h 152"/>
              <a:gd name="T20" fmla="*/ 51 w 219"/>
              <a:gd name="T21" fmla="*/ 152 h 152"/>
              <a:gd name="T22" fmla="*/ 71 w 219"/>
              <a:gd name="T23" fmla="*/ 152 h 152"/>
              <a:gd name="T24" fmla="*/ 74 w 219"/>
              <a:gd name="T25" fmla="*/ 152 h 152"/>
              <a:gd name="T26" fmla="*/ 77 w 219"/>
              <a:gd name="T27" fmla="*/ 152 h 152"/>
              <a:gd name="T28" fmla="*/ 77 w 219"/>
              <a:gd name="T29" fmla="*/ 152 h 152"/>
              <a:gd name="T30" fmla="*/ 176 w 219"/>
              <a:gd name="T31" fmla="*/ 152 h 152"/>
              <a:gd name="T32" fmla="*/ 200 w 219"/>
              <a:gd name="T33" fmla="*/ 141 h 152"/>
              <a:gd name="T34" fmla="*/ 219 w 219"/>
              <a:gd name="T35" fmla="*/ 101 h 152"/>
              <a:gd name="T36" fmla="*/ 180 w 219"/>
              <a:gd name="T37" fmla="*/ 51 h 152"/>
              <a:gd name="T38" fmla="*/ 189 w 219"/>
              <a:gd name="T39" fmla="*/ 128 h 152"/>
              <a:gd name="T40" fmla="*/ 176 w 219"/>
              <a:gd name="T41" fmla="*/ 135 h 152"/>
              <a:gd name="T42" fmla="*/ 84 w 219"/>
              <a:gd name="T43" fmla="*/ 135 h 152"/>
              <a:gd name="T44" fmla="*/ 84 w 219"/>
              <a:gd name="T45" fmla="*/ 135 h 152"/>
              <a:gd name="T46" fmla="*/ 76 w 219"/>
              <a:gd name="T47" fmla="*/ 135 h 152"/>
              <a:gd name="T48" fmla="*/ 71 w 219"/>
              <a:gd name="T49" fmla="*/ 135 h 152"/>
              <a:gd name="T50" fmla="*/ 51 w 219"/>
              <a:gd name="T51" fmla="*/ 135 h 152"/>
              <a:gd name="T52" fmla="*/ 17 w 219"/>
              <a:gd name="T53" fmla="*/ 101 h 152"/>
              <a:gd name="T54" fmla="*/ 50 w 219"/>
              <a:gd name="T55" fmla="*/ 67 h 152"/>
              <a:gd name="T56" fmla="*/ 53 w 219"/>
              <a:gd name="T57" fmla="*/ 67 h 152"/>
              <a:gd name="T58" fmla="*/ 72 w 219"/>
              <a:gd name="T59" fmla="*/ 67 h 152"/>
              <a:gd name="T60" fmla="*/ 77 w 219"/>
              <a:gd name="T61" fmla="*/ 49 h 152"/>
              <a:gd name="T62" fmla="*/ 117 w 219"/>
              <a:gd name="T63" fmla="*/ 17 h 152"/>
              <a:gd name="T64" fmla="*/ 158 w 219"/>
              <a:gd name="T65" fmla="*/ 50 h 152"/>
              <a:gd name="T66" fmla="*/ 161 w 219"/>
              <a:gd name="T67" fmla="*/ 64 h 152"/>
              <a:gd name="T68" fmla="*/ 176 w 219"/>
              <a:gd name="T69" fmla="*/ 68 h 152"/>
              <a:gd name="T70" fmla="*/ 202 w 219"/>
              <a:gd name="T71" fmla="*/ 101 h 152"/>
              <a:gd name="T72" fmla="*/ 189 w 219"/>
              <a:gd name="T73" fmla="*/ 12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9" h="152">
                <a:moveTo>
                  <a:pt x="180" y="51"/>
                </a:moveTo>
                <a:cubicBezTo>
                  <a:pt x="176" y="50"/>
                  <a:pt x="176" y="50"/>
                  <a:pt x="176" y="50"/>
                </a:cubicBezTo>
                <a:cubicBezTo>
                  <a:pt x="175" y="46"/>
                  <a:pt x="175" y="46"/>
                  <a:pt x="175" y="46"/>
                </a:cubicBezTo>
                <a:cubicBezTo>
                  <a:pt x="168" y="19"/>
                  <a:pt x="145" y="0"/>
                  <a:pt x="117" y="0"/>
                </a:cubicBezTo>
                <a:cubicBezTo>
                  <a:pt x="90" y="0"/>
                  <a:pt x="67" y="18"/>
                  <a:pt x="60" y="44"/>
                </a:cubicBezTo>
                <a:cubicBezTo>
                  <a:pt x="59" y="50"/>
                  <a:pt x="59" y="50"/>
                  <a:pt x="59" y="50"/>
                </a:cubicBezTo>
                <a:cubicBezTo>
                  <a:pt x="53" y="50"/>
                  <a:pt x="53" y="50"/>
                  <a:pt x="53" y="50"/>
                </a:cubicBezTo>
                <a:cubicBezTo>
                  <a:pt x="53" y="50"/>
                  <a:pt x="52" y="49"/>
                  <a:pt x="52" y="49"/>
                </a:cubicBezTo>
                <a:cubicBezTo>
                  <a:pt x="51" y="49"/>
                  <a:pt x="50" y="49"/>
                  <a:pt x="49" y="49"/>
                </a:cubicBezTo>
                <a:cubicBezTo>
                  <a:pt x="22" y="50"/>
                  <a:pt x="0" y="73"/>
                  <a:pt x="0" y="101"/>
                </a:cubicBezTo>
                <a:cubicBezTo>
                  <a:pt x="0" y="129"/>
                  <a:pt x="23" y="152"/>
                  <a:pt x="51" y="152"/>
                </a:cubicBezTo>
                <a:cubicBezTo>
                  <a:pt x="63" y="152"/>
                  <a:pt x="69" y="152"/>
                  <a:pt x="71" y="152"/>
                </a:cubicBezTo>
                <a:cubicBezTo>
                  <a:pt x="74" y="152"/>
                  <a:pt x="74" y="152"/>
                  <a:pt x="74" y="152"/>
                </a:cubicBezTo>
                <a:cubicBezTo>
                  <a:pt x="77" y="152"/>
                  <a:pt x="77" y="152"/>
                  <a:pt x="77" y="152"/>
                </a:cubicBezTo>
                <a:cubicBezTo>
                  <a:pt x="77" y="152"/>
                  <a:pt x="77" y="152"/>
                  <a:pt x="77" y="152"/>
                </a:cubicBezTo>
                <a:cubicBezTo>
                  <a:pt x="176" y="152"/>
                  <a:pt x="176" y="152"/>
                  <a:pt x="176" y="152"/>
                </a:cubicBezTo>
                <a:cubicBezTo>
                  <a:pt x="177" y="152"/>
                  <a:pt x="189" y="151"/>
                  <a:pt x="200" y="141"/>
                </a:cubicBezTo>
                <a:cubicBezTo>
                  <a:pt x="212" y="131"/>
                  <a:pt x="219" y="117"/>
                  <a:pt x="219" y="101"/>
                </a:cubicBezTo>
                <a:cubicBezTo>
                  <a:pt x="219" y="77"/>
                  <a:pt x="203" y="57"/>
                  <a:pt x="180" y="51"/>
                </a:cubicBezTo>
                <a:close/>
                <a:moveTo>
                  <a:pt x="189" y="128"/>
                </a:moveTo>
                <a:cubicBezTo>
                  <a:pt x="182" y="134"/>
                  <a:pt x="176" y="135"/>
                  <a:pt x="176" y="135"/>
                </a:cubicBezTo>
                <a:cubicBezTo>
                  <a:pt x="84" y="135"/>
                  <a:pt x="84" y="135"/>
                  <a:pt x="84" y="135"/>
                </a:cubicBezTo>
                <a:cubicBezTo>
                  <a:pt x="84" y="135"/>
                  <a:pt x="84" y="135"/>
                  <a:pt x="84" y="135"/>
                </a:cubicBezTo>
                <a:cubicBezTo>
                  <a:pt x="76" y="135"/>
                  <a:pt x="76" y="135"/>
                  <a:pt x="76" y="135"/>
                </a:cubicBezTo>
                <a:cubicBezTo>
                  <a:pt x="74" y="135"/>
                  <a:pt x="72" y="135"/>
                  <a:pt x="71" y="135"/>
                </a:cubicBezTo>
                <a:cubicBezTo>
                  <a:pt x="51" y="135"/>
                  <a:pt x="51" y="135"/>
                  <a:pt x="51" y="135"/>
                </a:cubicBezTo>
                <a:cubicBezTo>
                  <a:pt x="32" y="135"/>
                  <a:pt x="17" y="120"/>
                  <a:pt x="17" y="101"/>
                </a:cubicBezTo>
                <a:cubicBezTo>
                  <a:pt x="17" y="83"/>
                  <a:pt x="32" y="67"/>
                  <a:pt x="50" y="67"/>
                </a:cubicBezTo>
                <a:cubicBezTo>
                  <a:pt x="51" y="67"/>
                  <a:pt x="52" y="67"/>
                  <a:pt x="53" y="67"/>
                </a:cubicBezTo>
                <a:cubicBezTo>
                  <a:pt x="72" y="67"/>
                  <a:pt x="72" y="67"/>
                  <a:pt x="72" y="67"/>
                </a:cubicBezTo>
                <a:cubicBezTo>
                  <a:pt x="77" y="49"/>
                  <a:pt x="77" y="49"/>
                  <a:pt x="77" y="49"/>
                </a:cubicBezTo>
                <a:cubicBezTo>
                  <a:pt x="82" y="30"/>
                  <a:pt x="98" y="17"/>
                  <a:pt x="117" y="17"/>
                </a:cubicBezTo>
                <a:cubicBezTo>
                  <a:pt x="137" y="17"/>
                  <a:pt x="153" y="30"/>
                  <a:pt x="158" y="50"/>
                </a:cubicBezTo>
                <a:cubicBezTo>
                  <a:pt x="161" y="64"/>
                  <a:pt x="161" y="64"/>
                  <a:pt x="161" y="64"/>
                </a:cubicBezTo>
                <a:cubicBezTo>
                  <a:pt x="176" y="68"/>
                  <a:pt x="176" y="68"/>
                  <a:pt x="176" y="68"/>
                </a:cubicBezTo>
                <a:cubicBezTo>
                  <a:pt x="191" y="72"/>
                  <a:pt x="202" y="85"/>
                  <a:pt x="202" y="101"/>
                </a:cubicBezTo>
                <a:cubicBezTo>
                  <a:pt x="202" y="112"/>
                  <a:pt x="197" y="121"/>
                  <a:pt x="189" y="1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9434089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11656"/>
          <a:stretch/>
        </p:blipFill>
        <p:spPr>
          <a:xfrm>
            <a:off x="0" y="1"/>
            <a:ext cx="9144000" cy="6857998"/>
          </a:xfrm>
          <a:prstGeom prst="rect">
            <a:avLst/>
          </a:prstGeom>
        </p:spPr>
      </p:pic>
      <p:sp>
        <p:nvSpPr>
          <p:cNvPr id="5" name="Rectangle 4"/>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p:cNvSpPr>
            <a:spLocks noGrp="1"/>
          </p:cNvSpPr>
          <p:nvPr>
            <p:ph type="ftr" sz="quarter" idx="10"/>
          </p:nvPr>
        </p:nvSpPr>
        <p:spPr/>
        <p:txBody>
          <a:bodyPr/>
          <a:lstStyle/>
          <a:p>
            <a:r>
              <a:rPr lang="en-US" dirty="0" smtClean="0"/>
              <a:t>Copyright © 201</a:t>
            </a:r>
            <a:r>
              <a:rPr lang="en-US" altLang="zh-CN" dirty="0" smtClean="0"/>
              <a:t>6</a:t>
            </a:r>
            <a:r>
              <a:rPr lang="en-US" dirty="0" smtClean="0"/>
              <a:t> Accenture  All rights reserved.</a:t>
            </a:r>
            <a:endParaRPr lang="en-US" dirty="0"/>
          </a:p>
        </p:txBody>
      </p:sp>
      <p:sp>
        <p:nvSpPr>
          <p:cNvPr id="7" name="Title 5"/>
          <p:cNvSpPr txBox="1">
            <a:spLocks/>
          </p:cNvSpPr>
          <p:nvPr/>
        </p:nvSpPr>
        <p:spPr>
          <a:xfrm>
            <a:off x="629183" y="4198393"/>
            <a:ext cx="6403796" cy="1208985"/>
          </a:xfrm>
          <a:prstGeom prst="rect">
            <a:avLst/>
          </a:prstGeom>
        </p:spPr>
        <p:txBody>
          <a:bodyPr vert="horz" lIns="0" tIns="0" rIns="0" bIns="0" rtlCol="0" anchor="b"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bg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dirty="0" smtClean="0">
                <a:latin typeface="SimSun" panose="02010600030101010101" pitchFamily="2" charset="-122"/>
                <a:ea typeface="SimSun" panose="02010600030101010101" pitchFamily="2" charset="-122"/>
              </a:rPr>
              <a:t>持续集成</a:t>
            </a:r>
            <a:endParaRPr lang="en-US" altLang="zh-CN" dirty="0" smtClean="0">
              <a:latin typeface="SimSun" panose="02010600030101010101" pitchFamily="2" charset="-122"/>
              <a:ea typeface="SimSun" panose="02010600030101010101" pitchFamily="2" charset="-122"/>
            </a:endParaRPr>
          </a:p>
          <a:p>
            <a:r>
              <a:rPr lang="zh-CN" altLang="en-US" dirty="0">
                <a:latin typeface="SimSun" panose="02010600030101010101" pitchFamily="2" charset="-122"/>
                <a:ea typeface="SimSun" panose="02010600030101010101" pitchFamily="2" charset="-122"/>
              </a:rPr>
              <a:t>持续交付</a:t>
            </a:r>
            <a:endParaRPr lang="en-US" dirty="0">
              <a:latin typeface="SimSun" panose="02010600030101010101" pitchFamily="2" charset="-122"/>
              <a:ea typeface="SimSun" panose="02010600030101010101" pitchFamily="2" charset="-122"/>
            </a:endParaRPr>
          </a:p>
        </p:txBody>
      </p:sp>
      <p:sp>
        <p:nvSpPr>
          <p:cNvPr id="18" name="Oval 17"/>
          <p:cNvSpPr/>
          <p:nvPr/>
        </p:nvSpPr>
        <p:spPr>
          <a:xfrm>
            <a:off x="625961" y="3048250"/>
            <a:ext cx="941347"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9" name="Group 18"/>
          <p:cNvGrpSpPr/>
          <p:nvPr/>
        </p:nvGrpSpPr>
        <p:grpSpPr>
          <a:xfrm>
            <a:off x="773215" y="3232623"/>
            <a:ext cx="646838" cy="560934"/>
            <a:chOff x="6226176" y="2386013"/>
            <a:chExt cx="920750" cy="650875"/>
          </a:xfrm>
          <a:solidFill>
            <a:schemeClr val="accent1"/>
          </a:solidFill>
        </p:grpSpPr>
        <p:sp>
          <p:nvSpPr>
            <p:cNvPr id="20" name="Freeform 6"/>
            <p:cNvSpPr>
              <a:spLocks/>
            </p:cNvSpPr>
            <p:nvPr/>
          </p:nvSpPr>
          <p:spPr bwMode="auto">
            <a:xfrm>
              <a:off x="6226176" y="2386013"/>
              <a:ext cx="668338" cy="650875"/>
            </a:xfrm>
            <a:custGeom>
              <a:avLst/>
              <a:gdLst>
                <a:gd name="T0" fmla="*/ 505 w 505"/>
                <a:gd name="T1" fmla="*/ 354 h 491"/>
                <a:gd name="T2" fmla="*/ 451 w 505"/>
                <a:gd name="T3" fmla="*/ 213 h 491"/>
                <a:gd name="T4" fmla="*/ 356 w 505"/>
                <a:gd name="T5" fmla="*/ 331 h 491"/>
                <a:gd name="T6" fmla="*/ 389 w 505"/>
                <a:gd name="T7" fmla="*/ 336 h 491"/>
                <a:gd name="T8" fmla="*/ 246 w 505"/>
                <a:gd name="T9" fmla="*/ 415 h 491"/>
                <a:gd name="T10" fmla="*/ 76 w 505"/>
                <a:gd name="T11" fmla="*/ 245 h 491"/>
                <a:gd name="T12" fmla="*/ 246 w 505"/>
                <a:gd name="T13" fmla="*/ 76 h 491"/>
                <a:gd name="T14" fmla="*/ 246 w 505"/>
                <a:gd name="T15" fmla="*/ 0 h 491"/>
                <a:gd name="T16" fmla="*/ 0 w 505"/>
                <a:gd name="T17" fmla="*/ 245 h 491"/>
                <a:gd name="T18" fmla="*/ 246 w 505"/>
                <a:gd name="T19" fmla="*/ 491 h 491"/>
                <a:gd name="T20" fmla="*/ 468 w 505"/>
                <a:gd name="T21" fmla="*/ 349 h 491"/>
                <a:gd name="T22" fmla="*/ 505 w 505"/>
                <a:gd name="T23" fmla="*/ 35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505" y="354"/>
                  </a:moveTo>
                  <a:cubicBezTo>
                    <a:pt x="451" y="213"/>
                    <a:pt x="451" y="213"/>
                    <a:pt x="451" y="213"/>
                  </a:cubicBezTo>
                  <a:cubicBezTo>
                    <a:pt x="356" y="331"/>
                    <a:pt x="356" y="331"/>
                    <a:pt x="356" y="331"/>
                  </a:cubicBezTo>
                  <a:cubicBezTo>
                    <a:pt x="389" y="336"/>
                    <a:pt x="389" y="336"/>
                    <a:pt x="389" y="336"/>
                  </a:cubicBezTo>
                  <a:cubicBezTo>
                    <a:pt x="358" y="385"/>
                    <a:pt x="305" y="415"/>
                    <a:pt x="246" y="415"/>
                  </a:cubicBezTo>
                  <a:cubicBezTo>
                    <a:pt x="152" y="415"/>
                    <a:pt x="76" y="339"/>
                    <a:pt x="76" y="245"/>
                  </a:cubicBezTo>
                  <a:cubicBezTo>
                    <a:pt x="76" y="152"/>
                    <a:pt x="152" y="76"/>
                    <a:pt x="246" y="76"/>
                  </a:cubicBezTo>
                  <a:cubicBezTo>
                    <a:pt x="246" y="0"/>
                    <a:pt x="246" y="0"/>
                    <a:pt x="246" y="0"/>
                  </a:cubicBezTo>
                  <a:cubicBezTo>
                    <a:pt x="110" y="0"/>
                    <a:pt x="0" y="110"/>
                    <a:pt x="0" y="245"/>
                  </a:cubicBezTo>
                  <a:cubicBezTo>
                    <a:pt x="0" y="380"/>
                    <a:pt x="110" y="491"/>
                    <a:pt x="246" y="491"/>
                  </a:cubicBezTo>
                  <a:cubicBezTo>
                    <a:pt x="342" y="491"/>
                    <a:pt x="428" y="435"/>
                    <a:pt x="468" y="349"/>
                  </a:cubicBezTo>
                  <a:lnTo>
                    <a:pt x="505"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p:nvSpPr>
          <p:spPr bwMode="auto">
            <a:xfrm>
              <a:off x="6478588" y="2386013"/>
              <a:ext cx="668338" cy="650875"/>
            </a:xfrm>
            <a:custGeom>
              <a:avLst/>
              <a:gdLst>
                <a:gd name="T0" fmla="*/ 260 w 505"/>
                <a:gd name="T1" fmla="*/ 0 h 491"/>
                <a:gd name="T2" fmla="*/ 37 w 505"/>
                <a:gd name="T3" fmla="*/ 142 h 491"/>
                <a:gd name="T4" fmla="*/ 0 w 505"/>
                <a:gd name="T5" fmla="*/ 136 h 491"/>
                <a:gd name="T6" fmla="*/ 55 w 505"/>
                <a:gd name="T7" fmla="*/ 277 h 491"/>
                <a:gd name="T8" fmla="*/ 150 w 505"/>
                <a:gd name="T9" fmla="*/ 159 h 491"/>
                <a:gd name="T10" fmla="*/ 117 w 505"/>
                <a:gd name="T11" fmla="*/ 154 h 491"/>
                <a:gd name="T12" fmla="*/ 260 w 505"/>
                <a:gd name="T13" fmla="*/ 76 h 491"/>
                <a:gd name="T14" fmla="*/ 429 w 505"/>
                <a:gd name="T15" fmla="*/ 245 h 491"/>
                <a:gd name="T16" fmla="*/ 260 w 505"/>
                <a:gd name="T17" fmla="*/ 415 h 491"/>
                <a:gd name="T18" fmla="*/ 260 w 505"/>
                <a:gd name="T19" fmla="*/ 491 h 491"/>
                <a:gd name="T20" fmla="*/ 505 w 505"/>
                <a:gd name="T21" fmla="*/ 245 h 491"/>
                <a:gd name="T22" fmla="*/ 260 w 505"/>
                <a:gd name="T23"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260" y="0"/>
                  </a:moveTo>
                  <a:cubicBezTo>
                    <a:pt x="163" y="0"/>
                    <a:pt x="77" y="55"/>
                    <a:pt x="37" y="142"/>
                  </a:cubicBezTo>
                  <a:cubicBezTo>
                    <a:pt x="0" y="136"/>
                    <a:pt x="0" y="136"/>
                    <a:pt x="0" y="136"/>
                  </a:cubicBezTo>
                  <a:cubicBezTo>
                    <a:pt x="55" y="277"/>
                    <a:pt x="55" y="277"/>
                    <a:pt x="55" y="277"/>
                  </a:cubicBezTo>
                  <a:cubicBezTo>
                    <a:pt x="150" y="159"/>
                    <a:pt x="150" y="159"/>
                    <a:pt x="150" y="159"/>
                  </a:cubicBezTo>
                  <a:cubicBezTo>
                    <a:pt x="117" y="154"/>
                    <a:pt x="117" y="154"/>
                    <a:pt x="117" y="154"/>
                  </a:cubicBezTo>
                  <a:cubicBezTo>
                    <a:pt x="147" y="106"/>
                    <a:pt x="201" y="76"/>
                    <a:pt x="260" y="76"/>
                  </a:cubicBezTo>
                  <a:cubicBezTo>
                    <a:pt x="353" y="76"/>
                    <a:pt x="429" y="152"/>
                    <a:pt x="429" y="245"/>
                  </a:cubicBezTo>
                  <a:cubicBezTo>
                    <a:pt x="429" y="339"/>
                    <a:pt x="353" y="415"/>
                    <a:pt x="260" y="415"/>
                  </a:cubicBezTo>
                  <a:cubicBezTo>
                    <a:pt x="260" y="491"/>
                    <a:pt x="260" y="491"/>
                    <a:pt x="260" y="491"/>
                  </a:cubicBezTo>
                  <a:cubicBezTo>
                    <a:pt x="395" y="491"/>
                    <a:pt x="505" y="380"/>
                    <a:pt x="505" y="245"/>
                  </a:cubicBezTo>
                  <a:cubicBezTo>
                    <a:pt x="505" y="110"/>
                    <a:pt x="395" y="0"/>
                    <a:pt x="2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Title 5"/>
          <p:cNvSpPr txBox="1">
            <a:spLocks/>
          </p:cNvSpPr>
          <p:nvPr/>
        </p:nvSpPr>
        <p:spPr>
          <a:xfrm>
            <a:off x="608013" y="1337732"/>
            <a:ext cx="8232775" cy="724959"/>
          </a:xfrm>
          <a:prstGeom prst="rect">
            <a:avLst/>
          </a:prstGeom>
        </p:spPr>
        <p:txBody>
          <a:bodyPr vert="horz" lIns="0" tIns="0" rIns="0" bIns="0" rtlCol="0" anchor="b"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bg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GB" b="1" smtClean="0">
                <a:latin typeface="SimSun" panose="02010600030101010101" pitchFamily="2" charset="-122"/>
                <a:ea typeface="SimSun" panose="02010600030101010101" pitchFamily="2" charset="-122"/>
              </a:rPr>
              <a:t>DevOps</a:t>
            </a:r>
            <a:r>
              <a:rPr lang="zh-CN" altLang="en-US" smtClean="0">
                <a:latin typeface="SimSun" panose="02010600030101010101" pitchFamily="2" charset="-122"/>
                <a:ea typeface="SimSun" panose="02010600030101010101" pitchFamily="2" charset="-122"/>
              </a:rPr>
              <a:t>核心概念</a:t>
            </a:r>
            <a:endParaRPr lang="en-US"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31743964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614" y="116205"/>
            <a:ext cx="4963054" cy="1002979"/>
          </a:xfrm>
        </p:spPr>
        <p:txBody>
          <a:bodyPr/>
          <a:lstStyle/>
          <a:p>
            <a:r>
              <a:rPr lang="zh-CN" altLang="en-US" dirty="0" smtClean="0">
                <a:latin typeface="SimSun" panose="02010600030101010101" pitchFamily="2" charset="-122"/>
                <a:ea typeface="SimSun" panose="02010600030101010101" pitchFamily="2" charset="-122"/>
              </a:rPr>
              <a:t>持续集成的定义来自哪里</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a:xfrm>
            <a:off x="455614" y="1182021"/>
            <a:ext cx="5121098" cy="396000"/>
          </a:xfrm>
        </p:spPr>
        <p:txBody>
          <a:bodyPr/>
          <a:lstStyle/>
          <a:p>
            <a:r>
              <a:rPr lang="zh-CN" altLang="en-US" dirty="0" smtClean="0">
                <a:latin typeface="SimSun" panose="02010600030101010101" pitchFamily="2" charset="-122"/>
                <a:ea typeface="SimSun" panose="02010600030101010101" pitchFamily="2" charset="-122"/>
              </a:rPr>
              <a:t>持续集成的定义</a:t>
            </a:r>
            <a:endParaRPr lang="en-US" altLang="zh-CN" dirty="0" smtClean="0">
              <a:latin typeface="SimSun" panose="02010600030101010101" pitchFamily="2" charset="-122"/>
              <a:ea typeface="SimSun" panose="02010600030101010101" pitchFamily="2" charset="-122"/>
            </a:endParaRPr>
          </a:p>
        </p:txBody>
      </p:sp>
      <p:sp>
        <p:nvSpPr>
          <p:cNvPr id="17" name="Rectangle 16"/>
          <p:cNvSpPr/>
          <p:nvPr/>
        </p:nvSpPr>
        <p:spPr>
          <a:xfrm flipH="1">
            <a:off x="455878" y="1798637"/>
            <a:ext cx="6696134" cy="4535488"/>
          </a:xfrm>
          <a:prstGeom prst="rect">
            <a:avLst/>
          </a:prstGeom>
          <a:solidFill>
            <a:schemeClr val="accent4"/>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72000" rIns="1512000" rtlCol="0" anchor="ctr"/>
          <a:lstStyle/>
          <a:p>
            <a:pPr>
              <a:spcBef>
                <a:spcPts val="1200"/>
              </a:spcBef>
            </a:pPr>
            <a:r>
              <a:rPr lang="zh-CN" altLang="en-US" dirty="0" smtClean="0">
                <a:solidFill>
                  <a:schemeClr val="accent5"/>
                </a:solidFill>
                <a:latin typeface="SimSun" panose="02010600030101010101" pitchFamily="2" charset="-122"/>
                <a:ea typeface="SimSun" panose="02010600030101010101" pitchFamily="2" charset="-122"/>
              </a:rPr>
              <a:t>持续集成是一种软件开发</a:t>
            </a:r>
            <a:r>
              <a:rPr lang="zh-CN" altLang="en-US" dirty="0">
                <a:solidFill>
                  <a:schemeClr val="accent5"/>
                </a:solidFill>
                <a:latin typeface="SimSun" panose="02010600030101010101" pitchFamily="2" charset="-122"/>
                <a:ea typeface="SimSun" panose="02010600030101010101" pitchFamily="2" charset="-122"/>
              </a:rPr>
              <a:t>的实践，一个团队中的成员需要经</a:t>
            </a:r>
            <a:r>
              <a:rPr lang="zh-CN" altLang="en-US" dirty="0" smtClean="0">
                <a:solidFill>
                  <a:schemeClr val="accent5"/>
                </a:solidFill>
                <a:latin typeface="SimSun" panose="02010600030101010101" pitchFamily="2" charset="-122"/>
                <a:ea typeface="SimSun" panose="02010600030101010101" pitchFamily="2" charset="-122"/>
              </a:rPr>
              <a:t>常性的集成他们</a:t>
            </a:r>
            <a:r>
              <a:rPr lang="zh-CN" altLang="en-US" dirty="0">
                <a:solidFill>
                  <a:schemeClr val="accent5"/>
                </a:solidFill>
                <a:latin typeface="SimSun" panose="02010600030101010101" pitchFamily="2" charset="-122"/>
                <a:ea typeface="SimSun" panose="02010600030101010101" pitchFamily="2" charset="-122"/>
              </a:rPr>
              <a:t>的工作。通常每人每天都需要进行这样</a:t>
            </a:r>
            <a:r>
              <a:rPr lang="zh-CN" altLang="en-US" dirty="0" smtClean="0">
                <a:solidFill>
                  <a:schemeClr val="accent5"/>
                </a:solidFill>
                <a:latin typeface="SimSun" panose="02010600030101010101" pitchFamily="2" charset="-122"/>
                <a:ea typeface="SimSun" panose="02010600030101010101" pitchFamily="2" charset="-122"/>
              </a:rPr>
              <a:t>的集成，而这会导致集成会在每天多次发生。</a:t>
            </a:r>
            <a:r>
              <a:rPr lang="zh-CN" altLang="en-US" dirty="0">
                <a:solidFill>
                  <a:schemeClr val="accent5"/>
                </a:solidFill>
                <a:latin typeface="SimSun" panose="02010600030101010101" pitchFamily="2" charset="-122"/>
                <a:ea typeface="SimSun" panose="02010600030101010101" pitchFamily="2" charset="-122"/>
              </a:rPr>
              <a:t>每</a:t>
            </a:r>
            <a:r>
              <a:rPr lang="zh-CN" altLang="en-US" dirty="0" smtClean="0">
                <a:solidFill>
                  <a:schemeClr val="accent5"/>
                </a:solidFill>
                <a:latin typeface="SimSun" panose="02010600030101010101" pitchFamily="2" charset="-122"/>
                <a:ea typeface="SimSun" panose="02010600030101010101" pitchFamily="2" charset="-122"/>
              </a:rPr>
              <a:t>一次集成，</a:t>
            </a:r>
            <a:r>
              <a:rPr lang="zh-CN" altLang="en-US" dirty="0">
                <a:solidFill>
                  <a:schemeClr val="accent5"/>
                </a:solidFill>
                <a:latin typeface="SimSun" panose="02010600030101010101" pitchFamily="2" charset="-122"/>
                <a:ea typeface="SimSun" panose="02010600030101010101" pitchFamily="2" charset="-122"/>
              </a:rPr>
              <a:t>都通过自动化的建立（包括测试）来进行检验，以尽快的检测</a:t>
            </a:r>
            <a:r>
              <a:rPr lang="zh-CN" altLang="en-US" dirty="0" smtClean="0">
                <a:solidFill>
                  <a:schemeClr val="accent5"/>
                </a:solidFill>
                <a:latin typeface="SimSun" panose="02010600030101010101" pitchFamily="2" charset="-122"/>
                <a:ea typeface="SimSun" panose="02010600030101010101" pitchFamily="2" charset="-122"/>
              </a:rPr>
              <a:t>出集成中所出现的问题。</a:t>
            </a:r>
            <a:endParaRPr lang="en-GB" dirty="0" smtClean="0">
              <a:solidFill>
                <a:schemeClr val="accent5"/>
              </a:solidFill>
              <a:latin typeface="SimSun" panose="02010600030101010101" pitchFamily="2" charset="-122"/>
              <a:ea typeface="SimSun" panose="02010600030101010101" pitchFamily="2" charset="-122"/>
            </a:endParaRPr>
          </a:p>
          <a:p>
            <a:pPr>
              <a:spcBef>
                <a:spcPts val="1200"/>
              </a:spcBef>
            </a:pPr>
            <a:r>
              <a:rPr lang="zh-CN" altLang="en-US" dirty="0">
                <a:solidFill>
                  <a:schemeClr val="accent5"/>
                </a:solidFill>
                <a:latin typeface="SimSun" panose="02010600030101010101" pitchFamily="2" charset="-122"/>
                <a:ea typeface="SimSun" panose="02010600030101010101" pitchFamily="2" charset="-122"/>
              </a:rPr>
              <a:t>许多团队发现通过这种方式 显著的减</a:t>
            </a:r>
            <a:r>
              <a:rPr lang="zh-CN" altLang="en-US" dirty="0" smtClean="0">
                <a:solidFill>
                  <a:schemeClr val="accent5"/>
                </a:solidFill>
                <a:latin typeface="SimSun" panose="02010600030101010101" pitchFamily="2" charset="-122"/>
                <a:ea typeface="SimSun" panose="02010600030101010101" pitchFamily="2" charset="-122"/>
              </a:rPr>
              <a:t>少了集成中出现</a:t>
            </a:r>
            <a:r>
              <a:rPr lang="zh-CN" altLang="en-US" dirty="0">
                <a:solidFill>
                  <a:schemeClr val="accent5"/>
                </a:solidFill>
                <a:latin typeface="SimSun" panose="02010600030101010101" pitchFamily="2" charset="-122"/>
                <a:ea typeface="SimSun" panose="02010600030101010101" pitchFamily="2" charset="-122"/>
              </a:rPr>
              <a:t>的问题，并使团队的开发变得更加快捷</a:t>
            </a:r>
            <a:r>
              <a:rPr lang="zh-CN" altLang="en-US" dirty="0" smtClean="0">
                <a:solidFill>
                  <a:schemeClr val="accent5"/>
                </a:solidFill>
                <a:latin typeface="SimSun" panose="02010600030101010101" pitchFamily="2" charset="-122"/>
                <a:ea typeface="SimSun" panose="02010600030101010101" pitchFamily="2" charset="-122"/>
              </a:rPr>
              <a:t>。</a:t>
            </a:r>
            <a:endParaRPr lang="en-US" altLang="zh-CN" dirty="0" smtClean="0">
              <a:solidFill>
                <a:schemeClr val="accent5"/>
              </a:solidFill>
              <a:latin typeface="SimSun" panose="02010600030101010101" pitchFamily="2" charset="-122"/>
              <a:ea typeface="SimSun" panose="02010600030101010101" pitchFamily="2" charset="-122"/>
            </a:endParaRPr>
          </a:p>
          <a:p>
            <a:pPr>
              <a:spcBef>
                <a:spcPts val="1200"/>
              </a:spcBef>
            </a:pPr>
            <a:r>
              <a:rPr lang="en-GB" sz="1400" dirty="0" smtClean="0">
                <a:solidFill>
                  <a:schemeClr val="accent5"/>
                </a:solidFill>
                <a:latin typeface="SimSun" panose="02010600030101010101" pitchFamily="2" charset="-122"/>
                <a:ea typeface="SimSun" panose="02010600030101010101" pitchFamily="2" charset="-122"/>
              </a:rPr>
              <a:t>Martin </a:t>
            </a:r>
            <a:r>
              <a:rPr lang="en-GB" sz="1400" dirty="0">
                <a:solidFill>
                  <a:schemeClr val="accent5"/>
                </a:solidFill>
                <a:latin typeface="SimSun" panose="02010600030101010101" pitchFamily="2" charset="-122"/>
                <a:ea typeface="SimSun" panose="02010600030101010101" pitchFamily="2" charset="-122"/>
              </a:rPr>
              <a:t>Fowler   </a:t>
            </a:r>
            <a:r>
              <a:rPr lang="en-GB" sz="1400" dirty="0" smtClean="0">
                <a:solidFill>
                  <a:schemeClr val="accent5"/>
                </a:solidFill>
                <a:latin typeface="SimSun" panose="02010600030101010101" pitchFamily="2" charset="-122"/>
                <a:ea typeface="SimSun" panose="02010600030101010101" pitchFamily="2" charset="-122"/>
              </a:rPr>
              <a:t/>
            </a:r>
            <a:br>
              <a:rPr lang="en-GB" sz="1400" dirty="0" smtClean="0">
                <a:solidFill>
                  <a:schemeClr val="accent5"/>
                </a:solidFill>
                <a:latin typeface="SimSun" panose="02010600030101010101" pitchFamily="2" charset="-122"/>
                <a:ea typeface="SimSun" panose="02010600030101010101" pitchFamily="2" charset="-122"/>
              </a:rPr>
            </a:br>
            <a:r>
              <a:rPr lang="en-GB" sz="1400" dirty="0" smtClean="0">
                <a:solidFill>
                  <a:schemeClr val="accent5"/>
                </a:solidFill>
                <a:latin typeface="SimSun" panose="02010600030101010101" pitchFamily="2" charset="-122"/>
                <a:ea typeface="SimSun" panose="02010600030101010101" pitchFamily="2" charset="-122"/>
              </a:rPr>
              <a:t>1 </a:t>
            </a:r>
            <a:r>
              <a:rPr lang="en-GB" sz="1400" dirty="0">
                <a:solidFill>
                  <a:schemeClr val="accent5"/>
                </a:solidFill>
                <a:latin typeface="SimSun" panose="02010600030101010101" pitchFamily="2" charset="-122"/>
                <a:ea typeface="SimSun" panose="02010600030101010101" pitchFamily="2" charset="-122"/>
              </a:rPr>
              <a:t>May </a:t>
            </a:r>
            <a:r>
              <a:rPr lang="en-GB" sz="1400" dirty="0" smtClean="0">
                <a:solidFill>
                  <a:schemeClr val="accent5"/>
                </a:solidFill>
                <a:latin typeface="SimSun" panose="02010600030101010101" pitchFamily="2" charset="-122"/>
                <a:ea typeface="SimSun" panose="02010600030101010101" pitchFamily="2" charset="-122"/>
              </a:rPr>
              <a:t>2006</a:t>
            </a:r>
          </a:p>
          <a:p>
            <a:pPr>
              <a:spcBef>
                <a:spcPts val="1200"/>
              </a:spcBef>
            </a:pPr>
            <a:endParaRPr lang="en-GB" dirty="0">
              <a:latin typeface="SimSun" panose="02010600030101010101" pitchFamily="2" charset="-122"/>
              <a:ea typeface="SimSun" panose="02010600030101010101" pitchFamily="2" charset="-122"/>
            </a:endParaRPr>
          </a:p>
        </p:txBody>
      </p:sp>
      <p:sp>
        <p:nvSpPr>
          <p:cNvPr id="5" name="Rectangle 4"/>
          <p:cNvSpPr/>
          <p:nvPr/>
        </p:nvSpPr>
        <p:spPr>
          <a:xfrm>
            <a:off x="455613" y="6046695"/>
            <a:ext cx="4839430" cy="283906"/>
          </a:xfrm>
          <a:prstGeom prst="rect">
            <a:avLst/>
          </a:prstGeom>
        </p:spPr>
        <p:txBody>
          <a:bodyPr wrap="square" lIns="72000" tIns="72000" rIns="72000" bIns="72000">
            <a:spAutoFit/>
          </a:bodyPr>
          <a:lstStyle/>
          <a:p>
            <a:r>
              <a:rPr lang="en-GB" sz="900" dirty="0">
                <a:hlinkClick r:id="rId3"/>
              </a:rPr>
              <a:t>http://www.martinfowler.com/articles/continuousIntegration.html</a:t>
            </a:r>
            <a:endParaRPr lang="en-GB" sz="900" dirty="0"/>
          </a:p>
        </p:txBody>
      </p:sp>
      <p:grpSp>
        <p:nvGrpSpPr>
          <p:cNvPr id="7188" name="Group 7187"/>
          <p:cNvGrpSpPr/>
          <p:nvPr/>
        </p:nvGrpSpPr>
        <p:grpSpPr>
          <a:xfrm>
            <a:off x="5755001" y="2554381"/>
            <a:ext cx="3024007" cy="3024000"/>
            <a:chOff x="5755001" y="2422512"/>
            <a:chExt cx="3024007" cy="3024000"/>
          </a:xfrm>
        </p:grpSpPr>
        <p:sp>
          <p:nvSpPr>
            <p:cNvPr id="19" name="Oval 18"/>
            <p:cNvSpPr>
              <a:spLocks noChangeAspect="1"/>
            </p:cNvSpPr>
            <p:nvPr/>
          </p:nvSpPr>
          <p:spPr>
            <a:xfrm flipH="1">
              <a:off x="5755001" y="2422512"/>
              <a:ext cx="3024007" cy="3024000"/>
            </a:xfrm>
            <a:prstGeom prst="ellipse">
              <a:avLst/>
            </a:prstGeom>
            <a:solidFill>
              <a:schemeClr val="bg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Oval 9"/>
            <p:cNvSpPr/>
            <p:nvPr/>
          </p:nvSpPr>
          <p:spPr>
            <a:xfrm flipH="1">
              <a:off x="5884733" y="2552244"/>
              <a:ext cx="2764544" cy="2764537"/>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7185" name="Group 7184"/>
            <p:cNvGrpSpPr/>
            <p:nvPr/>
          </p:nvGrpSpPr>
          <p:grpSpPr>
            <a:xfrm>
              <a:off x="5986463" y="3221038"/>
              <a:ext cx="2574925" cy="1319213"/>
              <a:chOff x="5986463" y="3221038"/>
              <a:chExt cx="2574925" cy="1319213"/>
            </a:xfrm>
            <a:solidFill>
              <a:schemeClr val="accent1"/>
            </a:solidFill>
          </p:grpSpPr>
          <p:sp>
            <p:nvSpPr>
              <p:cNvPr id="23" name="Oval 7"/>
              <p:cNvSpPr>
                <a:spLocks noChangeArrowheads="1"/>
              </p:cNvSpPr>
              <p:nvPr/>
            </p:nvSpPr>
            <p:spPr bwMode="auto">
              <a:xfrm>
                <a:off x="6175375" y="43481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Oval 8"/>
              <p:cNvSpPr>
                <a:spLocks noChangeArrowheads="1"/>
              </p:cNvSpPr>
              <p:nvPr/>
            </p:nvSpPr>
            <p:spPr bwMode="auto">
              <a:xfrm>
                <a:off x="8208963" y="4348163"/>
                <a:ext cx="158750"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9"/>
              <p:cNvSpPr>
                <a:spLocks/>
              </p:cNvSpPr>
              <p:nvPr/>
            </p:nvSpPr>
            <p:spPr bwMode="auto">
              <a:xfrm>
                <a:off x="6142038" y="4313238"/>
                <a:ext cx="2259012" cy="227013"/>
              </a:xfrm>
              <a:custGeom>
                <a:avLst/>
                <a:gdLst>
                  <a:gd name="T0" fmla="*/ 939 w 988"/>
                  <a:gd name="T1" fmla="*/ 99 h 99"/>
                  <a:gd name="T2" fmla="*/ 49 w 988"/>
                  <a:gd name="T3" fmla="*/ 99 h 99"/>
                  <a:gd name="T4" fmla="*/ 0 w 988"/>
                  <a:gd name="T5" fmla="*/ 50 h 99"/>
                  <a:gd name="T6" fmla="*/ 0 w 988"/>
                  <a:gd name="T7" fmla="*/ 50 h 99"/>
                  <a:gd name="T8" fmla="*/ 49 w 988"/>
                  <a:gd name="T9" fmla="*/ 0 h 99"/>
                  <a:gd name="T10" fmla="*/ 939 w 988"/>
                  <a:gd name="T11" fmla="*/ 0 h 99"/>
                  <a:gd name="T12" fmla="*/ 988 w 988"/>
                  <a:gd name="T13" fmla="*/ 50 h 99"/>
                  <a:gd name="T14" fmla="*/ 988 w 988"/>
                  <a:gd name="T15" fmla="*/ 50 h 99"/>
                  <a:gd name="T16" fmla="*/ 939 w 988"/>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8" h="99">
                    <a:moveTo>
                      <a:pt x="939" y="99"/>
                    </a:moveTo>
                    <a:cubicBezTo>
                      <a:pt x="49" y="99"/>
                      <a:pt x="49" y="99"/>
                      <a:pt x="49" y="99"/>
                    </a:cubicBezTo>
                    <a:cubicBezTo>
                      <a:pt x="22" y="99"/>
                      <a:pt x="0" y="77"/>
                      <a:pt x="0" y="50"/>
                    </a:cubicBezTo>
                    <a:cubicBezTo>
                      <a:pt x="0" y="50"/>
                      <a:pt x="0" y="50"/>
                      <a:pt x="0" y="50"/>
                    </a:cubicBezTo>
                    <a:cubicBezTo>
                      <a:pt x="0" y="22"/>
                      <a:pt x="22" y="0"/>
                      <a:pt x="49" y="0"/>
                    </a:cubicBezTo>
                    <a:cubicBezTo>
                      <a:pt x="939" y="0"/>
                      <a:pt x="939" y="0"/>
                      <a:pt x="939" y="0"/>
                    </a:cubicBezTo>
                    <a:cubicBezTo>
                      <a:pt x="966" y="0"/>
                      <a:pt x="988" y="22"/>
                      <a:pt x="988" y="50"/>
                    </a:cubicBezTo>
                    <a:cubicBezTo>
                      <a:pt x="988" y="50"/>
                      <a:pt x="988" y="50"/>
                      <a:pt x="988" y="50"/>
                    </a:cubicBezTo>
                    <a:cubicBezTo>
                      <a:pt x="988" y="77"/>
                      <a:pt x="966" y="99"/>
                      <a:pt x="939" y="99"/>
                    </a:cubicBezTo>
                    <a:close/>
                  </a:path>
                </a:pathLst>
              </a:custGeom>
              <a:noFill/>
              <a:ln w="365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AU"/>
              </a:p>
            </p:txBody>
          </p:sp>
          <p:sp>
            <p:nvSpPr>
              <p:cNvPr id="26" name="Rectangle 10"/>
              <p:cNvSpPr>
                <a:spLocks noChangeArrowheads="1"/>
              </p:cNvSpPr>
              <p:nvPr/>
            </p:nvSpPr>
            <p:spPr bwMode="auto">
              <a:xfrm>
                <a:off x="6269038"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Rectangle 11"/>
              <p:cNvSpPr>
                <a:spLocks noChangeArrowheads="1"/>
              </p:cNvSpPr>
              <p:nvPr/>
            </p:nvSpPr>
            <p:spPr bwMode="auto">
              <a:xfrm>
                <a:off x="6413500"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Rectangle 12"/>
              <p:cNvSpPr>
                <a:spLocks noChangeArrowheads="1"/>
              </p:cNvSpPr>
              <p:nvPr/>
            </p:nvSpPr>
            <p:spPr bwMode="auto">
              <a:xfrm>
                <a:off x="6557963" y="4248151"/>
                <a:ext cx="111125"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Rectangle 13"/>
              <p:cNvSpPr>
                <a:spLocks noChangeArrowheads="1"/>
              </p:cNvSpPr>
              <p:nvPr/>
            </p:nvSpPr>
            <p:spPr bwMode="auto">
              <a:xfrm>
                <a:off x="6702425" y="4248151"/>
                <a:ext cx="109537"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Rectangle 14"/>
              <p:cNvSpPr>
                <a:spLocks noChangeArrowheads="1"/>
              </p:cNvSpPr>
              <p:nvPr/>
            </p:nvSpPr>
            <p:spPr bwMode="auto">
              <a:xfrm>
                <a:off x="6843713"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Rectangle 15"/>
              <p:cNvSpPr>
                <a:spLocks noChangeArrowheads="1"/>
              </p:cNvSpPr>
              <p:nvPr/>
            </p:nvSpPr>
            <p:spPr bwMode="auto">
              <a:xfrm>
                <a:off x="6988175" y="4248151"/>
                <a:ext cx="111125"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68" name="Rectangle 16"/>
              <p:cNvSpPr>
                <a:spLocks noChangeArrowheads="1"/>
              </p:cNvSpPr>
              <p:nvPr/>
            </p:nvSpPr>
            <p:spPr bwMode="auto">
              <a:xfrm>
                <a:off x="7131050"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69" name="Rectangle 17"/>
              <p:cNvSpPr>
                <a:spLocks noChangeArrowheads="1"/>
              </p:cNvSpPr>
              <p:nvPr/>
            </p:nvSpPr>
            <p:spPr bwMode="auto">
              <a:xfrm>
                <a:off x="7275513"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1" name="Rectangle 18"/>
              <p:cNvSpPr>
                <a:spLocks noChangeArrowheads="1"/>
              </p:cNvSpPr>
              <p:nvPr/>
            </p:nvSpPr>
            <p:spPr bwMode="auto">
              <a:xfrm>
                <a:off x="7419975" y="4248151"/>
                <a:ext cx="109537"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2" name="Rectangle 19"/>
              <p:cNvSpPr>
                <a:spLocks noChangeArrowheads="1"/>
              </p:cNvSpPr>
              <p:nvPr/>
            </p:nvSpPr>
            <p:spPr bwMode="auto">
              <a:xfrm>
                <a:off x="7561263"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3" name="Rectangle 20"/>
              <p:cNvSpPr>
                <a:spLocks noChangeArrowheads="1"/>
              </p:cNvSpPr>
              <p:nvPr/>
            </p:nvSpPr>
            <p:spPr bwMode="auto">
              <a:xfrm>
                <a:off x="7705725"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4" name="Rectangle 21"/>
              <p:cNvSpPr>
                <a:spLocks noChangeArrowheads="1"/>
              </p:cNvSpPr>
              <p:nvPr/>
            </p:nvSpPr>
            <p:spPr bwMode="auto">
              <a:xfrm>
                <a:off x="7850188"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5" name="Rectangle 22"/>
              <p:cNvSpPr>
                <a:spLocks noChangeArrowheads="1"/>
              </p:cNvSpPr>
              <p:nvPr/>
            </p:nvSpPr>
            <p:spPr bwMode="auto">
              <a:xfrm>
                <a:off x="7994650" y="4248151"/>
                <a:ext cx="109537"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6" name="Rectangle 23"/>
              <p:cNvSpPr>
                <a:spLocks noChangeArrowheads="1"/>
              </p:cNvSpPr>
              <p:nvPr/>
            </p:nvSpPr>
            <p:spPr bwMode="auto">
              <a:xfrm>
                <a:off x="8135938" y="4248151"/>
                <a:ext cx="112712"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7" name="Freeform 24"/>
              <p:cNvSpPr>
                <a:spLocks noEditPoints="1"/>
              </p:cNvSpPr>
              <p:nvPr/>
            </p:nvSpPr>
            <p:spPr bwMode="auto">
              <a:xfrm>
                <a:off x="6548438" y="3221038"/>
                <a:ext cx="400050" cy="573088"/>
              </a:xfrm>
              <a:custGeom>
                <a:avLst/>
                <a:gdLst>
                  <a:gd name="T0" fmla="*/ 18 w 175"/>
                  <a:gd name="T1" fmla="*/ 15 h 251"/>
                  <a:gd name="T2" fmla="*/ 1 w 175"/>
                  <a:gd name="T3" fmla="*/ 50 h 251"/>
                  <a:gd name="T4" fmla="*/ 7 w 175"/>
                  <a:gd name="T5" fmla="*/ 74 h 251"/>
                  <a:gd name="T6" fmla="*/ 9 w 175"/>
                  <a:gd name="T7" fmla="*/ 77 h 251"/>
                  <a:gd name="T8" fmla="*/ 21 w 175"/>
                  <a:gd name="T9" fmla="*/ 93 h 251"/>
                  <a:gd name="T10" fmla="*/ 67 w 175"/>
                  <a:gd name="T11" fmla="*/ 154 h 251"/>
                  <a:gd name="T12" fmla="*/ 130 w 175"/>
                  <a:gd name="T13" fmla="*/ 240 h 251"/>
                  <a:gd name="T14" fmla="*/ 158 w 175"/>
                  <a:gd name="T15" fmla="*/ 247 h 251"/>
                  <a:gd name="T16" fmla="*/ 170 w 175"/>
                  <a:gd name="T17" fmla="*/ 216 h 251"/>
                  <a:gd name="T18" fmla="*/ 86 w 175"/>
                  <a:gd name="T19" fmla="*/ 32 h 251"/>
                  <a:gd name="T20" fmla="*/ 81 w 175"/>
                  <a:gd name="T21" fmla="*/ 24 h 251"/>
                  <a:gd name="T22" fmla="*/ 18 w 175"/>
                  <a:gd name="T23" fmla="*/ 15 h 251"/>
                  <a:gd name="T24" fmla="*/ 82 w 175"/>
                  <a:gd name="T25" fmla="*/ 104 h 251"/>
                  <a:gd name="T26" fmla="*/ 62 w 175"/>
                  <a:gd name="T27" fmla="*/ 104 h 251"/>
                  <a:gd name="T28" fmla="*/ 62 w 175"/>
                  <a:gd name="T29" fmla="*/ 85 h 251"/>
                  <a:gd name="T30" fmla="*/ 82 w 175"/>
                  <a:gd name="T31" fmla="*/ 85 h 251"/>
                  <a:gd name="T32" fmla="*/ 82 w 175"/>
                  <a:gd name="T33" fmla="*/ 10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251">
                    <a:moveTo>
                      <a:pt x="18" y="15"/>
                    </a:moveTo>
                    <a:cubicBezTo>
                      <a:pt x="7" y="23"/>
                      <a:pt x="1" y="37"/>
                      <a:pt x="1" y="50"/>
                    </a:cubicBezTo>
                    <a:cubicBezTo>
                      <a:pt x="0" y="58"/>
                      <a:pt x="3" y="66"/>
                      <a:pt x="7" y="74"/>
                    </a:cubicBezTo>
                    <a:cubicBezTo>
                      <a:pt x="8" y="75"/>
                      <a:pt x="9" y="76"/>
                      <a:pt x="9" y="77"/>
                    </a:cubicBezTo>
                    <a:cubicBezTo>
                      <a:pt x="21" y="93"/>
                      <a:pt x="21" y="93"/>
                      <a:pt x="21" y="93"/>
                    </a:cubicBezTo>
                    <a:cubicBezTo>
                      <a:pt x="67" y="154"/>
                      <a:pt x="67" y="154"/>
                      <a:pt x="67" y="154"/>
                    </a:cubicBezTo>
                    <a:cubicBezTo>
                      <a:pt x="130" y="240"/>
                      <a:pt x="130" y="240"/>
                      <a:pt x="130" y="240"/>
                    </a:cubicBezTo>
                    <a:cubicBezTo>
                      <a:pt x="137" y="248"/>
                      <a:pt x="148" y="251"/>
                      <a:pt x="158" y="247"/>
                    </a:cubicBezTo>
                    <a:cubicBezTo>
                      <a:pt x="170" y="242"/>
                      <a:pt x="175" y="228"/>
                      <a:pt x="170" y="216"/>
                    </a:cubicBezTo>
                    <a:cubicBezTo>
                      <a:pt x="86" y="32"/>
                      <a:pt x="86" y="32"/>
                      <a:pt x="86" y="32"/>
                    </a:cubicBezTo>
                    <a:cubicBezTo>
                      <a:pt x="85" y="29"/>
                      <a:pt x="83" y="26"/>
                      <a:pt x="81" y="24"/>
                    </a:cubicBezTo>
                    <a:cubicBezTo>
                      <a:pt x="66" y="4"/>
                      <a:pt x="38" y="0"/>
                      <a:pt x="18" y="15"/>
                    </a:cubicBezTo>
                    <a:close/>
                    <a:moveTo>
                      <a:pt x="82" y="104"/>
                    </a:moveTo>
                    <a:cubicBezTo>
                      <a:pt x="76" y="110"/>
                      <a:pt x="68" y="110"/>
                      <a:pt x="62" y="104"/>
                    </a:cubicBezTo>
                    <a:cubicBezTo>
                      <a:pt x="57" y="99"/>
                      <a:pt x="57" y="90"/>
                      <a:pt x="62" y="85"/>
                    </a:cubicBezTo>
                    <a:cubicBezTo>
                      <a:pt x="68" y="79"/>
                      <a:pt x="76" y="79"/>
                      <a:pt x="82" y="85"/>
                    </a:cubicBezTo>
                    <a:cubicBezTo>
                      <a:pt x="87" y="90"/>
                      <a:pt x="87" y="99"/>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8" name="Freeform 25"/>
              <p:cNvSpPr>
                <a:spLocks noEditPoints="1"/>
              </p:cNvSpPr>
              <p:nvPr/>
            </p:nvSpPr>
            <p:spPr bwMode="auto">
              <a:xfrm>
                <a:off x="5986463" y="3340101"/>
                <a:ext cx="701675" cy="815975"/>
              </a:xfrm>
              <a:custGeom>
                <a:avLst/>
                <a:gdLst>
                  <a:gd name="T0" fmla="*/ 195 w 307"/>
                  <a:gd name="T1" fmla="*/ 83 h 357"/>
                  <a:gd name="T2" fmla="*/ 248 w 307"/>
                  <a:gd name="T3" fmla="*/ 24 h 357"/>
                  <a:gd name="T4" fmla="*/ 241 w 307"/>
                  <a:gd name="T5" fmla="*/ 0 h 357"/>
                  <a:gd name="T6" fmla="*/ 179 w 307"/>
                  <a:gd name="T7" fmla="*/ 69 h 357"/>
                  <a:gd name="T8" fmla="*/ 183 w 307"/>
                  <a:gd name="T9" fmla="*/ 72 h 357"/>
                  <a:gd name="T10" fmla="*/ 71 w 307"/>
                  <a:gd name="T11" fmla="*/ 197 h 357"/>
                  <a:gd name="T12" fmla="*/ 34 w 307"/>
                  <a:gd name="T13" fmla="*/ 227 h 357"/>
                  <a:gd name="T14" fmla="*/ 24 w 307"/>
                  <a:gd name="T15" fmla="*/ 237 h 357"/>
                  <a:gd name="T16" fmla="*/ 34 w 307"/>
                  <a:gd name="T17" fmla="*/ 333 h 357"/>
                  <a:gd name="T18" fmla="*/ 131 w 307"/>
                  <a:gd name="T19" fmla="*/ 323 h 357"/>
                  <a:gd name="T20" fmla="*/ 307 w 307"/>
                  <a:gd name="T21" fmla="*/ 104 h 357"/>
                  <a:gd name="T22" fmla="*/ 262 w 307"/>
                  <a:gd name="T23" fmla="*/ 43 h 357"/>
                  <a:gd name="T24" fmla="*/ 120 w 307"/>
                  <a:gd name="T25" fmla="*/ 158 h 357"/>
                  <a:gd name="T26" fmla="*/ 191 w 307"/>
                  <a:gd name="T27" fmla="*/ 79 h 357"/>
                  <a:gd name="T28" fmla="*/ 195 w 307"/>
                  <a:gd name="T29" fmla="*/ 83 h 357"/>
                  <a:gd name="T30" fmla="*/ 86 w 307"/>
                  <a:gd name="T31" fmla="*/ 292 h 357"/>
                  <a:gd name="T32" fmla="*/ 64 w 307"/>
                  <a:gd name="T33" fmla="*/ 292 h 357"/>
                  <a:gd name="T34" fmla="*/ 64 w 307"/>
                  <a:gd name="T35" fmla="*/ 269 h 357"/>
                  <a:gd name="T36" fmla="*/ 86 w 307"/>
                  <a:gd name="T37" fmla="*/ 269 h 357"/>
                  <a:gd name="T38" fmla="*/ 86 w 307"/>
                  <a:gd name="T39" fmla="*/ 29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7" h="357">
                    <a:moveTo>
                      <a:pt x="195" y="83"/>
                    </a:moveTo>
                    <a:cubicBezTo>
                      <a:pt x="248" y="24"/>
                      <a:pt x="248" y="24"/>
                      <a:pt x="248" y="24"/>
                    </a:cubicBezTo>
                    <a:cubicBezTo>
                      <a:pt x="243" y="16"/>
                      <a:pt x="241" y="8"/>
                      <a:pt x="241" y="0"/>
                    </a:cubicBezTo>
                    <a:cubicBezTo>
                      <a:pt x="179" y="69"/>
                      <a:pt x="179" y="69"/>
                      <a:pt x="179" y="69"/>
                    </a:cubicBezTo>
                    <a:cubicBezTo>
                      <a:pt x="183" y="72"/>
                      <a:pt x="183" y="72"/>
                      <a:pt x="183" y="72"/>
                    </a:cubicBezTo>
                    <a:cubicBezTo>
                      <a:pt x="71" y="197"/>
                      <a:pt x="71" y="197"/>
                      <a:pt x="71" y="197"/>
                    </a:cubicBezTo>
                    <a:cubicBezTo>
                      <a:pt x="34" y="227"/>
                      <a:pt x="34" y="227"/>
                      <a:pt x="34" y="227"/>
                    </a:cubicBezTo>
                    <a:cubicBezTo>
                      <a:pt x="30" y="230"/>
                      <a:pt x="27" y="233"/>
                      <a:pt x="24" y="237"/>
                    </a:cubicBezTo>
                    <a:cubicBezTo>
                      <a:pt x="0" y="266"/>
                      <a:pt x="5" y="310"/>
                      <a:pt x="34" y="333"/>
                    </a:cubicBezTo>
                    <a:cubicBezTo>
                      <a:pt x="64" y="357"/>
                      <a:pt x="107" y="353"/>
                      <a:pt x="131" y="323"/>
                    </a:cubicBezTo>
                    <a:cubicBezTo>
                      <a:pt x="307" y="104"/>
                      <a:pt x="307" y="104"/>
                      <a:pt x="307" y="104"/>
                    </a:cubicBezTo>
                    <a:cubicBezTo>
                      <a:pt x="262" y="43"/>
                      <a:pt x="262" y="43"/>
                      <a:pt x="262" y="43"/>
                    </a:cubicBezTo>
                    <a:cubicBezTo>
                      <a:pt x="120" y="158"/>
                      <a:pt x="120" y="158"/>
                      <a:pt x="120" y="158"/>
                    </a:cubicBezTo>
                    <a:cubicBezTo>
                      <a:pt x="191" y="79"/>
                      <a:pt x="191" y="79"/>
                      <a:pt x="191" y="79"/>
                    </a:cubicBezTo>
                    <a:lnTo>
                      <a:pt x="195" y="83"/>
                    </a:lnTo>
                    <a:close/>
                    <a:moveTo>
                      <a:pt x="86" y="292"/>
                    </a:moveTo>
                    <a:cubicBezTo>
                      <a:pt x="80" y="298"/>
                      <a:pt x="70" y="298"/>
                      <a:pt x="64" y="292"/>
                    </a:cubicBezTo>
                    <a:cubicBezTo>
                      <a:pt x="58" y="285"/>
                      <a:pt x="58" y="275"/>
                      <a:pt x="64" y="269"/>
                    </a:cubicBezTo>
                    <a:cubicBezTo>
                      <a:pt x="70" y="263"/>
                      <a:pt x="80" y="263"/>
                      <a:pt x="86" y="269"/>
                    </a:cubicBezTo>
                    <a:cubicBezTo>
                      <a:pt x="93" y="275"/>
                      <a:pt x="93" y="285"/>
                      <a:pt x="86"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79" name="Freeform 26"/>
              <p:cNvSpPr>
                <a:spLocks/>
              </p:cNvSpPr>
              <p:nvPr/>
            </p:nvSpPr>
            <p:spPr bwMode="auto">
              <a:xfrm>
                <a:off x="6824663" y="3856038"/>
                <a:ext cx="231775" cy="227013"/>
              </a:xfrm>
              <a:custGeom>
                <a:avLst/>
                <a:gdLst>
                  <a:gd name="T0" fmla="*/ 111 w 146"/>
                  <a:gd name="T1" fmla="*/ 68 h 143"/>
                  <a:gd name="T2" fmla="*/ 100 w 146"/>
                  <a:gd name="T3" fmla="*/ 71 h 143"/>
                  <a:gd name="T4" fmla="*/ 29 w 146"/>
                  <a:gd name="T5" fmla="*/ 0 h 143"/>
                  <a:gd name="T6" fmla="*/ 0 w 146"/>
                  <a:gd name="T7" fmla="*/ 29 h 143"/>
                  <a:gd name="T8" fmla="*/ 113 w 146"/>
                  <a:gd name="T9" fmla="*/ 143 h 143"/>
                  <a:gd name="T10" fmla="*/ 142 w 146"/>
                  <a:gd name="T11" fmla="*/ 114 h 143"/>
                  <a:gd name="T12" fmla="*/ 146 w 146"/>
                  <a:gd name="T13" fmla="*/ 101 h 143"/>
                  <a:gd name="T14" fmla="*/ 140 w 146"/>
                  <a:gd name="T15" fmla="*/ 95 h 143"/>
                  <a:gd name="T16" fmla="*/ 127 w 146"/>
                  <a:gd name="T17" fmla="*/ 100 h 143"/>
                  <a:gd name="T18" fmla="*/ 132 w 146"/>
                  <a:gd name="T19" fmla="*/ 87 h 143"/>
                  <a:gd name="T20" fmla="*/ 126 w 146"/>
                  <a:gd name="T21" fmla="*/ 81 h 143"/>
                  <a:gd name="T22" fmla="*/ 113 w 146"/>
                  <a:gd name="T23" fmla="*/ 85 h 143"/>
                  <a:gd name="T24" fmla="*/ 117 w 146"/>
                  <a:gd name="T25" fmla="*/ 72 h 143"/>
                  <a:gd name="T26" fmla="*/ 111 w 146"/>
                  <a:gd name="T27" fmla="*/ 6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43">
                    <a:moveTo>
                      <a:pt x="111" y="68"/>
                    </a:moveTo>
                    <a:lnTo>
                      <a:pt x="100" y="71"/>
                    </a:lnTo>
                    <a:lnTo>
                      <a:pt x="29" y="0"/>
                    </a:lnTo>
                    <a:lnTo>
                      <a:pt x="0" y="29"/>
                    </a:lnTo>
                    <a:lnTo>
                      <a:pt x="113" y="143"/>
                    </a:lnTo>
                    <a:lnTo>
                      <a:pt x="142" y="114"/>
                    </a:lnTo>
                    <a:lnTo>
                      <a:pt x="146" y="101"/>
                    </a:lnTo>
                    <a:lnTo>
                      <a:pt x="140" y="95"/>
                    </a:lnTo>
                    <a:lnTo>
                      <a:pt x="127" y="100"/>
                    </a:lnTo>
                    <a:lnTo>
                      <a:pt x="132" y="87"/>
                    </a:lnTo>
                    <a:lnTo>
                      <a:pt x="126" y="81"/>
                    </a:lnTo>
                    <a:lnTo>
                      <a:pt x="113" y="85"/>
                    </a:lnTo>
                    <a:lnTo>
                      <a:pt x="117" y="72"/>
                    </a:lnTo>
                    <a:lnTo>
                      <a:pt x="11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80" name="Freeform 27"/>
              <p:cNvSpPr>
                <a:spLocks/>
              </p:cNvSpPr>
              <p:nvPr/>
            </p:nvSpPr>
            <p:spPr bwMode="auto">
              <a:xfrm>
                <a:off x="7010400" y="3671888"/>
                <a:ext cx="223837" cy="230188"/>
              </a:xfrm>
              <a:custGeom>
                <a:avLst/>
                <a:gdLst>
                  <a:gd name="T0" fmla="*/ 66 w 141"/>
                  <a:gd name="T1" fmla="*/ 112 h 145"/>
                  <a:gd name="T2" fmla="*/ 69 w 141"/>
                  <a:gd name="T3" fmla="*/ 99 h 145"/>
                  <a:gd name="T4" fmla="*/ 0 w 141"/>
                  <a:gd name="T5" fmla="*/ 29 h 145"/>
                  <a:gd name="T6" fmla="*/ 29 w 141"/>
                  <a:gd name="T7" fmla="*/ 0 h 145"/>
                  <a:gd name="T8" fmla="*/ 141 w 141"/>
                  <a:gd name="T9" fmla="*/ 113 h 145"/>
                  <a:gd name="T10" fmla="*/ 112 w 141"/>
                  <a:gd name="T11" fmla="*/ 142 h 145"/>
                  <a:gd name="T12" fmla="*/ 101 w 141"/>
                  <a:gd name="T13" fmla="*/ 145 h 145"/>
                  <a:gd name="T14" fmla="*/ 95 w 141"/>
                  <a:gd name="T15" fmla="*/ 139 h 145"/>
                  <a:gd name="T16" fmla="*/ 98 w 141"/>
                  <a:gd name="T17" fmla="*/ 128 h 145"/>
                  <a:gd name="T18" fmla="*/ 87 w 141"/>
                  <a:gd name="T19" fmla="*/ 131 h 145"/>
                  <a:gd name="T20" fmla="*/ 81 w 141"/>
                  <a:gd name="T21" fmla="*/ 125 h 145"/>
                  <a:gd name="T22" fmla="*/ 84 w 141"/>
                  <a:gd name="T23" fmla="*/ 113 h 145"/>
                  <a:gd name="T24" fmla="*/ 72 w 141"/>
                  <a:gd name="T25" fmla="*/ 116 h 145"/>
                  <a:gd name="T26" fmla="*/ 66 w 141"/>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45">
                    <a:moveTo>
                      <a:pt x="66" y="112"/>
                    </a:moveTo>
                    <a:lnTo>
                      <a:pt x="69" y="99"/>
                    </a:lnTo>
                    <a:lnTo>
                      <a:pt x="0" y="29"/>
                    </a:lnTo>
                    <a:lnTo>
                      <a:pt x="29" y="0"/>
                    </a:lnTo>
                    <a:lnTo>
                      <a:pt x="141" y="113"/>
                    </a:lnTo>
                    <a:lnTo>
                      <a:pt x="112" y="142"/>
                    </a:lnTo>
                    <a:lnTo>
                      <a:pt x="101" y="145"/>
                    </a:lnTo>
                    <a:lnTo>
                      <a:pt x="95" y="139"/>
                    </a:lnTo>
                    <a:lnTo>
                      <a:pt x="98" y="128"/>
                    </a:lnTo>
                    <a:lnTo>
                      <a:pt x="87" y="131"/>
                    </a:lnTo>
                    <a:lnTo>
                      <a:pt x="81" y="125"/>
                    </a:lnTo>
                    <a:lnTo>
                      <a:pt x="84" y="113"/>
                    </a:lnTo>
                    <a:lnTo>
                      <a:pt x="72" y="116"/>
                    </a:lnTo>
                    <a:lnTo>
                      <a:pt x="6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81" name="Freeform 28"/>
              <p:cNvSpPr>
                <a:spLocks/>
              </p:cNvSpPr>
              <p:nvPr/>
            </p:nvSpPr>
            <p:spPr bwMode="auto">
              <a:xfrm>
                <a:off x="6761163" y="3609976"/>
                <a:ext cx="300037" cy="300038"/>
              </a:xfrm>
              <a:custGeom>
                <a:avLst/>
                <a:gdLst>
                  <a:gd name="T0" fmla="*/ 112 w 131"/>
                  <a:gd name="T1" fmla="*/ 0 h 131"/>
                  <a:gd name="T2" fmla="*/ 77 w 131"/>
                  <a:gd name="T3" fmla="*/ 34 h 131"/>
                  <a:gd name="T4" fmla="*/ 38 w 131"/>
                  <a:gd name="T5" fmla="*/ 37 h 131"/>
                  <a:gd name="T6" fmla="*/ 35 w 131"/>
                  <a:gd name="T7" fmla="*/ 77 h 131"/>
                  <a:gd name="T8" fmla="*/ 0 w 131"/>
                  <a:gd name="T9" fmla="*/ 112 h 131"/>
                  <a:gd name="T10" fmla="*/ 19 w 131"/>
                  <a:gd name="T11" fmla="*/ 131 h 131"/>
                  <a:gd name="T12" fmla="*/ 62 w 131"/>
                  <a:gd name="T13" fmla="*/ 89 h 131"/>
                  <a:gd name="T14" fmla="*/ 80 w 131"/>
                  <a:gd name="T15" fmla="*/ 80 h 131"/>
                  <a:gd name="T16" fmla="*/ 89 w 131"/>
                  <a:gd name="T17" fmla="*/ 61 h 131"/>
                  <a:gd name="T18" fmla="*/ 131 w 131"/>
                  <a:gd name="T19" fmla="*/ 19 h 131"/>
                  <a:gd name="T20" fmla="*/ 112 w 131"/>
                  <a:gd name="T2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31">
                    <a:moveTo>
                      <a:pt x="112" y="0"/>
                    </a:moveTo>
                    <a:cubicBezTo>
                      <a:pt x="77" y="34"/>
                      <a:pt x="77" y="34"/>
                      <a:pt x="77" y="34"/>
                    </a:cubicBezTo>
                    <a:cubicBezTo>
                      <a:pt x="66" y="25"/>
                      <a:pt x="48" y="26"/>
                      <a:pt x="38" y="37"/>
                    </a:cubicBezTo>
                    <a:cubicBezTo>
                      <a:pt x="27" y="48"/>
                      <a:pt x="26" y="65"/>
                      <a:pt x="35" y="77"/>
                    </a:cubicBezTo>
                    <a:cubicBezTo>
                      <a:pt x="0" y="112"/>
                      <a:pt x="0" y="112"/>
                      <a:pt x="0" y="112"/>
                    </a:cubicBezTo>
                    <a:cubicBezTo>
                      <a:pt x="19" y="131"/>
                      <a:pt x="19" y="131"/>
                      <a:pt x="19" y="131"/>
                    </a:cubicBezTo>
                    <a:cubicBezTo>
                      <a:pt x="62" y="89"/>
                      <a:pt x="62" y="89"/>
                      <a:pt x="62" y="89"/>
                    </a:cubicBezTo>
                    <a:cubicBezTo>
                      <a:pt x="68" y="88"/>
                      <a:pt x="75" y="85"/>
                      <a:pt x="80" y="80"/>
                    </a:cubicBezTo>
                    <a:cubicBezTo>
                      <a:pt x="86" y="75"/>
                      <a:pt x="89" y="68"/>
                      <a:pt x="89" y="61"/>
                    </a:cubicBezTo>
                    <a:cubicBezTo>
                      <a:pt x="131" y="19"/>
                      <a:pt x="131" y="19"/>
                      <a:pt x="131" y="19"/>
                    </a:cubicBezTo>
                    <a:lnTo>
                      <a:pt x="1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82" name="Freeform 29"/>
              <p:cNvSpPr>
                <a:spLocks noEditPoints="1"/>
              </p:cNvSpPr>
              <p:nvPr/>
            </p:nvSpPr>
            <p:spPr bwMode="auto">
              <a:xfrm>
                <a:off x="7859713" y="3340101"/>
                <a:ext cx="701675" cy="815975"/>
              </a:xfrm>
              <a:custGeom>
                <a:avLst/>
                <a:gdLst>
                  <a:gd name="T0" fmla="*/ 112 w 307"/>
                  <a:gd name="T1" fmla="*/ 83 h 357"/>
                  <a:gd name="T2" fmla="*/ 59 w 307"/>
                  <a:gd name="T3" fmla="*/ 24 h 357"/>
                  <a:gd name="T4" fmla="*/ 66 w 307"/>
                  <a:gd name="T5" fmla="*/ 0 h 357"/>
                  <a:gd name="T6" fmla="*/ 128 w 307"/>
                  <a:gd name="T7" fmla="*/ 69 h 357"/>
                  <a:gd name="T8" fmla="*/ 124 w 307"/>
                  <a:gd name="T9" fmla="*/ 72 h 357"/>
                  <a:gd name="T10" fmla="*/ 236 w 307"/>
                  <a:gd name="T11" fmla="*/ 197 h 357"/>
                  <a:gd name="T12" fmla="*/ 273 w 307"/>
                  <a:gd name="T13" fmla="*/ 227 h 357"/>
                  <a:gd name="T14" fmla="*/ 283 w 307"/>
                  <a:gd name="T15" fmla="*/ 237 h 357"/>
                  <a:gd name="T16" fmla="*/ 273 w 307"/>
                  <a:gd name="T17" fmla="*/ 333 h 357"/>
                  <a:gd name="T18" fmla="*/ 176 w 307"/>
                  <a:gd name="T19" fmla="*/ 323 h 357"/>
                  <a:gd name="T20" fmla="*/ 0 w 307"/>
                  <a:gd name="T21" fmla="*/ 104 h 357"/>
                  <a:gd name="T22" fmla="*/ 45 w 307"/>
                  <a:gd name="T23" fmla="*/ 43 h 357"/>
                  <a:gd name="T24" fmla="*/ 188 w 307"/>
                  <a:gd name="T25" fmla="*/ 158 h 357"/>
                  <a:gd name="T26" fmla="*/ 116 w 307"/>
                  <a:gd name="T27" fmla="*/ 79 h 357"/>
                  <a:gd name="T28" fmla="*/ 112 w 307"/>
                  <a:gd name="T29" fmla="*/ 83 h 357"/>
                  <a:gd name="T30" fmla="*/ 221 w 307"/>
                  <a:gd name="T31" fmla="*/ 292 h 357"/>
                  <a:gd name="T32" fmla="*/ 243 w 307"/>
                  <a:gd name="T33" fmla="*/ 292 h 357"/>
                  <a:gd name="T34" fmla="*/ 243 w 307"/>
                  <a:gd name="T35" fmla="*/ 269 h 357"/>
                  <a:gd name="T36" fmla="*/ 221 w 307"/>
                  <a:gd name="T37" fmla="*/ 269 h 357"/>
                  <a:gd name="T38" fmla="*/ 221 w 307"/>
                  <a:gd name="T39" fmla="*/ 29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7" h="357">
                    <a:moveTo>
                      <a:pt x="112" y="83"/>
                    </a:moveTo>
                    <a:cubicBezTo>
                      <a:pt x="59" y="24"/>
                      <a:pt x="59" y="24"/>
                      <a:pt x="59" y="24"/>
                    </a:cubicBezTo>
                    <a:cubicBezTo>
                      <a:pt x="64" y="16"/>
                      <a:pt x="66" y="8"/>
                      <a:pt x="66" y="0"/>
                    </a:cubicBezTo>
                    <a:cubicBezTo>
                      <a:pt x="128" y="69"/>
                      <a:pt x="128" y="69"/>
                      <a:pt x="128" y="69"/>
                    </a:cubicBezTo>
                    <a:cubicBezTo>
                      <a:pt x="124" y="72"/>
                      <a:pt x="124" y="72"/>
                      <a:pt x="124" y="72"/>
                    </a:cubicBezTo>
                    <a:cubicBezTo>
                      <a:pt x="236" y="197"/>
                      <a:pt x="236" y="197"/>
                      <a:pt x="236" y="197"/>
                    </a:cubicBezTo>
                    <a:cubicBezTo>
                      <a:pt x="273" y="227"/>
                      <a:pt x="273" y="227"/>
                      <a:pt x="273" y="227"/>
                    </a:cubicBezTo>
                    <a:cubicBezTo>
                      <a:pt x="277" y="230"/>
                      <a:pt x="280" y="233"/>
                      <a:pt x="283" y="237"/>
                    </a:cubicBezTo>
                    <a:cubicBezTo>
                      <a:pt x="307" y="266"/>
                      <a:pt x="302" y="310"/>
                      <a:pt x="273" y="333"/>
                    </a:cubicBezTo>
                    <a:cubicBezTo>
                      <a:pt x="243" y="357"/>
                      <a:pt x="200" y="353"/>
                      <a:pt x="176" y="323"/>
                    </a:cubicBezTo>
                    <a:cubicBezTo>
                      <a:pt x="0" y="104"/>
                      <a:pt x="0" y="104"/>
                      <a:pt x="0" y="104"/>
                    </a:cubicBezTo>
                    <a:cubicBezTo>
                      <a:pt x="45" y="43"/>
                      <a:pt x="45" y="43"/>
                      <a:pt x="45" y="43"/>
                    </a:cubicBezTo>
                    <a:cubicBezTo>
                      <a:pt x="188" y="158"/>
                      <a:pt x="188" y="158"/>
                      <a:pt x="188" y="158"/>
                    </a:cubicBezTo>
                    <a:cubicBezTo>
                      <a:pt x="116" y="79"/>
                      <a:pt x="116" y="79"/>
                      <a:pt x="116" y="79"/>
                    </a:cubicBezTo>
                    <a:lnTo>
                      <a:pt x="112" y="83"/>
                    </a:lnTo>
                    <a:close/>
                    <a:moveTo>
                      <a:pt x="221" y="292"/>
                    </a:moveTo>
                    <a:cubicBezTo>
                      <a:pt x="227" y="298"/>
                      <a:pt x="237" y="298"/>
                      <a:pt x="243" y="292"/>
                    </a:cubicBezTo>
                    <a:cubicBezTo>
                      <a:pt x="249" y="285"/>
                      <a:pt x="249" y="275"/>
                      <a:pt x="243" y="269"/>
                    </a:cubicBezTo>
                    <a:cubicBezTo>
                      <a:pt x="237" y="263"/>
                      <a:pt x="227" y="263"/>
                      <a:pt x="221" y="269"/>
                    </a:cubicBezTo>
                    <a:cubicBezTo>
                      <a:pt x="214" y="275"/>
                      <a:pt x="214" y="285"/>
                      <a:pt x="221"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83" name="Freeform 30"/>
              <p:cNvSpPr>
                <a:spLocks/>
              </p:cNvSpPr>
              <p:nvPr/>
            </p:nvSpPr>
            <p:spPr bwMode="auto">
              <a:xfrm>
                <a:off x="7589838" y="3676651"/>
                <a:ext cx="142875" cy="349250"/>
              </a:xfrm>
              <a:custGeom>
                <a:avLst/>
                <a:gdLst>
                  <a:gd name="T0" fmla="*/ 60 w 63"/>
                  <a:gd name="T1" fmla="*/ 39 h 153"/>
                  <a:gd name="T2" fmla="*/ 37 w 63"/>
                  <a:gd name="T3" fmla="*/ 3 h 153"/>
                  <a:gd name="T4" fmla="*/ 2 w 63"/>
                  <a:gd name="T5" fmla="*/ 26 h 153"/>
                  <a:gd name="T6" fmla="*/ 8 w 63"/>
                  <a:gd name="T7" fmla="*/ 52 h 153"/>
                  <a:gd name="T8" fmla="*/ 0 w 63"/>
                  <a:gd name="T9" fmla="*/ 90 h 153"/>
                  <a:gd name="T10" fmla="*/ 15 w 63"/>
                  <a:gd name="T11" fmla="*/ 93 h 153"/>
                  <a:gd name="T12" fmla="*/ 6 w 63"/>
                  <a:gd name="T13" fmla="*/ 136 h 153"/>
                  <a:gd name="T14" fmla="*/ 2 w 63"/>
                  <a:gd name="T15" fmla="*/ 140 h 153"/>
                  <a:gd name="T16" fmla="*/ 3 w 63"/>
                  <a:gd name="T17" fmla="*/ 152 h 153"/>
                  <a:gd name="T18" fmla="*/ 10 w 63"/>
                  <a:gd name="T19" fmla="*/ 153 h 153"/>
                  <a:gd name="T20" fmla="*/ 15 w 63"/>
                  <a:gd name="T21" fmla="*/ 142 h 153"/>
                  <a:gd name="T22" fmla="*/ 14 w 63"/>
                  <a:gd name="T23" fmla="*/ 138 h 153"/>
                  <a:gd name="T24" fmla="*/ 23 w 63"/>
                  <a:gd name="T25" fmla="*/ 94 h 153"/>
                  <a:gd name="T26" fmla="*/ 37 w 63"/>
                  <a:gd name="T27" fmla="*/ 98 h 153"/>
                  <a:gd name="T28" fmla="*/ 46 w 63"/>
                  <a:gd name="T29" fmla="*/ 58 h 153"/>
                  <a:gd name="T30" fmla="*/ 60 w 63"/>
                  <a:gd name="T31"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53">
                    <a:moveTo>
                      <a:pt x="60" y="39"/>
                    </a:moveTo>
                    <a:cubicBezTo>
                      <a:pt x="63" y="23"/>
                      <a:pt x="53" y="7"/>
                      <a:pt x="37" y="3"/>
                    </a:cubicBezTo>
                    <a:cubicBezTo>
                      <a:pt x="21" y="0"/>
                      <a:pt x="5" y="10"/>
                      <a:pt x="2" y="26"/>
                    </a:cubicBezTo>
                    <a:cubicBezTo>
                      <a:pt x="0" y="36"/>
                      <a:pt x="2" y="45"/>
                      <a:pt x="8" y="52"/>
                    </a:cubicBezTo>
                    <a:cubicBezTo>
                      <a:pt x="0" y="90"/>
                      <a:pt x="0" y="90"/>
                      <a:pt x="0" y="90"/>
                    </a:cubicBezTo>
                    <a:cubicBezTo>
                      <a:pt x="15" y="93"/>
                      <a:pt x="15" y="93"/>
                      <a:pt x="15" y="93"/>
                    </a:cubicBezTo>
                    <a:cubicBezTo>
                      <a:pt x="6" y="136"/>
                      <a:pt x="6" y="136"/>
                      <a:pt x="6" y="136"/>
                    </a:cubicBezTo>
                    <a:cubicBezTo>
                      <a:pt x="2" y="140"/>
                      <a:pt x="2" y="140"/>
                      <a:pt x="2" y="140"/>
                    </a:cubicBezTo>
                    <a:cubicBezTo>
                      <a:pt x="3" y="152"/>
                      <a:pt x="3" y="152"/>
                      <a:pt x="3" y="152"/>
                    </a:cubicBezTo>
                    <a:cubicBezTo>
                      <a:pt x="10" y="153"/>
                      <a:pt x="10" y="153"/>
                      <a:pt x="10" y="153"/>
                    </a:cubicBezTo>
                    <a:cubicBezTo>
                      <a:pt x="15" y="142"/>
                      <a:pt x="15" y="142"/>
                      <a:pt x="15" y="142"/>
                    </a:cubicBezTo>
                    <a:cubicBezTo>
                      <a:pt x="14" y="138"/>
                      <a:pt x="14" y="138"/>
                      <a:pt x="14" y="138"/>
                    </a:cubicBezTo>
                    <a:cubicBezTo>
                      <a:pt x="23" y="94"/>
                      <a:pt x="23" y="94"/>
                      <a:pt x="23" y="94"/>
                    </a:cubicBezTo>
                    <a:cubicBezTo>
                      <a:pt x="37" y="98"/>
                      <a:pt x="37" y="98"/>
                      <a:pt x="37" y="98"/>
                    </a:cubicBezTo>
                    <a:cubicBezTo>
                      <a:pt x="46" y="58"/>
                      <a:pt x="46" y="58"/>
                      <a:pt x="46" y="58"/>
                    </a:cubicBezTo>
                    <a:cubicBezTo>
                      <a:pt x="53" y="54"/>
                      <a:pt x="58" y="47"/>
                      <a:pt x="6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84" name="Freeform 31"/>
              <p:cNvSpPr>
                <a:spLocks noEditPoints="1"/>
              </p:cNvSpPr>
              <p:nvPr/>
            </p:nvSpPr>
            <p:spPr bwMode="auto">
              <a:xfrm>
                <a:off x="7627938" y="3221038"/>
                <a:ext cx="371475" cy="503238"/>
              </a:xfrm>
              <a:custGeom>
                <a:avLst/>
                <a:gdLst>
                  <a:gd name="T0" fmla="*/ 144 w 162"/>
                  <a:gd name="T1" fmla="*/ 15 h 220"/>
                  <a:gd name="T2" fmla="*/ 81 w 162"/>
                  <a:gd name="T3" fmla="*/ 24 h 220"/>
                  <a:gd name="T4" fmla="*/ 76 w 162"/>
                  <a:gd name="T5" fmla="*/ 32 h 220"/>
                  <a:gd name="T6" fmla="*/ 0 w 162"/>
                  <a:gd name="T7" fmla="*/ 199 h 220"/>
                  <a:gd name="T8" fmla="*/ 14 w 162"/>
                  <a:gd name="T9" fmla="*/ 197 h 220"/>
                  <a:gd name="T10" fmla="*/ 46 w 162"/>
                  <a:gd name="T11" fmla="*/ 220 h 220"/>
                  <a:gd name="T12" fmla="*/ 95 w 162"/>
                  <a:gd name="T13" fmla="*/ 154 h 220"/>
                  <a:gd name="T14" fmla="*/ 141 w 162"/>
                  <a:gd name="T15" fmla="*/ 93 h 220"/>
                  <a:gd name="T16" fmla="*/ 153 w 162"/>
                  <a:gd name="T17" fmla="*/ 77 h 220"/>
                  <a:gd name="T18" fmla="*/ 155 w 162"/>
                  <a:gd name="T19" fmla="*/ 74 h 220"/>
                  <a:gd name="T20" fmla="*/ 161 w 162"/>
                  <a:gd name="T21" fmla="*/ 50 h 220"/>
                  <a:gd name="T22" fmla="*/ 144 w 162"/>
                  <a:gd name="T23" fmla="*/ 15 h 220"/>
                  <a:gd name="T24" fmla="*/ 100 w 162"/>
                  <a:gd name="T25" fmla="*/ 104 h 220"/>
                  <a:gd name="T26" fmla="*/ 80 w 162"/>
                  <a:gd name="T27" fmla="*/ 104 h 220"/>
                  <a:gd name="T28" fmla="*/ 80 w 162"/>
                  <a:gd name="T29" fmla="*/ 85 h 220"/>
                  <a:gd name="T30" fmla="*/ 100 w 162"/>
                  <a:gd name="T31" fmla="*/ 85 h 220"/>
                  <a:gd name="T32" fmla="*/ 100 w 162"/>
                  <a:gd name="T33" fmla="*/ 10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220">
                    <a:moveTo>
                      <a:pt x="144" y="15"/>
                    </a:moveTo>
                    <a:cubicBezTo>
                      <a:pt x="124" y="0"/>
                      <a:pt x="96" y="4"/>
                      <a:pt x="81" y="24"/>
                    </a:cubicBezTo>
                    <a:cubicBezTo>
                      <a:pt x="79" y="26"/>
                      <a:pt x="77" y="29"/>
                      <a:pt x="76" y="32"/>
                    </a:cubicBezTo>
                    <a:cubicBezTo>
                      <a:pt x="0" y="199"/>
                      <a:pt x="0" y="199"/>
                      <a:pt x="0" y="199"/>
                    </a:cubicBezTo>
                    <a:cubicBezTo>
                      <a:pt x="4" y="198"/>
                      <a:pt x="9" y="197"/>
                      <a:pt x="14" y="197"/>
                    </a:cubicBezTo>
                    <a:cubicBezTo>
                      <a:pt x="29" y="197"/>
                      <a:pt x="42" y="206"/>
                      <a:pt x="46" y="220"/>
                    </a:cubicBezTo>
                    <a:cubicBezTo>
                      <a:pt x="95" y="154"/>
                      <a:pt x="95" y="154"/>
                      <a:pt x="95" y="154"/>
                    </a:cubicBezTo>
                    <a:cubicBezTo>
                      <a:pt x="141" y="93"/>
                      <a:pt x="141" y="93"/>
                      <a:pt x="141" y="93"/>
                    </a:cubicBezTo>
                    <a:cubicBezTo>
                      <a:pt x="153" y="77"/>
                      <a:pt x="153" y="77"/>
                      <a:pt x="153" y="77"/>
                    </a:cubicBezTo>
                    <a:cubicBezTo>
                      <a:pt x="153" y="76"/>
                      <a:pt x="154" y="75"/>
                      <a:pt x="155" y="74"/>
                    </a:cubicBezTo>
                    <a:cubicBezTo>
                      <a:pt x="159" y="66"/>
                      <a:pt x="162" y="58"/>
                      <a:pt x="161" y="50"/>
                    </a:cubicBezTo>
                    <a:cubicBezTo>
                      <a:pt x="161" y="37"/>
                      <a:pt x="155" y="23"/>
                      <a:pt x="144" y="15"/>
                    </a:cubicBezTo>
                    <a:close/>
                    <a:moveTo>
                      <a:pt x="100" y="104"/>
                    </a:moveTo>
                    <a:cubicBezTo>
                      <a:pt x="94" y="110"/>
                      <a:pt x="86" y="110"/>
                      <a:pt x="80" y="104"/>
                    </a:cubicBezTo>
                    <a:cubicBezTo>
                      <a:pt x="75" y="99"/>
                      <a:pt x="75" y="90"/>
                      <a:pt x="80" y="85"/>
                    </a:cubicBezTo>
                    <a:cubicBezTo>
                      <a:pt x="86" y="79"/>
                      <a:pt x="94" y="79"/>
                      <a:pt x="100" y="85"/>
                    </a:cubicBezTo>
                    <a:cubicBezTo>
                      <a:pt x="105" y="90"/>
                      <a:pt x="105" y="99"/>
                      <a:pt x="10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7186" name="Footer Placeholder 7185"/>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2657823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1850524" y="18780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Oval 17"/>
          <p:cNvSpPr/>
          <p:nvPr/>
        </p:nvSpPr>
        <p:spPr>
          <a:xfrm>
            <a:off x="6074861" y="18780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2" name="Group 21"/>
          <p:cNvGrpSpPr/>
          <p:nvPr/>
        </p:nvGrpSpPr>
        <p:grpSpPr>
          <a:xfrm>
            <a:off x="455613" y="2599200"/>
            <a:ext cx="4010400" cy="3731094"/>
            <a:chOff x="455613" y="2599200"/>
            <a:chExt cx="4010400" cy="3731094"/>
          </a:xfrm>
        </p:grpSpPr>
        <p:sp>
          <p:nvSpPr>
            <p:cNvPr id="24" name="Rectangle 23"/>
            <p:cNvSpPr/>
            <p:nvPr/>
          </p:nvSpPr>
          <p:spPr>
            <a:xfrm>
              <a:off x="455613" y="5331949"/>
              <a:ext cx="4010400" cy="99834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SimSun" panose="02010600030101010101" pitchFamily="2" charset="-122"/>
                <a:ea typeface="SimSun" panose="02010600030101010101" pitchFamily="2" charset="-122"/>
              </a:endParaRPr>
            </a:p>
          </p:txBody>
        </p:sp>
        <p:sp>
          <p:nvSpPr>
            <p:cNvPr id="23" name="Freeform 16"/>
            <p:cNvSpPr>
              <a:spLocks/>
            </p:cNvSpPr>
            <p:nvPr/>
          </p:nvSpPr>
          <p:spPr bwMode="auto">
            <a:xfrm>
              <a:off x="455613" y="2599200"/>
              <a:ext cx="4010025" cy="3403342"/>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0" tIns="936000" rIns="72000" bIns="45720" numCol="1" anchor="t" anchorCtr="0" compatLnSpc="1">
              <a:prstTxWarp prst="textNoShape">
                <a:avLst/>
              </a:prstTxWarp>
            </a:bodyPr>
            <a:lstStyle/>
            <a:p>
              <a:pPr>
                <a:spcBef>
                  <a:spcPts val="600"/>
                </a:spcBef>
              </a:pPr>
              <a:r>
                <a:rPr lang="en-AU" dirty="0" smtClean="0">
                  <a:solidFill>
                    <a:schemeClr val="accent5"/>
                  </a:solidFill>
                  <a:latin typeface="SimSun" panose="02010600030101010101" pitchFamily="2" charset="-122"/>
                  <a:ea typeface="SimSun" panose="02010600030101010101" pitchFamily="2" charset="-122"/>
                </a:rPr>
                <a:t>2001</a:t>
              </a:r>
            </a:p>
            <a:p>
              <a:pPr>
                <a:spcBef>
                  <a:spcPts val="600"/>
                </a:spcBef>
              </a:pPr>
              <a:r>
                <a:rPr lang="zh-CN" altLang="en-US" sz="1600" dirty="0" smtClean="0">
                  <a:solidFill>
                    <a:schemeClr val="accent5"/>
                  </a:solidFill>
                  <a:latin typeface="SimSun" panose="02010600030101010101" pitchFamily="2" charset="-122"/>
                  <a:ea typeface="SimSun" panose="02010600030101010101" pitchFamily="2" charset="-122"/>
                </a:rPr>
                <a:t>敏捷开发的黄金法则</a:t>
              </a:r>
              <a:endParaRPr lang="en-US" sz="1600" dirty="0" smtClean="0">
                <a:solidFill>
                  <a:schemeClr val="accent5"/>
                </a:solidFill>
                <a:latin typeface="SimSun" panose="02010600030101010101" pitchFamily="2" charset="-122"/>
                <a:ea typeface="SimSun" panose="02010600030101010101" pitchFamily="2" charset="-122"/>
              </a:endParaRPr>
            </a:p>
            <a:p>
              <a:pPr>
                <a:spcBef>
                  <a:spcPts val="600"/>
                </a:spcBef>
              </a:pPr>
              <a:r>
                <a:rPr lang="zh-CN" altLang="en-US" sz="1600" dirty="0" smtClean="0">
                  <a:solidFill>
                    <a:schemeClr val="accent5"/>
                  </a:solidFill>
                  <a:latin typeface="SimSun" panose="02010600030101010101" pitchFamily="2" charset="-122"/>
                  <a:ea typeface="SimSun" panose="02010600030101010101" pitchFamily="2" charset="-122"/>
                </a:rPr>
                <a:t>我们遵循以下原则</a:t>
              </a:r>
              <a:r>
                <a:rPr lang="en-US" sz="1600" dirty="0" smtClean="0">
                  <a:solidFill>
                    <a:schemeClr val="accent5"/>
                  </a:solidFill>
                  <a:latin typeface="SimSun" panose="02010600030101010101" pitchFamily="2" charset="-122"/>
                  <a:ea typeface="SimSun" panose="02010600030101010101" pitchFamily="2" charset="-122"/>
                </a:rPr>
                <a:t>:</a:t>
              </a:r>
            </a:p>
            <a:p>
              <a:pPr>
                <a:spcBef>
                  <a:spcPts val="600"/>
                </a:spcBef>
              </a:pPr>
              <a:r>
                <a:rPr lang="zh-CN" altLang="en-US" sz="1600" dirty="0">
                  <a:solidFill>
                    <a:schemeClr val="tx2"/>
                  </a:solidFill>
                  <a:latin typeface="SimSun" panose="02010600030101010101" pitchFamily="2" charset="-122"/>
                  <a:ea typeface="SimSun" panose="02010600030101010101" pitchFamily="2" charset="-122"/>
                </a:rPr>
                <a:t>我们最优先考虑</a:t>
              </a:r>
              <a:r>
                <a:rPr lang="zh-CN" altLang="en-US" sz="1600" dirty="0" smtClean="0">
                  <a:solidFill>
                    <a:schemeClr val="tx2"/>
                  </a:solidFill>
                  <a:latin typeface="SimSun" panose="02010600030101010101" pitchFamily="2" charset="-122"/>
                  <a:ea typeface="SimSun" panose="02010600030101010101" pitchFamily="2" charset="-122"/>
                </a:rPr>
                <a:t>的是通过早期并持续的交付优质的软</a:t>
              </a:r>
              <a:r>
                <a:rPr lang="zh-CN" altLang="en-US" sz="1600" dirty="0">
                  <a:solidFill>
                    <a:schemeClr val="tx2"/>
                  </a:solidFill>
                  <a:latin typeface="SimSun" panose="02010600030101010101" pitchFamily="2" charset="-122"/>
                  <a:ea typeface="SimSun" panose="02010600030101010101" pitchFamily="2" charset="-122"/>
                </a:rPr>
                <a:t>件来满足客户的需求。</a:t>
              </a:r>
              <a:endParaRPr lang="en-US" sz="1600" dirty="0">
                <a:solidFill>
                  <a:schemeClr val="tx2"/>
                </a:solidFill>
                <a:latin typeface="SimSun" panose="02010600030101010101" pitchFamily="2" charset="-122"/>
                <a:ea typeface="SimSun" panose="02010600030101010101" pitchFamily="2" charset="-122"/>
              </a:endParaRPr>
            </a:p>
          </p:txBody>
        </p:sp>
      </p:grpSp>
      <p:grpSp>
        <p:nvGrpSpPr>
          <p:cNvPr id="25" name="Group 24"/>
          <p:cNvGrpSpPr/>
          <p:nvPr/>
        </p:nvGrpSpPr>
        <p:grpSpPr>
          <a:xfrm>
            <a:off x="4679575" y="2599200"/>
            <a:ext cx="4010400" cy="3731094"/>
            <a:chOff x="4679575" y="2595868"/>
            <a:chExt cx="4010400" cy="3731094"/>
          </a:xfrm>
        </p:grpSpPr>
        <p:sp>
          <p:nvSpPr>
            <p:cNvPr id="26" name="Freeform 16"/>
            <p:cNvSpPr>
              <a:spLocks/>
            </p:cNvSpPr>
            <p:nvPr/>
          </p:nvSpPr>
          <p:spPr bwMode="auto">
            <a:xfrm>
              <a:off x="4679950" y="2595868"/>
              <a:ext cx="4010025" cy="3403342"/>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0" tIns="936000" rIns="72000" bIns="45720" numCol="1" anchor="t" anchorCtr="0" compatLnSpc="1">
              <a:prstTxWarp prst="textNoShape">
                <a:avLst/>
              </a:prstTxWarp>
            </a:bodyPr>
            <a:lstStyle/>
            <a:p>
              <a:pPr>
                <a:spcBef>
                  <a:spcPts val="600"/>
                </a:spcBef>
              </a:pPr>
              <a:r>
                <a:rPr lang="en-US" dirty="0">
                  <a:solidFill>
                    <a:schemeClr val="accent5"/>
                  </a:solidFill>
                  <a:latin typeface="SimSun" panose="02010600030101010101" pitchFamily="2" charset="-122"/>
                  <a:ea typeface="SimSun" panose="02010600030101010101" pitchFamily="2" charset="-122"/>
                </a:rPr>
                <a:t>2010</a:t>
              </a:r>
            </a:p>
            <a:p>
              <a:pPr>
                <a:spcBef>
                  <a:spcPts val="600"/>
                </a:spcBef>
              </a:pPr>
              <a:r>
                <a:rPr lang="zh-CN" altLang="en-US" sz="1600" b="1" dirty="0" smtClean="0">
                  <a:solidFill>
                    <a:schemeClr val="accent5"/>
                  </a:solidFill>
                  <a:latin typeface="SimSun" panose="02010600030101010101" pitchFamily="2" charset="-122"/>
                  <a:ea typeface="SimSun" panose="02010600030101010101" pitchFamily="2" charset="-122"/>
                </a:rPr>
                <a:t>持续交付</a:t>
              </a:r>
              <a:endParaRPr lang="en-US" sz="1600" b="1" dirty="0" smtClean="0">
                <a:solidFill>
                  <a:schemeClr val="accent5"/>
                </a:solidFill>
                <a:latin typeface="SimSun" panose="02010600030101010101" pitchFamily="2" charset="-122"/>
                <a:ea typeface="SimSun" panose="02010600030101010101" pitchFamily="2" charset="-122"/>
              </a:endParaRPr>
            </a:p>
            <a:p>
              <a:pPr>
                <a:spcBef>
                  <a:spcPts val="600"/>
                </a:spcBef>
              </a:pPr>
              <a:r>
                <a:rPr lang="zh-CN" altLang="en-US" sz="1600" dirty="0" smtClean="0">
                  <a:solidFill>
                    <a:schemeClr val="tx2"/>
                  </a:solidFill>
                  <a:latin typeface="SimSun" panose="02010600030101010101" pitchFamily="2" charset="-122"/>
                  <a:ea typeface="SimSun" panose="02010600030101010101" pitchFamily="2" charset="-122"/>
                </a:rPr>
                <a:t>通过开发，测试以及发布的自动化</a:t>
              </a:r>
              <a:r>
                <a:rPr lang="zh-CN" altLang="en-US" sz="1600" dirty="0">
                  <a:solidFill>
                    <a:schemeClr val="tx2"/>
                  </a:solidFill>
                  <a:latin typeface="SimSun" panose="02010600030101010101" pitchFamily="2" charset="-122"/>
                  <a:ea typeface="SimSun" panose="02010600030101010101" pitchFamily="2" charset="-122"/>
                </a:rPr>
                <a:t>，</a:t>
              </a:r>
              <a:r>
                <a:rPr lang="zh-CN" altLang="en-US" sz="1600" dirty="0" smtClean="0">
                  <a:solidFill>
                    <a:schemeClr val="tx2"/>
                  </a:solidFill>
                  <a:latin typeface="SimSun" panose="02010600030101010101" pitchFamily="2" charset="-122"/>
                  <a:ea typeface="SimSun" panose="02010600030101010101" pitchFamily="2" charset="-122"/>
                </a:rPr>
                <a:t>来持续交付可信赖的软</a:t>
              </a:r>
              <a:r>
                <a:rPr lang="zh-CN" altLang="en-US" sz="1600" dirty="0">
                  <a:solidFill>
                    <a:schemeClr val="tx2"/>
                  </a:solidFill>
                  <a:latin typeface="SimSun" panose="02010600030101010101" pitchFamily="2" charset="-122"/>
                  <a:ea typeface="SimSun" panose="02010600030101010101" pitchFamily="2" charset="-122"/>
                </a:rPr>
                <a:t>件</a:t>
              </a:r>
              <a:r>
                <a:rPr lang="zh-CN" altLang="en-US" sz="1600" dirty="0" smtClean="0">
                  <a:solidFill>
                    <a:schemeClr val="tx2"/>
                  </a:solidFill>
                  <a:latin typeface="SimSun" panose="02010600030101010101" pitchFamily="2" charset="-122"/>
                  <a:ea typeface="SimSun" panose="02010600030101010101" pitchFamily="2" charset="-122"/>
                </a:rPr>
                <a:t>版本。</a:t>
              </a:r>
              <a:endParaRPr lang="en-US" sz="1600" b="1" dirty="0">
                <a:solidFill>
                  <a:schemeClr val="accent5"/>
                </a:solidFill>
                <a:latin typeface="SimSun" panose="02010600030101010101" pitchFamily="2" charset="-122"/>
                <a:ea typeface="SimSun" panose="02010600030101010101" pitchFamily="2" charset="-122"/>
              </a:endParaRPr>
            </a:p>
          </p:txBody>
        </p:sp>
        <p:sp>
          <p:nvSpPr>
            <p:cNvPr id="27" name="Rectangle 26"/>
            <p:cNvSpPr/>
            <p:nvPr/>
          </p:nvSpPr>
          <p:spPr>
            <a:xfrm>
              <a:off x="4679575" y="5328617"/>
              <a:ext cx="4010400" cy="99834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SimSun" panose="02010600030101010101" pitchFamily="2" charset="-122"/>
                <a:ea typeface="SimSun" panose="02010600030101010101" pitchFamily="2" charset="-122"/>
              </a:endParaRPr>
            </a:p>
          </p:txBody>
        </p:sp>
      </p:grpSp>
      <p:sp>
        <p:nvSpPr>
          <p:cNvPr id="8" name="Rectangle 7"/>
          <p:cNvSpPr/>
          <p:nvPr/>
        </p:nvSpPr>
        <p:spPr>
          <a:xfrm>
            <a:off x="455614" y="6051377"/>
            <a:ext cx="2600324" cy="283906"/>
          </a:xfrm>
          <a:prstGeom prst="rect">
            <a:avLst/>
          </a:prstGeom>
        </p:spPr>
        <p:txBody>
          <a:bodyPr wrap="square" lIns="72000" tIns="72000" rIns="72000" bIns="72000">
            <a:spAutoFit/>
          </a:bodyPr>
          <a:lstStyle/>
          <a:p>
            <a:r>
              <a:rPr lang="en-GB" sz="900" dirty="0">
                <a:hlinkClick r:id="rId3"/>
              </a:rPr>
              <a:t>http://</a:t>
            </a:r>
            <a:r>
              <a:rPr lang="en-GB" sz="900" dirty="0" smtClean="0">
                <a:hlinkClick r:id="rId3"/>
              </a:rPr>
              <a:t>agilemanifesto.org/principles.html</a:t>
            </a:r>
            <a:endParaRPr lang="en-GB" sz="900" dirty="0" smtClean="0"/>
          </a:p>
        </p:txBody>
      </p:sp>
      <p:sp>
        <p:nvSpPr>
          <p:cNvPr id="28" name="Rectangle 27"/>
          <p:cNvSpPr/>
          <p:nvPr/>
        </p:nvSpPr>
        <p:spPr>
          <a:xfrm>
            <a:off x="4679950" y="5912878"/>
            <a:ext cx="4006850" cy="422405"/>
          </a:xfrm>
          <a:prstGeom prst="rect">
            <a:avLst/>
          </a:prstGeom>
        </p:spPr>
        <p:txBody>
          <a:bodyPr wrap="square" lIns="72000" tIns="72000" rIns="72000" bIns="72000">
            <a:spAutoFit/>
          </a:bodyPr>
          <a:lstStyle/>
          <a:p>
            <a:r>
              <a:rPr lang="en-GB" sz="900" dirty="0" smtClean="0">
                <a:hlinkClick r:id="rId4"/>
              </a:rPr>
              <a:t>http</a:t>
            </a:r>
            <a:r>
              <a:rPr lang="en-GB" sz="900" dirty="0">
                <a:hlinkClick r:id="rId4"/>
              </a:rPr>
              <a:t>://</a:t>
            </a:r>
            <a:r>
              <a:rPr lang="en-GB" sz="900" dirty="0" smtClean="0">
                <a:hlinkClick r:id="rId4"/>
              </a:rPr>
              <a:t>www.amazon.co.uk/Continuous-Delivery-Deployment-Automation-Addison-Wesley/dp/0321601912 </a:t>
            </a:r>
            <a:endParaRPr lang="en-GB" sz="900" dirty="0"/>
          </a:p>
        </p:txBody>
      </p:sp>
      <p:sp>
        <p:nvSpPr>
          <p:cNvPr id="30" name="Freeform 6"/>
          <p:cNvSpPr>
            <a:spLocks noEditPoints="1"/>
          </p:cNvSpPr>
          <p:nvPr/>
        </p:nvSpPr>
        <p:spPr bwMode="auto">
          <a:xfrm>
            <a:off x="6241731" y="2065029"/>
            <a:ext cx="819490" cy="880190"/>
          </a:xfrm>
          <a:custGeom>
            <a:avLst/>
            <a:gdLst>
              <a:gd name="T0" fmla="*/ 138 w 1035"/>
              <a:gd name="T1" fmla="*/ 614 h 1110"/>
              <a:gd name="T2" fmla="*/ 41 w 1035"/>
              <a:gd name="T3" fmla="*/ 440 h 1110"/>
              <a:gd name="T4" fmla="*/ 108 w 1035"/>
              <a:gd name="T5" fmla="*/ 273 h 1110"/>
              <a:gd name="T6" fmla="*/ 266 w 1035"/>
              <a:gd name="T7" fmla="*/ 220 h 1110"/>
              <a:gd name="T8" fmla="*/ 138 w 1035"/>
              <a:gd name="T9" fmla="*/ 614 h 1110"/>
              <a:gd name="T10" fmla="*/ 759 w 1035"/>
              <a:gd name="T11" fmla="*/ 833 h 1110"/>
              <a:gd name="T12" fmla="*/ 742 w 1035"/>
              <a:gd name="T13" fmla="*/ 717 h 1110"/>
              <a:gd name="T14" fmla="*/ 255 w 1035"/>
              <a:gd name="T15" fmla="*/ 658 h 1110"/>
              <a:gd name="T16" fmla="*/ 248 w 1035"/>
              <a:gd name="T17" fmla="*/ 762 h 1110"/>
              <a:gd name="T18" fmla="*/ 759 w 1035"/>
              <a:gd name="T19" fmla="*/ 833 h 1110"/>
              <a:gd name="T20" fmla="*/ 783 w 1035"/>
              <a:gd name="T21" fmla="*/ 722 h 1110"/>
              <a:gd name="T22" fmla="*/ 803 w 1035"/>
              <a:gd name="T23" fmla="*/ 825 h 1110"/>
              <a:gd name="T24" fmla="*/ 878 w 1035"/>
              <a:gd name="T25" fmla="*/ 414 h 1110"/>
              <a:gd name="T26" fmla="*/ 814 w 1035"/>
              <a:gd name="T27" fmla="*/ 707 h 1110"/>
              <a:gd name="T28" fmla="*/ 792 w 1035"/>
              <a:gd name="T29" fmla="*/ 723 h 1110"/>
              <a:gd name="T30" fmla="*/ 792 w 1035"/>
              <a:gd name="T31" fmla="*/ 723 h 1110"/>
              <a:gd name="T32" fmla="*/ 783 w 1035"/>
              <a:gd name="T33" fmla="*/ 722 h 1110"/>
              <a:gd name="T34" fmla="*/ 770 w 1035"/>
              <a:gd name="T35" fmla="*/ 679 h 1110"/>
              <a:gd name="T36" fmla="*/ 779 w 1035"/>
              <a:gd name="T37" fmla="*/ 680 h 1110"/>
              <a:gd name="T38" fmla="*/ 904 w 1035"/>
              <a:gd name="T39" fmla="*/ 108 h 1110"/>
              <a:gd name="T40" fmla="*/ 424 w 1035"/>
              <a:gd name="T41" fmla="*/ 46 h 1110"/>
              <a:gd name="T42" fmla="*/ 384 w 1035"/>
              <a:gd name="T43" fmla="*/ 77 h 1110"/>
              <a:gd name="T44" fmla="*/ 208 w 1035"/>
              <a:gd name="T45" fmla="*/ 621 h 1110"/>
              <a:gd name="T46" fmla="*/ 259 w 1035"/>
              <a:gd name="T47" fmla="*/ 618 h 1110"/>
              <a:gd name="T48" fmla="*/ 770 w 1035"/>
              <a:gd name="T49" fmla="*/ 679 h 1110"/>
              <a:gd name="T50" fmla="*/ 150 w 1035"/>
              <a:gd name="T51" fmla="*/ 670 h 1110"/>
              <a:gd name="T52" fmla="*/ 346 w 1035"/>
              <a:gd name="T53" fmla="*/ 65 h 1110"/>
              <a:gd name="T54" fmla="*/ 429 w 1035"/>
              <a:gd name="T55" fmla="*/ 6 h 1110"/>
              <a:gd name="T56" fmla="*/ 931 w 1035"/>
              <a:gd name="T57" fmla="*/ 70 h 1110"/>
              <a:gd name="T58" fmla="*/ 939 w 1035"/>
              <a:gd name="T59" fmla="*/ 135 h 1110"/>
              <a:gd name="T60" fmla="*/ 940 w 1035"/>
              <a:gd name="T61" fmla="*/ 229 h 1110"/>
              <a:gd name="T62" fmla="*/ 945 w 1035"/>
              <a:gd name="T63" fmla="*/ 239 h 1110"/>
              <a:gd name="T64" fmla="*/ 948 w 1035"/>
              <a:gd name="T65" fmla="*/ 253 h 1110"/>
              <a:gd name="T66" fmla="*/ 836 w 1035"/>
              <a:gd name="T67" fmla="*/ 865 h 1110"/>
              <a:gd name="T68" fmla="*/ 814 w 1035"/>
              <a:gd name="T69" fmla="*/ 882 h 1110"/>
              <a:gd name="T70" fmla="*/ 243 w 1035"/>
              <a:gd name="T71" fmla="*/ 802 h 1110"/>
              <a:gd name="T72" fmla="*/ 150 w 1035"/>
              <a:gd name="T73" fmla="*/ 670 h 1110"/>
              <a:gd name="T74" fmla="*/ 383 w 1035"/>
              <a:gd name="T75" fmla="*/ 1052 h 1110"/>
              <a:gd name="T76" fmla="*/ 261 w 1035"/>
              <a:gd name="T77" fmla="*/ 834 h 1110"/>
              <a:gd name="T78" fmla="*/ 655 w 1035"/>
              <a:gd name="T79" fmla="*/ 889 h 1110"/>
              <a:gd name="T80" fmla="*/ 464 w 1035"/>
              <a:gd name="T81" fmla="*/ 966 h 1110"/>
              <a:gd name="T82" fmla="*/ 420 w 1035"/>
              <a:gd name="T83" fmla="*/ 1037 h 1110"/>
              <a:gd name="T84" fmla="*/ 456 w 1035"/>
              <a:gd name="T85" fmla="*/ 1055 h 1110"/>
              <a:gd name="T86" fmla="*/ 973 w 1035"/>
              <a:gd name="T87" fmla="*/ 837 h 1110"/>
              <a:gd name="T88" fmla="*/ 948 w 1035"/>
              <a:gd name="T89" fmla="*/ 769 h 1110"/>
              <a:gd name="T90" fmla="*/ 877 w 1035"/>
              <a:gd name="T91" fmla="*/ 798 h 1110"/>
              <a:gd name="T92" fmla="*/ 921 w 1035"/>
              <a:gd name="T93" fmla="*/ 558 h 1110"/>
              <a:gd name="T94" fmla="*/ 1020 w 1035"/>
              <a:gd name="T95" fmla="*/ 714 h 1110"/>
              <a:gd name="T96" fmla="*/ 992 w 1035"/>
              <a:gd name="T97" fmla="*/ 752 h 1110"/>
              <a:gd name="T98" fmla="*/ 1023 w 1035"/>
              <a:gd name="T99" fmla="*/ 827 h 1110"/>
              <a:gd name="T100" fmla="*/ 1023 w 1035"/>
              <a:gd name="T101" fmla="*/ 827 h 1110"/>
              <a:gd name="T102" fmla="*/ 1018 w 1035"/>
              <a:gd name="T103" fmla="*/ 862 h 1110"/>
              <a:gd name="T104" fmla="*/ 471 w 1035"/>
              <a:gd name="T105" fmla="*/ 1093 h 1110"/>
              <a:gd name="T106" fmla="*/ 383 w 1035"/>
              <a:gd name="T107" fmla="*/ 105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35" h="1110">
                <a:moveTo>
                  <a:pt x="138" y="614"/>
                </a:moveTo>
                <a:cubicBezTo>
                  <a:pt x="41" y="440"/>
                  <a:pt x="41" y="440"/>
                  <a:pt x="41" y="440"/>
                </a:cubicBezTo>
                <a:cubicBezTo>
                  <a:pt x="0" y="368"/>
                  <a:pt x="34" y="297"/>
                  <a:pt x="108" y="273"/>
                </a:cubicBezTo>
                <a:cubicBezTo>
                  <a:pt x="266" y="220"/>
                  <a:pt x="266" y="220"/>
                  <a:pt x="266" y="220"/>
                </a:cubicBezTo>
                <a:cubicBezTo>
                  <a:pt x="138" y="614"/>
                  <a:pt x="138" y="614"/>
                  <a:pt x="138" y="614"/>
                </a:cubicBezTo>
                <a:close/>
                <a:moveTo>
                  <a:pt x="759" y="833"/>
                </a:moveTo>
                <a:cubicBezTo>
                  <a:pt x="737" y="799"/>
                  <a:pt x="732" y="754"/>
                  <a:pt x="742" y="717"/>
                </a:cubicBezTo>
                <a:cubicBezTo>
                  <a:pt x="255" y="658"/>
                  <a:pt x="255" y="658"/>
                  <a:pt x="255" y="658"/>
                </a:cubicBezTo>
                <a:cubicBezTo>
                  <a:pt x="155" y="648"/>
                  <a:pt x="167" y="750"/>
                  <a:pt x="248" y="762"/>
                </a:cubicBezTo>
                <a:cubicBezTo>
                  <a:pt x="759" y="833"/>
                  <a:pt x="759" y="833"/>
                  <a:pt x="759" y="833"/>
                </a:cubicBezTo>
                <a:close/>
                <a:moveTo>
                  <a:pt x="783" y="722"/>
                </a:moveTo>
                <a:cubicBezTo>
                  <a:pt x="771" y="751"/>
                  <a:pt x="777" y="798"/>
                  <a:pt x="803" y="825"/>
                </a:cubicBezTo>
                <a:cubicBezTo>
                  <a:pt x="878" y="414"/>
                  <a:pt x="878" y="414"/>
                  <a:pt x="878" y="414"/>
                </a:cubicBezTo>
                <a:cubicBezTo>
                  <a:pt x="814" y="707"/>
                  <a:pt x="814" y="707"/>
                  <a:pt x="814" y="707"/>
                </a:cubicBezTo>
                <a:cubicBezTo>
                  <a:pt x="811" y="718"/>
                  <a:pt x="802" y="724"/>
                  <a:pt x="792" y="723"/>
                </a:cubicBezTo>
                <a:cubicBezTo>
                  <a:pt x="792" y="723"/>
                  <a:pt x="792" y="723"/>
                  <a:pt x="792" y="723"/>
                </a:cubicBezTo>
                <a:cubicBezTo>
                  <a:pt x="783" y="722"/>
                  <a:pt x="783" y="722"/>
                  <a:pt x="783" y="722"/>
                </a:cubicBezTo>
                <a:close/>
                <a:moveTo>
                  <a:pt x="770" y="679"/>
                </a:moveTo>
                <a:cubicBezTo>
                  <a:pt x="773" y="679"/>
                  <a:pt x="776" y="679"/>
                  <a:pt x="779" y="680"/>
                </a:cubicBezTo>
                <a:cubicBezTo>
                  <a:pt x="904" y="108"/>
                  <a:pt x="904" y="108"/>
                  <a:pt x="904" y="108"/>
                </a:cubicBezTo>
                <a:cubicBezTo>
                  <a:pt x="424" y="46"/>
                  <a:pt x="424" y="46"/>
                  <a:pt x="424" y="46"/>
                </a:cubicBezTo>
                <a:cubicBezTo>
                  <a:pt x="404" y="44"/>
                  <a:pt x="390" y="60"/>
                  <a:pt x="384" y="77"/>
                </a:cubicBezTo>
                <a:cubicBezTo>
                  <a:pt x="208" y="621"/>
                  <a:pt x="208" y="621"/>
                  <a:pt x="208" y="621"/>
                </a:cubicBezTo>
                <a:cubicBezTo>
                  <a:pt x="222" y="618"/>
                  <a:pt x="239" y="616"/>
                  <a:pt x="259" y="618"/>
                </a:cubicBezTo>
                <a:cubicBezTo>
                  <a:pt x="770" y="679"/>
                  <a:pt x="770" y="679"/>
                  <a:pt x="770" y="679"/>
                </a:cubicBezTo>
                <a:close/>
                <a:moveTo>
                  <a:pt x="150" y="670"/>
                </a:moveTo>
                <a:cubicBezTo>
                  <a:pt x="346" y="65"/>
                  <a:pt x="346" y="65"/>
                  <a:pt x="346" y="65"/>
                </a:cubicBezTo>
                <a:cubicBezTo>
                  <a:pt x="358" y="29"/>
                  <a:pt x="388" y="0"/>
                  <a:pt x="429" y="6"/>
                </a:cubicBezTo>
                <a:cubicBezTo>
                  <a:pt x="931" y="70"/>
                  <a:pt x="931" y="70"/>
                  <a:pt x="931" y="70"/>
                </a:cubicBezTo>
                <a:cubicBezTo>
                  <a:pt x="956" y="73"/>
                  <a:pt x="948" y="102"/>
                  <a:pt x="939" y="135"/>
                </a:cubicBezTo>
                <a:cubicBezTo>
                  <a:pt x="931" y="167"/>
                  <a:pt x="930" y="203"/>
                  <a:pt x="940" y="229"/>
                </a:cubicBezTo>
                <a:cubicBezTo>
                  <a:pt x="942" y="235"/>
                  <a:pt x="943" y="235"/>
                  <a:pt x="945" y="239"/>
                </a:cubicBezTo>
                <a:cubicBezTo>
                  <a:pt x="948" y="243"/>
                  <a:pt x="949" y="248"/>
                  <a:pt x="948" y="253"/>
                </a:cubicBezTo>
                <a:cubicBezTo>
                  <a:pt x="836" y="865"/>
                  <a:pt x="836" y="865"/>
                  <a:pt x="836" y="865"/>
                </a:cubicBezTo>
                <a:cubicBezTo>
                  <a:pt x="835" y="876"/>
                  <a:pt x="825" y="884"/>
                  <a:pt x="814" y="882"/>
                </a:cubicBezTo>
                <a:cubicBezTo>
                  <a:pt x="243" y="802"/>
                  <a:pt x="243" y="802"/>
                  <a:pt x="243" y="802"/>
                </a:cubicBezTo>
                <a:cubicBezTo>
                  <a:pt x="170" y="792"/>
                  <a:pt x="127" y="725"/>
                  <a:pt x="150" y="670"/>
                </a:cubicBezTo>
                <a:close/>
                <a:moveTo>
                  <a:pt x="383" y="1052"/>
                </a:moveTo>
                <a:cubicBezTo>
                  <a:pt x="261" y="834"/>
                  <a:pt x="261" y="834"/>
                  <a:pt x="261" y="834"/>
                </a:cubicBezTo>
                <a:cubicBezTo>
                  <a:pt x="655" y="889"/>
                  <a:pt x="655" y="889"/>
                  <a:pt x="655" y="889"/>
                </a:cubicBezTo>
                <a:cubicBezTo>
                  <a:pt x="464" y="966"/>
                  <a:pt x="464" y="966"/>
                  <a:pt x="464" y="966"/>
                </a:cubicBezTo>
                <a:cubicBezTo>
                  <a:pt x="429" y="981"/>
                  <a:pt x="413" y="1010"/>
                  <a:pt x="420" y="1037"/>
                </a:cubicBezTo>
                <a:cubicBezTo>
                  <a:pt x="426" y="1052"/>
                  <a:pt x="436" y="1064"/>
                  <a:pt x="456" y="1055"/>
                </a:cubicBezTo>
                <a:cubicBezTo>
                  <a:pt x="973" y="837"/>
                  <a:pt x="973" y="837"/>
                  <a:pt x="973" y="837"/>
                </a:cubicBezTo>
                <a:cubicBezTo>
                  <a:pt x="956" y="818"/>
                  <a:pt x="946" y="796"/>
                  <a:pt x="948" y="769"/>
                </a:cubicBezTo>
                <a:cubicBezTo>
                  <a:pt x="877" y="798"/>
                  <a:pt x="877" y="798"/>
                  <a:pt x="877" y="798"/>
                </a:cubicBezTo>
                <a:cubicBezTo>
                  <a:pt x="921" y="558"/>
                  <a:pt x="921" y="558"/>
                  <a:pt x="921" y="558"/>
                </a:cubicBezTo>
                <a:cubicBezTo>
                  <a:pt x="1020" y="714"/>
                  <a:pt x="1020" y="714"/>
                  <a:pt x="1020" y="714"/>
                </a:cubicBezTo>
                <a:cubicBezTo>
                  <a:pt x="1035" y="736"/>
                  <a:pt x="1007" y="745"/>
                  <a:pt x="992" y="752"/>
                </a:cubicBezTo>
                <a:cubicBezTo>
                  <a:pt x="980" y="788"/>
                  <a:pt x="996" y="805"/>
                  <a:pt x="1023" y="827"/>
                </a:cubicBezTo>
                <a:cubicBezTo>
                  <a:pt x="1023" y="827"/>
                  <a:pt x="1023" y="827"/>
                  <a:pt x="1023" y="827"/>
                </a:cubicBezTo>
                <a:cubicBezTo>
                  <a:pt x="1035" y="836"/>
                  <a:pt x="1033" y="856"/>
                  <a:pt x="1018" y="862"/>
                </a:cubicBezTo>
                <a:cubicBezTo>
                  <a:pt x="471" y="1093"/>
                  <a:pt x="471" y="1093"/>
                  <a:pt x="471" y="1093"/>
                </a:cubicBezTo>
                <a:cubicBezTo>
                  <a:pt x="431" y="1110"/>
                  <a:pt x="396" y="1088"/>
                  <a:pt x="383" y="10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31" name="Group 30"/>
          <p:cNvGrpSpPr/>
          <p:nvPr/>
        </p:nvGrpSpPr>
        <p:grpSpPr>
          <a:xfrm>
            <a:off x="2018560" y="2120134"/>
            <a:ext cx="820332" cy="735956"/>
            <a:chOff x="11123091" y="3733281"/>
            <a:chExt cx="555625" cy="498475"/>
          </a:xfrm>
          <a:solidFill>
            <a:schemeClr val="accent1"/>
          </a:solidFill>
        </p:grpSpPr>
        <p:sp>
          <p:nvSpPr>
            <p:cNvPr id="32" name="Freeform 138"/>
            <p:cNvSpPr>
              <a:spLocks noEditPoints="1"/>
            </p:cNvSpPr>
            <p:nvPr/>
          </p:nvSpPr>
          <p:spPr bwMode="auto">
            <a:xfrm>
              <a:off x="11123091" y="3733281"/>
              <a:ext cx="555625" cy="498475"/>
            </a:xfrm>
            <a:custGeom>
              <a:avLst/>
              <a:gdLst>
                <a:gd name="T0" fmla="*/ 109 w 148"/>
                <a:gd name="T1" fmla="*/ 125 h 133"/>
                <a:gd name="T2" fmla="*/ 108 w 148"/>
                <a:gd name="T3" fmla="*/ 125 h 133"/>
                <a:gd name="T4" fmla="*/ 95 w 148"/>
                <a:gd name="T5" fmla="*/ 101 h 133"/>
                <a:gd name="T6" fmla="*/ 43 w 148"/>
                <a:gd name="T7" fmla="*/ 101 h 133"/>
                <a:gd name="T8" fmla="*/ 46 w 148"/>
                <a:gd name="T9" fmla="*/ 17 h 133"/>
                <a:gd name="T10" fmla="*/ 132 w 148"/>
                <a:gd name="T11" fmla="*/ 13 h 133"/>
                <a:gd name="T12" fmla="*/ 109 w 148"/>
                <a:gd name="T13" fmla="*/ 125 h 133"/>
                <a:gd name="T14" fmla="*/ 142 w 148"/>
                <a:gd name="T15" fmla="*/ 0 h 133"/>
                <a:gd name="T16" fmla="*/ 36 w 148"/>
                <a:gd name="T17" fmla="*/ 5 h 133"/>
                <a:gd name="T18" fmla="*/ 33 w 148"/>
                <a:gd name="T19" fmla="*/ 101 h 133"/>
                <a:gd name="T20" fmla="*/ 4 w 148"/>
                <a:gd name="T21" fmla="*/ 101 h 133"/>
                <a:gd name="T22" fmla="*/ 21 w 148"/>
                <a:gd name="T23" fmla="*/ 130 h 133"/>
                <a:gd name="T24" fmla="*/ 107 w 148"/>
                <a:gd name="T25" fmla="*/ 133 h 133"/>
                <a:gd name="T26" fmla="*/ 106 w 148"/>
                <a:gd name="T27" fmla="*/ 132 h 133"/>
                <a:gd name="T28" fmla="*/ 108 w 148"/>
                <a:gd name="T29" fmla="*/ 133 h 133"/>
                <a:gd name="T30" fmla="*/ 142 w 148"/>
                <a:gd name="T3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33">
                  <a:moveTo>
                    <a:pt x="109" y="125"/>
                  </a:moveTo>
                  <a:cubicBezTo>
                    <a:pt x="108" y="125"/>
                    <a:pt x="108" y="125"/>
                    <a:pt x="108" y="125"/>
                  </a:cubicBezTo>
                  <a:cubicBezTo>
                    <a:pt x="96" y="124"/>
                    <a:pt x="95" y="101"/>
                    <a:pt x="95" y="101"/>
                  </a:cubicBezTo>
                  <a:cubicBezTo>
                    <a:pt x="43" y="101"/>
                    <a:pt x="43" y="101"/>
                    <a:pt x="43" y="101"/>
                  </a:cubicBezTo>
                  <a:cubicBezTo>
                    <a:pt x="50" y="70"/>
                    <a:pt x="46" y="17"/>
                    <a:pt x="46" y="17"/>
                  </a:cubicBezTo>
                  <a:cubicBezTo>
                    <a:pt x="132" y="13"/>
                    <a:pt x="132" y="13"/>
                    <a:pt x="132" y="13"/>
                  </a:cubicBezTo>
                  <a:cubicBezTo>
                    <a:pt x="141" y="72"/>
                    <a:pt x="127" y="125"/>
                    <a:pt x="109" y="125"/>
                  </a:cubicBezTo>
                  <a:moveTo>
                    <a:pt x="142" y="0"/>
                  </a:moveTo>
                  <a:cubicBezTo>
                    <a:pt x="36" y="5"/>
                    <a:pt x="36" y="5"/>
                    <a:pt x="36" y="5"/>
                  </a:cubicBezTo>
                  <a:cubicBezTo>
                    <a:pt x="36" y="5"/>
                    <a:pt x="45" y="67"/>
                    <a:pt x="33" y="101"/>
                  </a:cubicBezTo>
                  <a:cubicBezTo>
                    <a:pt x="4" y="101"/>
                    <a:pt x="4" y="101"/>
                    <a:pt x="4" y="101"/>
                  </a:cubicBezTo>
                  <a:cubicBezTo>
                    <a:pt x="0" y="133"/>
                    <a:pt x="21" y="130"/>
                    <a:pt x="21" y="130"/>
                  </a:cubicBezTo>
                  <a:cubicBezTo>
                    <a:pt x="107" y="133"/>
                    <a:pt x="107" y="133"/>
                    <a:pt x="107" y="133"/>
                  </a:cubicBezTo>
                  <a:cubicBezTo>
                    <a:pt x="107" y="133"/>
                    <a:pt x="106" y="132"/>
                    <a:pt x="106" y="132"/>
                  </a:cubicBezTo>
                  <a:cubicBezTo>
                    <a:pt x="108" y="133"/>
                    <a:pt x="108" y="133"/>
                    <a:pt x="108" y="133"/>
                  </a:cubicBezTo>
                  <a:cubicBezTo>
                    <a:pt x="140" y="133"/>
                    <a:pt x="148" y="78"/>
                    <a:pt x="14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3" name="Rectangle 139"/>
            <p:cNvSpPr>
              <a:spLocks noChangeArrowheads="1"/>
            </p:cNvSpPr>
            <p:nvPr/>
          </p:nvSpPr>
          <p:spPr bwMode="auto">
            <a:xfrm>
              <a:off x="11516791" y="3904731"/>
              <a:ext cx="57150"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4" name="Freeform 140"/>
            <p:cNvSpPr>
              <a:spLocks/>
            </p:cNvSpPr>
            <p:nvPr/>
          </p:nvSpPr>
          <p:spPr bwMode="auto">
            <a:xfrm>
              <a:off x="11516791" y="3868218"/>
              <a:ext cx="82550" cy="30163"/>
            </a:xfrm>
            <a:custGeom>
              <a:avLst/>
              <a:gdLst>
                <a:gd name="T0" fmla="*/ 0 w 52"/>
                <a:gd name="T1" fmla="*/ 4 h 19"/>
                <a:gd name="T2" fmla="*/ 0 w 52"/>
                <a:gd name="T3" fmla="*/ 19 h 19"/>
                <a:gd name="T4" fmla="*/ 52 w 52"/>
                <a:gd name="T5" fmla="*/ 14 h 19"/>
                <a:gd name="T6" fmla="*/ 52 w 52"/>
                <a:gd name="T7" fmla="*/ 0 h 19"/>
                <a:gd name="T8" fmla="*/ 0 w 52"/>
                <a:gd name="T9" fmla="*/ 4 h 19"/>
              </a:gdLst>
              <a:ahLst/>
              <a:cxnLst>
                <a:cxn ang="0">
                  <a:pos x="T0" y="T1"/>
                </a:cxn>
                <a:cxn ang="0">
                  <a:pos x="T2" y="T3"/>
                </a:cxn>
                <a:cxn ang="0">
                  <a:pos x="T4" y="T5"/>
                </a:cxn>
                <a:cxn ang="0">
                  <a:pos x="T6" y="T7"/>
                </a:cxn>
                <a:cxn ang="0">
                  <a:pos x="T8" y="T9"/>
                </a:cxn>
              </a:cxnLst>
              <a:rect l="0" t="0" r="r" b="b"/>
              <a:pathLst>
                <a:path w="52" h="19">
                  <a:moveTo>
                    <a:pt x="0" y="4"/>
                  </a:moveTo>
                  <a:lnTo>
                    <a:pt x="0" y="19"/>
                  </a:lnTo>
                  <a:lnTo>
                    <a:pt x="52" y="14"/>
                  </a:lnTo>
                  <a:lnTo>
                    <a:pt x="5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5" name="Freeform 141"/>
            <p:cNvSpPr>
              <a:spLocks/>
            </p:cNvSpPr>
            <p:nvPr/>
          </p:nvSpPr>
          <p:spPr bwMode="auto">
            <a:xfrm>
              <a:off x="11516791" y="4022206"/>
              <a:ext cx="46037" cy="25400"/>
            </a:xfrm>
            <a:custGeom>
              <a:avLst/>
              <a:gdLst>
                <a:gd name="T0" fmla="*/ 0 w 29"/>
                <a:gd name="T1" fmla="*/ 2 h 16"/>
                <a:gd name="T2" fmla="*/ 3 w 29"/>
                <a:gd name="T3" fmla="*/ 16 h 16"/>
                <a:gd name="T4" fmla="*/ 29 w 29"/>
                <a:gd name="T5" fmla="*/ 14 h 16"/>
                <a:gd name="T6" fmla="*/ 29 w 29"/>
                <a:gd name="T7" fmla="*/ 0 h 16"/>
                <a:gd name="T8" fmla="*/ 0 w 29"/>
                <a:gd name="T9" fmla="*/ 2 h 16"/>
              </a:gdLst>
              <a:ahLst/>
              <a:cxnLst>
                <a:cxn ang="0">
                  <a:pos x="T0" y="T1"/>
                </a:cxn>
                <a:cxn ang="0">
                  <a:pos x="T2" y="T3"/>
                </a:cxn>
                <a:cxn ang="0">
                  <a:pos x="T4" y="T5"/>
                </a:cxn>
                <a:cxn ang="0">
                  <a:pos x="T6" y="T7"/>
                </a:cxn>
                <a:cxn ang="0">
                  <a:pos x="T8" y="T9"/>
                </a:cxn>
              </a:cxnLst>
              <a:rect l="0" t="0" r="r" b="b"/>
              <a:pathLst>
                <a:path w="29" h="16">
                  <a:moveTo>
                    <a:pt x="0" y="2"/>
                  </a:moveTo>
                  <a:lnTo>
                    <a:pt x="3" y="16"/>
                  </a:lnTo>
                  <a:lnTo>
                    <a:pt x="29" y="14"/>
                  </a:lnTo>
                  <a:lnTo>
                    <a:pt x="29"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6" name="Freeform 142"/>
            <p:cNvSpPr>
              <a:spLocks/>
            </p:cNvSpPr>
            <p:nvPr/>
          </p:nvSpPr>
          <p:spPr bwMode="auto">
            <a:xfrm>
              <a:off x="11516791" y="3987281"/>
              <a:ext cx="68262" cy="26988"/>
            </a:xfrm>
            <a:custGeom>
              <a:avLst/>
              <a:gdLst>
                <a:gd name="T0" fmla="*/ 0 w 43"/>
                <a:gd name="T1" fmla="*/ 3 h 17"/>
                <a:gd name="T2" fmla="*/ 0 w 43"/>
                <a:gd name="T3" fmla="*/ 17 h 17"/>
                <a:gd name="T4" fmla="*/ 43 w 43"/>
                <a:gd name="T5" fmla="*/ 14 h 17"/>
                <a:gd name="T6" fmla="*/ 41 w 43"/>
                <a:gd name="T7" fmla="*/ 0 h 17"/>
                <a:gd name="T8" fmla="*/ 0 w 43"/>
                <a:gd name="T9" fmla="*/ 3 h 17"/>
              </a:gdLst>
              <a:ahLst/>
              <a:cxnLst>
                <a:cxn ang="0">
                  <a:pos x="T0" y="T1"/>
                </a:cxn>
                <a:cxn ang="0">
                  <a:pos x="T2" y="T3"/>
                </a:cxn>
                <a:cxn ang="0">
                  <a:pos x="T4" y="T5"/>
                </a:cxn>
                <a:cxn ang="0">
                  <a:pos x="T6" y="T7"/>
                </a:cxn>
                <a:cxn ang="0">
                  <a:pos x="T8" y="T9"/>
                </a:cxn>
              </a:cxnLst>
              <a:rect l="0" t="0" r="r" b="b"/>
              <a:pathLst>
                <a:path w="43" h="17">
                  <a:moveTo>
                    <a:pt x="0" y="3"/>
                  </a:moveTo>
                  <a:lnTo>
                    <a:pt x="0" y="17"/>
                  </a:lnTo>
                  <a:lnTo>
                    <a:pt x="43" y="14"/>
                  </a:lnTo>
                  <a:lnTo>
                    <a:pt x="41"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7" name="Freeform 143"/>
            <p:cNvSpPr>
              <a:spLocks/>
            </p:cNvSpPr>
            <p:nvPr/>
          </p:nvSpPr>
          <p:spPr bwMode="auto">
            <a:xfrm>
              <a:off x="11326291" y="3841231"/>
              <a:ext cx="115887" cy="109538"/>
            </a:xfrm>
            <a:custGeom>
              <a:avLst/>
              <a:gdLst>
                <a:gd name="T0" fmla="*/ 5 w 31"/>
                <a:gd name="T1" fmla="*/ 29 h 29"/>
                <a:gd name="T2" fmla="*/ 21 w 31"/>
                <a:gd name="T3" fmla="*/ 29 h 29"/>
                <a:gd name="T4" fmla="*/ 13 w 31"/>
                <a:gd name="T5" fmla="*/ 23 h 29"/>
                <a:gd name="T6" fmla="*/ 7 w 31"/>
                <a:gd name="T7" fmla="*/ 23 h 29"/>
                <a:gd name="T8" fmla="*/ 6 w 31"/>
                <a:gd name="T9" fmla="*/ 7 h 29"/>
                <a:gd name="T10" fmla="*/ 24 w 31"/>
                <a:gd name="T11" fmla="*/ 6 h 29"/>
                <a:gd name="T12" fmla="*/ 24 w 31"/>
                <a:gd name="T13" fmla="*/ 11 h 29"/>
                <a:gd name="T14" fmla="*/ 25 w 31"/>
                <a:gd name="T15" fmla="*/ 11 h 29"/>
                <a:gd name="T16" fmla="*/ 30 w 31"/>
                <a:gd name="T17" fmla="*/ 4 h 29"/>
                <a:gd name="T18" fmla="*/ 31 w 31"/>
                <a:gd name="T19" fmla="*/ 3 h 29"/>
                <a:gd name="T20" fmla="*/ 26 w 31"/>
                <a:gd name="T21" fmla="*/ 0 h 29"/>
                <a:gd name="T22" fmla="*/ 4 w 31"/>
                <a:gd name="T23" fmla="*/ 1 h 29"/>
                <a:gd name="T24" fmla="*/ 1 w 31"/>
                <a:gd name="T25" fmla="*/ 2 h 29"/>
                <a:gd name="T26" fmla="*/ 0 w 31"/>
                <a:gd name="T27" fmla="*/ 5 h 29"/>
                <a:gd name="T28" fmla="*/ 1 w 31"/>
                <a:gd name="T29" fmla="*/ 25 h 29"/>
                <a:gd name="T30" fmla="*/ 5 w 31"/>
                <a:gd name="T3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9">
                  <a:moveTo>
                    <a:pt x="5" y="29"/>
                  </a:moveTo>
                  <a:cubicBezTo>
                    <a:pt x="21" y="29"/>
                    <a:pt x="21" y="29"/>
                    <a:pt x="21" y="29"/>
                  </a:cubicBezTo>
                  <a:cubicBezTo>
                    <a:pt x="13" y="23"/>
                    <a:pt x="13" y="23"/>
                    <a:pt x="13" y="23"/>
                  </a:cubicBezTo>
                  <a:cubicBezTo>
                    <a:pt x="7" y="23"/>
                    <a:pt x="7" y="23"/>
                    <a:pt x="7" y="23"/>
                  </a:cubicBezTo>
                  <a:cubicBezTo>
                    <a:pt x="6" y="7"/>
                    <a:pt x="6" y="7"/>
                    <a:pt x="6" y="7"/>
                  </a:cubicBezTo>
                  <a:cubicBezTo>
                    <a:pt x="24" y="6"/>
                    <a:pt x="24" y="6"/>
                    <a:pt x="24" y="6"/>
                  </a:cubicBezTo>
                  <a:cubicBezTo>
                    <a:pt x="24" y="11"/>
                    <a:pt x="24" y="11"/>
                    <a:pt x="24" y="11"/>
                  </a:cubicBezTo>
                  <a:cubicBezTo>
                    <a:pt x="25" y="11"/>
                    <a:pt x="25" y="11"/>
                    <a:pt x="25" y="11"/>
                  </a:cubicBezTo>
                  <a:cubicBezTo>
                    <a:pt x="30" y="4"/>
                    <a:pt x="30" y="4"/>
                    <a:pt x="30" y="4"/>
                  </a:cubicBezTo>
                  <a:cubicBezTo>
                    <a:pt x="30" y="4"/>
                    <a:pt x="30" y="4"/>
                    <a:pt x="31" y="3"/>
                  </a:cubicBezTo>
                  <a:cubicBezTo>
                    <a:pt x="30" y="2"/>
                    <a:pt x="29" y="0"/>
                    <a:pt x="26" y="0"/>
                  </a:cubicBezTo>
                  <a:cubicBezTo>
                    <a:pt x="4" y="1"/>
                    <a:pt x="4" y="1"/>
                    <a:pt x="4" y="1"/>
                  </a:cubicBezTo>
                  <a:cubicBezTo>
                    <a:pt x="3" y="1"/>
                    <a:pt x="2" y="1"/>
                    <a:pt x="1" y="2"/>
                  </a:cubicBezTo>
                  <a:cubicBezTo>
                    <a:pt x="0" y="3"/>
                    <a:pt x="0" y="4"/>
                    <a:pt x="0" y="5"/>
                  </a:cubicBezTo>
                  <a:cubicBezTo>
                    <a:pt x="1" y="25"/>
                    <a:pt x="1" y="25"/>
                    <a:pt x="1" y="25"/>
                  </a:cubicBezTo>
                  <a:cubicBezTo>
                    <a:pt x="1" y="27"/>
                    <a:pt x="3" y="29"/>
                    <a:pt x="5" y="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8" name="Freeform 144"/>
            <p:cNvSpPr>
              <a:spLocks/>
            </p:cNvSpPr>
            <p:nvPr/>
          </p:nvSpPr>
          <p:spPr bwMode="auto">
            <a:xfrm>
              <a:off x="11370741" y="3845993"/>
              <a:ext cx="120650" cy="104775"/>
            </a:xfrm>
            <a:custGeom>
              <a:avLst/>
              <a:gdLst>
                <a:gd name="T0" fmla="*/ 7 w 32"/>
                <a:gd name="T1" fmla="*/ 11 h 28"/>
                <a:gd name="T2" fmla="*/ 2 w 32"/>
                <a:gd name="T3" fmla="*/ 12 h 28"/>
                <a:gd name="T4" fmla="*/ 2 w 32"/>
                <a:gd name="T5" fmla="*/ 18 h 28"/>
                <a:gd name="T6" fmla="*/ 15 w 32"/>
                <a:gd name="T7" fmla="*/ 28 h 28"/>
                <a:gd name="T8" fmla="*/ 30 w 32"/>
                <a:gd name="T9" fmla="*/ 7 h 28"/>
                <a:gd name="T10" fmla="*/ 30 w 32"/>
                <a:gd name="T11" fmla="*/ 1 h 28"/>
                <a:gd name="T12" fmla="*/ 24 w 32"/>
                <a:gd name="T13" fmla="*/ 2 h 28"/>
                <a:gd name="T14" fmla="*/ 13 w 32"/>
                <a:gd name="T15" fmla="*/ 16 h 28"/>
                <a:gd name="T16" fmla="*/ 7 w 32"/>
                <a:gd name="T17" fmla="*/ 1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8">
                  <a:moveTo>
                    <a:pt x="7" y="11"/>
                  </a:moveTo>
                  <a:cubicBezTo>
                    <a:pt x="5" y="10"/>
                    <a:pt x="3" y="10"/>
                    <a:pt x="2" y="12"/>
                  </a:cubicBezTo>
                  <a:cubicBezTo>
                    <a:pt x="0" y="13"/>
                    <a:pt x="0" y="16"/>
                    <a:pt x="2" y="18"/>
                  </a:cubicBezTo>
                  <a:cubicBezTo>
                    <a:pt x="15" y="28"/>
                    <a:pt x="15" y="28"/>
                    <a:pt x="15" y="28"/>
                  </a:cubicBezTo>
                  <a:cubicBezTo>
                    <a:pt x="30" y="7"/>
                    <a:pt x="30" y="7"/>
                    <a:pt x="30" y="7"/>
                  </a:cubicBezTo>
                  <a:cubicBezTo>
                    <a:pt x="32" y="5"/>
                    <a:pt x="32" y="3"/>
                    <a:pt x="30" y="1"/>
                  </a:cubicBezTo>
                  <a:cubicBezTo>
                    <a:pt x="28" y="0"/>
                    <a:pt x="25" y="0"/>
                    <a:pt x="24" y="2"/>
                  </a:cubicBezTo>
                  <a:cubicBezTo>
                    <a:pt x="13" y="16"/>
                    <a:pt x="13" y="16"/>
                    <a:pt x="13" y="16"/>
                  </a:cubicBezTo>
                  <a:lnTo>
                    <a:pt x="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9" name="Freeform 145"/>
            <p:cNvSpPr>
              <a:spLocks/>
            </p:cNvSpPr>
            <p:nvPr/>
          </p:nvSpPr>
          <p:spPr bwMode="auto">
            <a:xfrm>
              <a:off x="11323116" y="3976168"/>
              <a:ext cx="119062" cy="109538"/>
            </a:xfrm>
            <a:custGeom>
              <a:avLst/>
              <a:gdLst>
                <a:gd name="T0" fmla="*/ 6 w 32"/>
                <a:gd name="T1" fmla="*/ 23 h 29"/>
                <a:gd name="T2" fmla="*/ 7 w 32"/>
                <a:gd name="T3" fmla="*/ 7 h 29"/>
                <a:gd name="T4" fmla="*/ 25 w 32"/>
                <a:gd name="T5" fmla="*/ 6 h 29"/>
                <a:gd name="T6" fmla="*/ 25 w 32"/>
                <a:gd name="T7" fmla="*/ 10 h 29"/>
                <a:gd name="T8" fmla="*/ 26 w 32"/>
                <a:gd name="T9" fmla="*/ 11 h 29"/>
                <a:gd name="T10" fmla="*/ 31 w 32"/>
                <a:gd name="T11" fmla="*/ 4 h 29"/>
                <a:gd name="T12" fmla="*/ 32 w 32"/>
                <a:gd name="T13" fmla="*/ 4 h 29"/>
                <a:gd name="T14" fmla="*/ 30 w 32"/>
                <a:gd name="T15" fmla="*/ 1 h 29"/>
                <a:gd name="T16" fmla="*/ 27 w 32"/>
                <a:gd name="T17" fmla="*/ 0 h 29"/>
                <a:gd name="T18" fmla="*/ 5 w 32"/>
                <a:gd name="T19" fmla="*/ 0 h 29"/>
                <a:gd name="T20" fmla="*/ 1 w 32"/>
                <a:gd name="T21" fmla="*/ 5 h 29"/>
                <a:gd name="T22" fmla="*/ 0 w 32"/>
                <a:gd name="T23" fmla="*/ 25 h 29"/>
                <a:gd name="T24" fmla="*/ 1 w 32"/>
                <a:gd name="T25" fmla="*/ 28 h 29"/>
                <a:gd name="T26" fmla="*/ 4 w 32"/>
                <a:gd name="T27" fmla="*/ 29 h 29"/>
                <a:gd name="T28" fmla="*/ 22 w 32"/>
                <a:gd name="T29" fmla="*/ 29 h 29"/>
                <a:gd name="T30" fmla="*/ 14 w 32"/>
                <a:gd name="T31" fmla="*/ 23 h 29"/>
                <a:gd name="T32" fmla="*/ 6 w 32"/>
                <a:gd name="T33"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9">
                  <a:moveTo>
                    <a:pt x="6" y="23"/>
                  </a:moveTo>
                  <a:cubicBezTo>
                    <a:pt x="7" y="7"/>
                    <a:pt x="7" y="7"/>
                    <a:pt x="7" y="7"/>
                  </a:cubicBezTo>
                  <a:cubicBezTo>
                    <a:pt x="25" y="6"/>
                    <a:pt x="25" y="6"/>
                    <a:pt x="25" y="6"/>
                  </a:cubicBezTo>
                  <a:cubicBezTo>
                    <a:pt x="25" y="10"/>
                    <a:pt x="25" y="10"/>
                    <a:pt x="25" y="10"/>
                  </a:cubicBezTo>
                  <a:cubicBezTo>
                    <a:pt x="26" y="11"/>
                    <a:pt x="26" y="11"/>
                    <a:pt x="26" y="11"/>
                  </a:cubicBezTo>
                  <a:cubicBezTo>
                    <a:pt x="31" y="4"/>
                    <a:pt x="31" y="4"/>
                    <a:pt x="31" y="4"/>
                  </a:cubicBezTo>
                  <a:cubicBezTo>
                    <a:pt x="31" y="4"/>
                    <a:pt x="32" y="4"/>
                    <a:pt x="32" y="4"/>
                  </a:cubicBezTo>
                  <a:cubicBezTo>
                    <a:pt x="32" y="3"/>
                    <a:pt x="31" y="2"/>
                    <a:pt x="30" y="1"/>
                  </a:cubicBezTo>
                  <a:cubicBezTo>
                    <a:pt x="30" y="0"/>
                    <a:pt x="28" y="0"/>
                    <a:pt x="27" y="0"/>
                  </a:cubicBezTo>
                  <a:cubicBezTo>
                    <a:pt x="5" y="0"/>
                    <a:pt x="5" y="0"/>
                    <a:pt x="5" y="0"/>
                  </a:cubicBezTo>
                  <a:cubicBezTo>
                    <a:pt x="3" y="0"/>
                    <a:pt x="1" y="2"/>
                    <a:pt x="1" y="5"/>
                  </a:cubicBezTo>
                  <a:cubicBezTo>
                    <a:pt x="0" y="25"/>
                    <a:pt x="0" y="25"/>
                    <a:pt x="0" y="25"/>
                  </a:cubicBezTo>
                  <a:cubicBezTo>
                    <a:pt x="0" y="26"/>
                    <a:pt x="0" y="28"/>
                    <a:pt x="1" y="28"/>
                  </a:cubicBezTo>
                  <a:cubicBezTo>
                    <a:pt x="2" y="29"/>
                    <a:pt x="3" y="29"/>
                    <a:pt x="4" y="29"/>
                  </a:cubicBezTo>
                  <a:cubicBezTo>
                    <a:pt x="22" y="29"/>
                    <a:pt x="22" y="29"/>
                    <a:pt x="22" y="29"/>
                  </a:cubicBezTo>
                  <a:cubicBezTo>
                    <a:pt x="14" y="23"/>
                    <a:pt x="14" y="23"/>
                    <a:pt x="14" y="23"/>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0" name="Freeform 146"/>
            <p:cNvSpPr>
              <a:spLocks/>
            </p:cNvSpPr>
            <p:nvPr/>
          </p:nvSpPr>
          <p:spPr bwMode="auto">
            <a:xfrm>
              <a:off x="11370741" y="3980931"/>
              <a:ext cx="123825" cy="104775"/>
            </a:xfrm>
            <a:custGeom>
              <a:avLst/>
              <a:gdLst>
                <a:gd name="T0" fmla="*/ 30 w 33"/>
                <a:gd name="T1" fmla="*/ 1 h 28"/>
                <a:gd name="T2" fmla="*/ 24 w 33"/>
                <a:gd name="T3" fmla="*/ 2 h 28"/>
                <a:gd name="T4" fmla="*/ 14 w 33"/>
                <a:gd name="T5" fmla="*/ 16 h 28"/>
                <a:gd name="T6" fmla="*/ 7 w 33"/>
                <a:gd name="T7" fmla="*/ 11 h 28"/>
                <a:gd name="T8" fmla="*/ 2 w 33"/>
                <a:gd name="T9" fmla="*/ 12 h 28"/>
                <a:gd name="T10" fmla="*/ 3 w 33"/>
                <a:gd name="T11" fmla="*/ 18 h 28"/>
                <a:gd name="T12" fmla="*/ 15 w 33"/>
                <a:gd name="T13" fmla="*/ 28 h 28"/>
                <a:gd name="T14" fmla="*/ 31 w 33"/>
                <a:gd name="T15" fmla="*/ 8 h 28"/>
                <a:gd name="T16" fmla="*/ 30 w 33"/>
                <a:gd name="T1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30" y="1"/>
                  </a:moveTo>
                  <a:cubicBezTo>
                    <a:pt x="28" y="0"/>
                    <a:pt x="26" y="0"/>
                    <a:pt x="24" y="2"/>
                  </a:cubicBezTo>
                  <a:cubicBezTo>
                    <a:pt x="14" y="16"/>
                    <a:pt x="14" y="16"/>
                    <a:pt x="14" y="16"/>
                  </a:cubicBezTo>
                  <a:cubicBezTo>
                    <a:pt x="7" y="11"/>
                    <a:pt x="7" y="11"/>
                    <a:pt x="7" y="11"/>
                  </a:cubicBezTo>
                  <a:cubicBezTo>
                    <a:pt x="6" y="10"/>
                    <a:pt x="3" y="10"/>
                    <a:pt x="2" y="12"/>
                  </a:cubicBezTo>
                  <a:cubicBezTo>
                    <a:pt x="0" y="14"/>
                    <a:pt x="1" y="17"/>
                    <a:pt x="3" y="18"/>
                  </a:cubicBezTo>
                  <a:cubicBezTo>
                    <a:pt x="15" y="28"/>
                    <a:pt x="15" y="28"/>
                    <a:pt x="15" y="28"/>
                  </a:cubicBezTo>
                  <a:cubicBezTo>
                    <a:pt x="31" y="8"/>
                    <a:pt x="31" y="8"/>
                    <a:pt x="31" y="8"/>
                  </a:cubicBezTo>
                  <a:cubicBezTo>
                    <a:pt x="33" y="6"/>
                    <a:pt x="32" y="3"/>
                    <a:pt x="3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3" name="Footer Placeholder 2"/>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41" name="Title 3"/>
          <p:cNvSpPr>
            <a:spLocks noGrp="1"/>
          </p:cNvSpPr>
          <p:nvPr>
            <p:ph type="title"/>
          </p:nvPr>
        </p:nvSpPr>
        <p:spPr>
          <a:xfrm>
            <a:off x="455614" y="116205"/>
            <a:ext cx="4963054" cy="1002979"/>
          </a:xfrm>
        </p:spPr>
        <p:txBody>
          <a:bodyPr/>
          <a:lstStyle/>
          <a:p>
            <a:r>
              <a:rPr lang="zh-CN" altLang="en-US" dirty="0" smtClean="0">
                <a:latin typeface="SimSun" panose="02010600030101010101" pitchFamily="2" charset="-122"/>
                <a:ea typeface="SimSun" panose="02010600030101010101" pitchFamily="2" charset="-122"/>
              </a:rPr>
              <a:t>持续交付的定义来自哪里</a:t>
            </a:r>
            <a:endParaRPr lang="en-GB" dirty="0">
              <a:latin typeface="SimSun" panose="02010600030101010101" pitchFamily="2" charset="-122"/>
              <a:ea typeface="SimSun" panose="02010600030101010101" pitchFamily="2" charset="-122"/>
            </a:endParaRPr>
          </a:p>
        </p:txBody>
      </p:sp>
      <p:sp>
        <p:nvSpPr>
          <p:cNvPr id="42" name="Text Placeholder 1"/>
          <p:cNvSpPr txBox="1">
            <a:spLocks/>
          </p:cNvSpPr>
          <p:nvPr/>
        </p:nvSpPr>
        <p:spPr>
          <a:xfrm>
            <a:off x="455614" y="1182021"/>
            <a:ext cx="5121098" cy="396000"/>
          </a:xfrm>
          <a:prstGeom prst="rect">
            <a:avLst/>
          </a:prstGeom>
        </p:spPr>
        <p:txBody>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2400" dirty="0" smtClean="0">
                <a:solidFill>
                  <a:schemeClr val="accent1"/>
                </a:solidFill>
                <a:latin typeface="SimSun" panose="02010600030101010101" pitchFamily="2" charset="-122"/>
                <a:ea typeface="SimSun" panose="02010600030101010101" pitchFamily="2" charset="-122"/>
              </a:rPr>
              <a:t>持续交付的定义</a:t>
            </a:r>
            <a:endParaRPr lang="en-GB" sz="2400" dirty="0">
              <a:solidFill>
                <a:schemeClr val="accent1"/>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268726281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txBox="1">
            <a:spLocks/>
          </p:cNvSpPr>
          <p:nvPr/>
        </p:nvSpPr>
        <p:spPr>
          <a:xfrm>
            <a:off x="1037324"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2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想法</a:t>
            </a:r>
            <a:endParaRPr lang="en-GB" sz="32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14" name="Title 3"/>
          <p:cNvSpPr txBox="1">
            <a:spLocks/>
          </p:cNvSpPr>
          <p:nvPr/>
        </p:nvSpPr>
        <p:spPr>
          <a:xfrm>
            <a:off x="6653269"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2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价值</a:t>
            </a:r>
            <a:endParaRPr lang="en-GB" sz="32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grpSp>
        <p:nvGrpSpPr>
          <p:cNvPr id="6" name="Group 5"/>
          <p:cNvGrpSpPr>
            <a:grpSpLocks noChangeAspect="1"/>
          </p:cNvGrpSpPr>
          <p:nvPr/>
        </p:nvGrpSpPr>
        <p:grpSpPr bwMode="auto">
          <a:xfrm>
            <a:off x="6827302" y="2116428"/>
            <a:ext cx="1152800" cy="1859661"/>
            <a:chOff x="6599" y="1623"/>
            <a:chExt cx="486" cy="784"/>
          </a:xfrm>
          <a:solidFill>
            <a:schemeClr val="accent4"/>
          </a:solidFill>
        </p:grpSpPr>
        <p:sp>
          <p:nvSpPr>
            <p:cNvPr id="1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5"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sp>
        <p:nvSpPr>
          <p:cNvPr id="25" name="Freeform 18"/>
          <p:cNvSpPr>
            <a:spLocks noEditPoints="1"/>
          </p:cNvSpPr>
          <p:nvPr/>
        </p:nvSpPr>
        <p:spPr bwMode="auto">
          <a:xfrm>
            <a:off x="842358" y="1756218"/>
            <a:ext cx="1924007" cy="2102088"/>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12" name="Title 3"/>
          <p:cNvSpPr txBox="1">
            <a:spLocks/>
          </p:cNvSpPr>
          <p:nvPr/>
        </p:nvSpPr>
        <p:spPr>
          <a:xfrm>
            <a:off x="2877840" y="2667576"/>
            <a:ext cx="3618797" cy="46333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转化为价值</a:t>
            </a:r>
            <a:endParaRPr lang="en-GB" sz="32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cxnSp>
        <p:nvCxnSpPr>
          <p:cNvPr id="27" name="Straight Connector 26"/>
          <p:cNvCxnSpPr/>
          <p:nvPr/>
        </p:nvCxnSpPr>
        <p:spPr>
          <a:xfrm>
            <a:off x="3438525" y="3300814"/>
            <a:ext cx="2533650" cy="0"/>
          </a:xfrm>
          <a:prstGeom prst="line">
            <a:avLst/>
          </a:prstGeom>
          <a:ln w="28575" cap="rnd">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2" name="Rectangle 1"/>
          <p:cNvSpPr/>
          <p:nvPr/>
        </p:nvSpPr>
        <p:spPr>
          <a:xfrm>
            <a:off x="248357" y="525847"/>
            <a:ext cx="8692444" cy="584775"/>
          </a:xfrm>
          <a:prstGeom prst="rect">
            <a:avLst/>
          </a:prstGeom>
        </p:spPr>
        <p:txBody>
          <a:bodyPr wrap="square">
            <a:spAutoFit/>
          </a:bodyPr>
          <a:lstStyle/>
          <a:p>
            <a:r>
              <a:rPr lang="zh-CN" altLang="en-US" sz="3200" dirty="0" smtClean="0">
                <a:latin typeface="SimSun" panose="02010600030101010101" pitchFamily="2" charset="-122"/>
                <a:ea typeface="SimSun" panose="02010600030101010101" pitchFamily="2" charset="-122"/>
              </a:rPr>
              <a:t>持续集成 </a:t>
            </a:r>
            <a:r>
              <a:rPr lang="en-US" altLang="zh-CN" sz="3200" dirty="0" smtClean="0">
                <a:latin typeface="SimSun" panose="02010600030101010101" pitchFamily="2" charset="-122"/>
                <a:ea typeface="SimSun" panose="02010600030101010101" pitchFamily="2" charset="-122"/>
              </a:rPr>
              <a:t>&amp; </a:t>
            </a:r>
            <a:r>
              <a:rPr lang="zh-CN" altLang="en-US" sz="3200" dirty="0" smtClean="0">
                <a:latin typeface="SimSun" panose="02010600030101010101" pitchFamily="2" charset="-122"/>
                <a:ea typeface="SimSun" panose="02010600030101010101" pitchFamily="2" charset="-122"/>
              </a:rPr>
              <a:t>持续交付</a:t>
            </a:r>
            <a:endParaRPr lang="en-US"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42736179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42" presetClass="path" presetSubtype="0" decel="100000" fill="hold" grpId="1" nodeType="withEffect">
                                  <p:stCondLst>
                                    <p:cond delay="0"/>
                                  </p:stCondLst>
                                  <p:childTnLst>
                                    <p:animMotion origin="layout" path="M -1.11111E-6 2.02715E-6 L -1.11111E-6 0.14378 " pathEditMode="relative" rAng="0" ptsTypes="AA">
                                      <p:cBhvr>
                                        <p:cTn id="9" dur="750" spd="-100000" fill="hold"/>
                                        <p:tgtEl>
                                          <p:spTgt spid="25"/>
                                        </p:tgtEl>
                                        <p:attrNameLst>
                                          <p:attrName>ppt_x</p:attrName>
                                          <p:attrName>ppt_y</p:attrName>
                                        </p:attrNameLst>
                                      </p:cBhvr>
                                      <p:rCtr x="0" y="7189"/>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42" presetClass="path" presetSubtype="0" decel="100000" fill="hold" nodeType="withEffect">
                                  <p:stCondLst>
                                    <p:cond delay="0"/>
                                  </p:stCondLst>
                                  <p:childTnLst>
                                    <p:animMotion origin="layout" path="M -1.11111E-6 2.02715E-6 L -1.11111E-6 0.14378 " pathEditMode="relative" rAng="0" ptsTypes="AA">
                                      <p:cBhvr>
                                        <p:cTn id="18" dur="750" spd="-100000" fill="hold"/>
                                        <p:tgtEl>
                                          <p:spTgt spid="6"/>
                                        </p:tgtEl>
                                        <p:attrNameLst>
                                          <p:attrName>ppt_x</p:attrName>
                                          <p:attrName>ppt_y</p:attrName>
                                        </p:attrNameLst>
                                      </p:cBhvr>
                                      <p:rCtr x="0" y="7189"/>
                                    </p:animMotion>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63" presetClass="path" presetSubtype="0" decel="100000" fill="hold" nodeType="withEffect">
                                  <p:stCondLst>
                                    <p:cond delay="0"/>
                                  </p:stCondLst>
                                  <p:childTnLst>
                                    <p:animMotion origin="layout" path="M -0.08924 -4.47701E-6 L 4.16667E-6 -4.47701E-6 " pathEditMode="relative" rAng="0" ptsTypes="AA">
                                      <p:cBhvr>
                                        <p:cTn id="27" dur="750" fill="hold"/>
                                        <p:tgtEl>
                                          <p:spTgt spid="27"/>
                                        </p:tgtEl>
                                        <p:attrNameLst>
                                          <p:attrName>ppt_x</p:attrName>
                                          <p:attrName>ppt_y</p:attrName>
                                        </p:attrNameLst>
                                      </p:cBhvr>
                                      <p:rCtr x="4462" y="0"/>
                                    </p:animMotion>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63" presetClass="path" presetSubtype="0" decel="100000" fill="hold" grpId="1" nodeType="withEffect">
                                  <p:stCondLst>
                                    <p:cond delay="0"/>
                                  </p:stCondLst>
                                  <p:childTnLst>
                                    <p:animMotion origin="layout" path="M -0.08924 -4.47701E-6 L 4.16667E-6 -4.47701E-6 " pathEditMode="relative" rAng="0" ptsTypes="AA">
                                      <p:cBhvr>
                                        <p:cTn id="32" dur="750" fill="hold"/>
                                        <p:tgtEl>
                                          <p:spTgt spid="12"/>
                                        </p:tgtEl>
                                        <p:attrNameLst>
                                          <p:attrName>ppt_x</p:attrName>
                                          <p:attrName>ppt_y</p:attrName>
                                        </p:attrNameLst>
                                      </p:cBhvr>
                                      <p:rCtr x="446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25" grpId="0" animBg="1"/>
      <p:bldP spid="25" grpId="1" animBg="1"/>
      <p:bldP spid="12" grpId="0"/>
      <p:bldP spid="12"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40149" y="1757591"/>
            <a:ext cx="2205396" cy="3680763"/>
            <a:chOff x="740149" y="1757591"/>
            <a:chExt cx="2205396" cy="3680763"/>
          </a:xfrm>
        </p:grpSpPr>
        <p:grpSp>
          <p:nvGrpSpPr>
            <p:cNvPr id="21521" name="Group 21520"/>
            <p:cNvGrpSpPr/>
            <p:nvPr/>
          </p:nvGrpSpPr>
          <p:grpSpPr>
            <a:xfrm>
              <a:off x="740149" y="1757591"/>
              <a:ext cx="2205396" cy="2400258"/>
              <a:chOff x="-8448306" y="2217632"/>
              <a:chExt cx="2205396" cy="2400258"/>
            </a:xfrm>
          </p:grpSpPr>
          <p:grpSp>
            <p:nvGrpSpPr>
              <p:cNvPr id="21514" name="Group 21513"/>
              <p:cNvGrpSpPr/>
              <p:nvPr/>
            </p:nvGrpSpPr>
            <p:grpSpPr>
              <a:xfrm>
                <a:off x="-8448306" y="2217632"/>
                <a:ext cx="468885" cy="2400258"/>
                <a:chOff x="657594" y="2217632"/>
                <a:chExt cx="468885" cy="2400258"/>
              </a:xfrm>
            </p:grpSpPr>
            <p:sp>
              <p:nvSpPr>
                <p:cNvPr id="58" name="Freeform 18"/>
                <p:cNvSpPr>
                  <a:spLocks noEditPoints="1"/>
                </p:cNvSpPr>
                <p:nvPr/>
              </p:nvSpPr>
              <p:spPr bwMode="auto">
                <a:xfrm>
                  <a:off x="657594"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78" name="Freeform 18"/>
                <p:cNvSpPr>
                  <a:spLocks noEditPoints="1"/>
                </p:cNvSpPr>
                <p:nvPr/>
              </p:nvSpPr>
              <p:spPr bwMode="auto">
                <a:xfrm>
                  <a:off x="657594"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1" name="Freeform 18"/>
                <p:cNvSpPr>
                  <a:spLocks noEditPoints="1"/>
                </p:cNvSpPr>
                <p:nvPr/>
              </p:nvSpPr>
              <p:spPr bwMode="auto">
                <a:xfrm>
                  <a:off x="657594"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4" name="Freeform 18"/>
                <p:cNvSpPr>
                  <a:spLocks noEditPoints="1"/>
                </p:cNvSpPr>
                <p:nvPr/>
              </p:nvSpPr>
              <p:spPr bwMode="auto">
                <a:xfrm>
                  <a:off x="657594"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grpSp>
          <p:grpSp>
            <p:nvGrpSpPr>
              <p:cNvPr id="21515" name="Group 21514"/>
              <p:cNvGrpSpPr/>
              <p:nvPr/>
            </p:nvGrpSpPr>
            <p:grpSpPr>
              <a:xfrm>
                <a:off x="-7869469" y="2217632"/>
                <a:ext cx="468885" cy="2400258"/>
                <a:chOff x="1189969" y="2217632"/>
                <a:chExt cx="468885" cy="2400258"/>
              </a:xfrm>
            </p:grpSpPr>
            <p:sp>
              <p:nvSpPr>
                <p:cNvPr id="76" name="Freeform 18"/>
                <p:cNvSpPr>
                  <a:spLocks noEditPoints="1"/>
                </p:cNvSpPr>
                <p:nvPr/>
              </p:nvSpPr>
              <p:spPr bwMode="auto">
                <a:xfrm>
                  <a:off x="1189969"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79" name="Freeform 18"/>
                <p:cNvSpPr>
                  <a:spLocks noEditPoints="1"/>
                </p:cNvSpPr>
                <p:nvPr/>
              </p:nvSpPr>
              <p:spPr bwMode="auto">
                <a:xfrm>
                  <a:off x="1189969"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2" name="Freeform 18"/>
                <p:cNvSpPr>
                  <a:spLocks noEditPoints="1"/>
                </p:cNvSpPr>
                <p:nvPr/>
              </p:nvSpPr>
              <p:spPr bwMode="auto">
                <a:xfrm>
                  <a:off x="1189969"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5" name="Freeform 18"/>
                <p:cNvSpPr>
                  <a:spLocks noEditPoints="1"/>
                </p:cNvSpPr>
                <p:nvPr/>
              </p:nvSpPr>
              <p:spPr bwMode="auto">
                <a:xfrm>
                  <a:off x="1189969"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grpSp>
          <p:grpSp>
            <p:nvGrpSpPr>
              <p:cNvPr id="21516" name="Group 21515"/>
              <p:cNvGrpSpPr/>
              <p:nvPr/>
            </p:nvGrpSpPr>
            <p:grpSpPr>
              <a:xfrm>
                <a:off x="-7290632" y="2217632"/>
                <a:ext cx="468885" cy="2400258"/>
                <a:chOff x="1722344" y="2217632"/>
                <a:chExt cx="468885" cy="2400258"/>
              </a:xfrm>
            </p:grpSpPr>
            <p:sp>
              <p:nvSpPr>
                <p:cNvPr id="77" name="Freeform 18"/>
                <p:cNvSpPr>
                  <a:spLocks noEditPoints="1"/>
                </p:cNvSpPr>
                <p:nvPr/>
              </p:nvSpPr>
              <p:spPr bwMode="auto">
                <a:xfrm>
                  <a:off x="1722344"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0" name="Freeform 18"/>
                <p:cNvSpPr>
                  <a:spLocks noEditPoints="1"/>
                </p:cNvSpPr>
                <p:nvPr/>
              </p:nvSpPr>
              <p:spPr bwMode="auto">
                <a:xfrm>
                  <a:off x="1722344"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3" name="Freeform 18"/>
                <p:cNvSpPr>
                  <a:spLocks noEditPoints="1"/>
                </p:cNvSpPr>
                <p:nvPr/>
              </p:nvSpPr>
              <p:spPr bwMode="auto">
                <a:xfrm>
                  <a:off x="1722344"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86" name="Freeform 18"/>
                <p:cNvSpPr>
                  <a:spLocks noEditPoints="1"/>
                </p:cNvSpPr>
                <p:nvPr/>
              </p:nvSpPr>
              <p:spPr bwMode="auto">
                <a:xfrm>
                  <a:off x="1722344"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grpSp>
          <p:grpSp>
            <p:nvGrpSpPr>
              <p:cNvPr id="21513" name="Group 21512"/>
              <p:cNvGrpSpPr/>
              <p:nvPr/>
            </p:nvGrpSpPr>
            <p:grpSpPr>
              <a:xfrm>
                <a:off x="-6711795" y="2217632"/>
                <a:ext cx="468885" cy="2400258"/>
                <a:chOff x="2394105" y="2217632"/>
                <a:chExt cx="468885" cy="2400258"/>
              </a:xfrm>
            </p:grpSpPr>
            <p:sp>
              <p:nvSpPr>
                <p:cNvPr id="201" name="Freeform 18"/>
                <p:cNvSpPr>
                  <a:spLocks noEditPoints="1"/>
                </p:cNvSpPr>
                <p:nvPr/>
              </p:nvSpPr>
              <p:spPr bwMode="auto">
                <a:xfrm>
                  <a:off x="2394105"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202" name="Freeform 18"/>
                <p:cNvSpPr>
                  <a:spLocks noEditPoints="1"/>
                </p:cNvSpPr>
                <p:nvPr/>
              </p:nvSpPr>
              <p:spPr bwMode="auto">
                <a:xfrm>
                  <a:off x="2394105"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203" name="Freeform 18"/>
                <p:cNvSpPr>
                  <a:spLocks noEditPoints="1"/>
                </p:cNvSpPr>
                <p:nvPr/>
              </p:nvSpPr>
              <p:spPr bwMode="auto">
                <a:xfrm>
                  <a:off x="2394105"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sp>
              <p:nvSpPr>
                <p:cNvPr id="204" name="Freeform 18"/>
                <p:cNvSpPr>
                  <a:spLocks noEditPoints="1"/>
                </p:cNvSpPr>
                <p:nvPr/>
              </p:nvSpPr>
              <p:spPr bwMode="auto">
                <a:xfrm>
                  <a:off x="2394105"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grpSp>
        </p:grpSp>
        <p:sp>
          <p:nvSpPr>
            <p:cNvPr id="195" name="Title 3"/>
            <p:cNvSpPr txBox="1">
              <a:spLocks/>
            </p:cNvSpPr>
            <p:nvPr/>
          </p:nvSpPr>
          <p:spPr>
            <a:xfrm>
              <a:off x="1037324"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smtClean="0">
                  <a:latin typeface="SimSun" panose="02010600030101010101" pitchFamily="2" charset="-122"/>
                  <a:ea typeface="SimSun" panose="02010600030101010101" pitchFamily="2" charset="-122"/>
                  <a:cs typeface="MV Boli" panose="02000500030200090000" pitchFamily="2" charset="0"/>
                </a:rPr>
                <a:t>想法</a:t>
              </a:r>
              <a:endParaRPr lang="en-GB" sz="2800" b="1" dirty="0">
                <a:latin typeface="SimSun" panose="02010600030101010101" pitchFamily="2" charset="-122"/>
                <a:ea typeface="SimSun" panose="02010600030101010101" pitchFamily="2" charset="-122"/>
                <a:cs typeface="MV Boli" panose="02000500030200090000" pitchFamily="2" charset="0"/>
              </a:endParaRPr>
            </a:p>
          </p:txBody>
        </p:sp>
      </p:grpSp>
      <p:grpSp>
        <p:nvGrpSpPr>
          <p:cNvPr id="5" name="Group 4"/>
          <p:cNvGrpSpPr/>
          <p:nvPr/>
        </p:nvGrpSpPr>
        <p:grpSpPr>
          <a:xfrm>
            <a:off x="6555873" y="1756218"/>
            <a:ext cx="1843166" cy="3682136"/>
            <a:chOff x="6555873" y="1756218"/>
            <a:chExt cx="1843166" cy="3682136"/>
          </a:xfrm>
        </p:grpSpPr>
        <p:grpSp>
          <p:nvGrpSpPr>
            <p:cNvPr id="21522" name="Group 21521"/>
            <p:cNvGrpSpPr/>
            <p:nvPr/>
          </p:nvGrpSpPr>
          <p:grpSpPr>
            <a:xfrm>
              <a:off x="6555873" y="1756218"/>
              <a:ext cx="1843166" cy="2400258"/>
              <a:chOff x="-2535440" y="2217632"/>
              <a:chExt cx="1843166" cy="2400258"/>
            </a:xfrm>
          </p:grpSpPr>
          <p:grpSp>
            <p:nvGrpSpPr>
              <p:cNvPr id="21518" name="Group 21517"/>
              <p:cNvGrpSpPr/>
              <p:nvPr/>
            </p:nvGrpSpPr>
            <p:grpSpPr>
              <a:xfrm>
                <a:off x="-2535440" y="2217632"/>
                <a:ext cx="298604" cy="2400258"/>
                <a:chOff x="6682902" y="2217632"/>
                <a:chExt cx="298604" cy="2400258"/>
              </a:xfrm>
            </p:grpSpPr>
            <p:grpSp>
              <p:nvGrpSpPr>
                <p:cNvPr id="51" name="Group 50"/>
                <p:cNvGrpSpPr>
                  <a:grpSpLocks noChangeAspect="1"/>
                </p:cNvGrpSpPr>
                <p:nvPr/>
              </p:nvGrpSpPr>
              <p:grpSpPr bwMode="auto">
                <a:xfrm>
                  <a:off x="6682902" y="2217632"/>
                  <a:ext cx="298604" cy="481699"/>
                  <a:chOff x="6599" y="1623"/>
                  <a:chExt cx="486" cy="784"/>
                </a:xfrm>
                <a:solidFill>
                  <a:schemeClr val="accent4"/>
                </a:solidFill>
              </p:grpSpPr>
              <p:sp>
                <p:nvSpPr>
                  <p:cNvPr id="5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32" name="Group 131"/>
                <p:cNvGrpSpPr>
                  <a:grpSpLocks noChangeAspect="1"/>
                </p:cNvGrpSpPr>
                <p:nvPr/>
              </p:nvGrpSpPr>
              <p:grpSpPr bwMode="auto">
                <a:xfrm>
                  <a:off x="6682902" y="2857152"/>
                  <a:ext cx="298604" cy="481699"/>
                  <a:chOff x="6599" y="1623"/>
                  <a:chExt cx="486" cy="784"/>
                </a:xfrm>
                <a:solidFill>
                  <a:schemeClr val="accent4"/>
                </a:solidFill>
              </p:grpSpPr>
              <p:sp>
                <p:nvSpPr>
                  <p:cNvPr id="133"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34"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35"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36"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37"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38"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53" name="Group 152"/>
                <p:cNvGrpSpPr>
                  <a:grpSpLocks noChangeAspect="1"/>
                </p:cNvGrpSpPr>
                <p:nvPr/>
              </p:nvGrpSpPr>
              <p:grpSpPr bwMode="auto">
                <a:xfrm>
                  <a:off x="6682902" y="3496672"/>
                  <a:ext cx="298604" cy="481699"/>
                  <a:chOff x="6599" y="1623"/>
                  <a:chExt cx="486" cy="784"/>
                </a:xfrm>
                <a:solidFill>
                  <a:schemeClr val="accent4"/>
                </a:solidFill>
              </p:grpSpPr>
              <p:sp>
                <p:nvSpPr>
                  <p:cNvPr id="15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74" name="Group 173"/>
                <p:cNvGrpSpPr>
                  <a:grpSpLocks noChangeAspect="1"/>
                </p:cNvGrpSpPr>
                <p:nvPr/>
              </p:nvGrpSpPr>
              <p:grpSpPr bwMode="auto">
                <a:xfrm>
                  <a:off x="6682902" y="4136191"/>
                  <a:ext cx="298604" cy="481699"/>
                  <a:chOff x="6599" y="1623"/>
                  <a:chExt cx="486" cy="784"/>
                </a:xfrm>
                <a:solidFill>
                  <a:schemeClr val="accent4"/>
                </a:solidFill>
              </p:grpSpPr>
              <p:sp>
                <p:nvSpPr>
                  <p:cNvPr id="175"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6"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7"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8"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9"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80"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grpSp>
            <p:nvGrpSpPr>
              <p:cNvPr id="21520" name="Group 21519"/>
              <p:cNvGrpSpPr/>
              <p:nvPr/>
            </p:nvGrpSpPr>
            <p:grpSpPr>
              <a:xfrm>
                <a:off x="-2020586" y="2217632"/>
                <a:ext cx="298604" cy="2400258"/>
                <a:chOff x="7165987" y="2217632"/>
                <a:chExt cx="298604" cy="2400258"/>
              </a:xfrm>
            </p:grpSpPr>
            <p:grpSp>
              <p:nvGrpSpPr>
                <p:cNvPr id="97" name="Group 96"/>
                <p:cNvGrpSpPr>
                  <a:grpSpLocks noChangeAspect="1"/>
                </p:cNvGrpSpPr>
                <p:nvPr/>
              </p:nvGrpSpPr>
              <p:grpSpPr bwMode="auto">
                <a:xfrm>
                  <a:off x="7165987" y="2217632"/>
                  <a:ext cx="298604" cy="481699"/>
                  <a:chOff x="6599" y="1623"/>
                  <a:chExt cx="486" cy="784"/>
                </a:xfrm>
                <a:solidFill>
                  <a:schemeClr val="accent4"/>
                </a:solidFill>
              </p:grpSpPr>
              <p:sp>
                <p:nvSpPr>
                  <p:cNvPr id="9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9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39" name="Group 138"/>
                <p:cNvGrpSpPr>
                  <a:grpSpLocks noChangeAspect="1"/>
                </p:cNvGrpSpPr>
                <p:nvPr/>
              </p:nvGrpSpPr>
              <p:grpSpPr bwMode="auto">
                <a:xfrm>
                  <a:off x="7165987" y="2857152"/>
                  <a:ext cx="298604" cy="481699"/>
                  <a:chOff x="6599" y="1623"/>
                  <a:chExt cx="486" cy="784"/>
                </a:xfrm>
                <a:solidFill>
                  <a:schemeClr val="accent4"/>
                </a:solidFill>
              </p:grpSpPr>
              <p:sp>
                <p:nvSpPr>
                  <p:cNvPr id="14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60" name="Group 159"/>
                <p:cNvGrpSpPr>
                  <a:grpSpLocks noChangeAspect="1"/>
                </p:cNvGrpSpPr>
                <p:nvPr/>
              </p:nvGrpSpPr>
              <p:grpSpPr bwMode="auto">
                <a:xfrm>
                  <a:off x="7165987" y="3496672"/>
                  <a:ext cx="298604" cy="481699"/>
                  <a:chOff x="6599" y="1623"/>
                  <a:chExt cx="486" cy="784"/>
                </a:xfrm>
                <a:solidFill>
                  <a:schemeClr val="accent4"/>
                </a:solidFill>
              </p:grpSpPr>
              <p:sp>
                <p:nvSpPr>
                  <p:cNvPr id="161"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62"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63"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64"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65"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66"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81" name="Group 180"/>
                <p:cNvGrpSpPr>
                  <a:grpSpLocks noChangeAspect="1"/>
                </p:cNvGrpSpPr>
                <p:nvPr/>
              </p:nvGrpSpPr>
              <p:grpSpPr bwMode="auto">
                <a:xfrm>
                  <a:off x="7165987" y="4136191"/>
                  <a:ext cx="298604" cy="481699"/>
                  <a:chOff x="6599" y="1623"/>
                  <a:chExt cx="486" cy="784"/>
                </a:xfrm>
                <a:solidFill>
                  <a:schemeClr val="accent4"/>
                </a:solidFill>
              </p:grpSpPr>
              <p:sp>
                <p:nvSpPr>
                  <p:cNvPr id="18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8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8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8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8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8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grpSp>
            <p:nvGrpSpPr>
              <p:cNvPr id="21519" name="Group 21518"/>
              <p:cNvGrpSpPr/>
              <p:nvPr/>
            </p:nvGrpSpPr>
            <p:grpSpPr>
              <a:xfrm>
                <a:off x="-1505732" y="2217632"/>
                <a:ext cx="298604" cy="2400258"/>
                <a:chOff x="7649072" y="2217632"/>
                <a:chExt cx="298604" cy="2400258"/>
              </a:xfrm>
            </p:grpSpPr>
            <p:grpSp>
              <p:nvGrpSpPr>
                <p:cNvPr id="104" name="Group 103"/>
                <p:cNvGrpSpPr>
                  <a:grpSpLocks noChangeAspect="1"/>
                </p:cNvGrpSpPr>
                <p:nvPr/>
              </p:nvGrpSpPr>
              <p:grpSpPr bwMode="auto">
                <a:xfrm>
                  <a:off x="7649072" y="2217632"/>
                  <a:ext cx="298604" cy="481699"/>
                  <a:chOff x="6599" y="1623"/>
                  <a:chExt cx="486" cy="784"/>
                </a:xfrm>
                <a:solidFill>
                  <a:schemeClr val="accent4"/>
                </a:solidFill>
              </p:grpSpPr>
              <p:sp>
                <p:nvSpPr>
                  <p:cNvPr id="105"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6"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7"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8"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09"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10"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46" name="Group 145"/>
                <p:cNvGrpSpPr>
                  <a:grpSpLocks noChangeAspect="1"/>
                </p:cNvGrpSpPr>
                <p:nvPr/>
              </p:nvGrpSpPr>
              <p:grpSpPr bwMode="auto">
                <a:xfrm>
                  <a:off x="7649072" y="2857152"/>
                  <a:ext cx="298604" cy="481699"/>
                  <a:chOff x="6599" y="1623"/>
                  <a:chExt cx="486" cy="784"/>
                </a:xfrm>
                <a:solidFill>
                  <a:schemeClr val="accent4"/>
                </a:solidFill>
              </p:grpSpPr>
              <p:sp>
                <p:nvSpPr>
                  <p:cNvPr id="14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4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5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67" name="Group 166"/>
                <p:cNvGrpSpPr>
                  <a:grpSpLocks noChangeAspect="1"/>
                </p:cNvGrpSpPr>
                <p:nvPr/>
              </p:nvGrpSpPr>
              <p:grpSpPr bwMode="auto">
                <a:xfrm>
                  <a:off x="7649072" y="3496672"/>
                  <a:ext cx="298604" cy="481699"/>
                  <a:chOff x="6599" y="1623"/>
                  <a:chExt cx="486" cy="784"/>
                </a:xfrm>
                <a:solidFill>
                  <a:schemeClr val="accent4"/>
                </a:solidFill>
              </p:grpSpPr>
              <p:sp>
                <p:nvSpPr>
                  <p:cNvPr id="16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6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7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188" name="Group 187"/>
                <p:cNvGrpSpPr>
                  <a:grpSpLocks noChangeAspect="1"/>
                </p:cNvGrpSpPr>
                <p:nvPr/>
              </p:nvGrpSpPr>
              <p:grpSpPr bwMode="auto">
                <a:xfrm>
                  <a:off x="7649072" y="4136191"/>
                  <a:ext cx="298604" cy="481699"/>
                  <a:chOff x="6599" y="1623"/>
                  <a:chExt cx="486" cy="784"/>
                </a:xfrm>
                <a:solidFill>
                  <a:schemeClr val="accent4"/>
                </a:solidFill>
              </p:grpSpPr>
              <p:sp>
                <p:nvSpPr>
                  <p:cNvPr id="189"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90"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91"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92"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93"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194"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grpSp>
            <p:nvGrpSpPr>
              <p:cNvPr id="205" name="Group 204"/>
              <p:cNvGrpSpPr>
                <a:grpSpLocks noChangeAspect="1"/>
              </p:cNvGrpSpPr>
              <p:nvPr/>
            </p:nvGrpSpPr>
            <p:grpSpPr bwMode="auto">
              <a:xfrm>
                <a:off x="-990878" y="2217632"/>
                <a:ext cx="298604" cy="481699"/>
                <a:chOff x="6599" y="1623"/>
                <a:chExt cx="486" cy="784"/>
              </a:xfrm>
              <a:solidFill>
                <a:schemeClr val="accent4"/>
              </a:solidFill>
            </p:grpSpPr>
            <p:sp>
              <p:nvSpPr>
                <p:cNvPr id="20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0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0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0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212" name="Group 211"/>
              <p:cNvGrpSpPr>
                <a:grpSpLocks noChangeAspect="1"/>
              </p:cNvGrpSpPr>
              <p:nvPr/>
            </p:nvGrpSpPr>
            <p:grpSpPr bwMode="auto">
              <a:xfrm>
                <a:off x="-990878" y="2857152"/>
                <a:ext cx="298604" cy="481699"/>
                <a:chOff x="6599" y="1623"/>
                <a:chExt cx="486" cy="784"/>
              </a:xfrm>
              <a:solidFill>
                <a:schemeClr val="accent4"/>
              </a:solidFill>
            </p:grpSpPr>
            <p:sp>
              <p:nvSpPr>
                <p:cNvPr id="213"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4"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5"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6"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7"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18"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219" name="Group 218"/>
              <p:cNvGrpSpPr>
                <a:grpSpLocks noChangeAspect="1"/>
              </p:cNvGrpSpPr>
              <p:nvPr/>
            </p:nvGrpSpPr>
            <p:grpSpPr bwMode="auto">
              <a:xfrm>
                <a:off x="-990878" y="3496672"/>
                <a:ext cx="298604" cy="481699"/>
                <a:chOff x="6599" y="1623"/>
                <a:chExt cx="486" cy="784"/>
              </a:xfrm>
              <a:solidFill>
                <a:schemeClr val="accent4"/>
              </a:solidFill>
            </p:grpSpPr>
            <p:sp>
              <p:nvSpPr>
                <p:cNvPr id="22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226" name="Group 225"/>
              <p:cNvGrpSpPr>
                <a:grpSpLocks noChangeAspect="1"/>
              </p:cNvGrpSpPr>
              <p:nvPr/>
            </p:nvGrpSpPr>
            <p:grpSpPr bwMode="auto">
              <a:xfrm>
                <a:off x="-990878" y="4136191"/>
                <a:ext cx="298604" cy="481699"/>
                <a:chOff x="6599" y="1623"/>
                <a:chExt cx="486" cy="784"/>
              </a:xfrm>
              <a:solidFill>
                <a:schemeClr val="accent4"/>
              </a:solidFill>
            </p:grpSpPr>
            <p:sp>
              <p:nvSpPr>
                <p:cNvPr id="22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2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3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3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23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sp>
          <p:nvSpPr>
            <p:cNvPr id="196" name="Title 3"/>
            <p:cNvSpPr txBox="1">
              <a:spLocks/>
            </p:cNvSpPr>
            <p:nvPr/>
          </p:nvSpPr>
          <p:spPr>
            <a:xfrm>
              <a:off x="6710419"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smtClean="0">
                  <a:latin typeface="SimSun" panose="02010600030101010101" pitchFamily="2" charset="-122"/>
                  <a:ea typeface="SimSun" panose="02010600030101010101" pitchFamily="2" charset="-122"/>
                  <a:cs typeface="MV Boli" panose="02000500030200090000" pitchFamily="2" charset="0"/>
                </a:rPr>
                <a:t>价值</a:t>
              </a:r>
              <a:endParaRPr lang="en-GB" sz="2800" b="1" dirty="0">
                <a:latin typeface="SimSun" panose="02010600030101010101" pitchFamily="2" charset="-122"/>
                <a:ea typeface="SimSun" panose="02010600030101010101" pitchFamily="2" charset="-122"/>
                <a:cs typeface="MV Boli" panose="02000500030200090000" pitchFamily="2" charset="0"/>
              </a:endParaRPr>
            </a:p>
          </p:txBody>
        </p:sp>
      </p:grpSp>
      <p:sp>
        <p:nvSpPr>
          <p:cNvPr id="198" name="Title 3"/>
          <p:cNvSpPr txBox="1">
            <a:spLocks/>
          </p:cNvSpPr>
          <p:nvPr/>
        </p:nvSpPr>
        <p:spPr>
          <a:xfrm>
            <a:off x="2877840" y="2667576"/>
            <a:ext cx="3618797" cy="46333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发布</a:t>
            </a:r>
            <a:endParaRPr lang="en-GB" sz="32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cxnSp>
        <p:nvCxnSpPr>
          <p:cNvPr id="199" name="Straight Connector 198"/>
          <p:cNvCxnSpPr/>
          <p:nvPr/>
        </p:nvCxnSpPr>
        <p:spPr>
          <a:xfrm>
            <a:off x="3132000" y="3414669"/>
            <a:ext cx="2880000" cy="0"/>
          </a:xfrm>
          <a:prstGeom prst="line">
            <a:avLst/>
          </a:prstGeom>
          <a:ln w="28575" cap="rnd">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3271838" y="3414669"/>
            <a:ext cx="2628000" cy="0"/>
          </a:xfrm>
          <a:prstGeom prst="line">
            <a:avLst/>
          </a:prstGeom>
          <a:ln w="28575" cap="rnd">
            <a:solidFill>
              <a:schemeClr val="accent2"/>
            </a:solidFill>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234" name="Rectangle 233"/>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324013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77333" fill="hold" nodeType="withEffect">
                                  <p:stCondLst>
                                    <p:cond delay="0"/>
                                  </p:stCondLst>
                                  <p:childTnLst>
                                    <p:animMotion origin="layout" path="M 4.44444E-6 0 L 0.15277 0 " pathEditMode="relative" rAng="0" ptsTypes="AA">
                                      <p:cBhvr>
                                        <p:cTn id="6" dur="750" fill="hold"/>
                                        <p:tgtEl>
                                          <p:spTgt spid="199"/>
                                        </p:tgtEl>
                                        <p:attrNameLst>
                                          <p:attrName>ppt_x</p:attrName>
                                          <p:attrName>ppt_y</p:attrName>
                                        </p:attrNameLst>
                                      </p:cBhvr>
                                      <p:rCtr x="7639" y="0"/>
                                    </p:animMotion>
                                  </p:childTnLst>
                                </p:cTn>
                              </p:par>
                              <p:par>
                                <p:cTn id="7" presetID="63" presetClass="path" presetSubtype="0" decel="77333" fill="hold" nodeType="withEffect">
                                  <p:stCondLst>
                                    <p:cond delay="0"/>
                                  </p:stCondLst>
                                  <p:childTnLst>
                                    <p:animMotion origin="layout" path="M -0.14826 2.96296E-6 L 0 2.96296E-6 " pathEditMode="relative" rAng="0" ptsTypes="AA">
                                      <p:cBhvr>
                                        <p:cTn id="8" dur="750" spd="-100000" fill="hold"/>
                                        <p:tgtEl>
                                          <p:spTgt spid="233"/>
                                        </p:tgtEl>
                                        <p:attrNameLst>
                                          <p:attrName>ppt_x</p:attrName>
                                          <p:attrName>ppt_y</p:attrName>
                                        </p:attrNameLst>
                                      </p:cBhvr>
                                      <p:rCtr x="7413" y="0"/>
                                    </p:animMotion>
                                  </p:childTnLst>
                                </p:cTn>
                              </p:par>
                              <p:par>
                                <p:cTn id="9" presetID="63" presetClass="path" presetSubtype="0" accel="13333" decel="86667" fill="hold" nodeType="withEffect">
                                  <p:stCondLst>
                                    <p:cond delay="150"/>
                                  </p:stCondLst>
                                  <p:childTnLst>
                                    <p:animMotion origin="layout" path="M -0.20139 0 L 1.11111E-6 0 " pathEditMode="relative" rAng="0" ptsTypes="AA">
                                      <p:cBhvr>
                                        <p:cTn id="10" dur="1000" spd="-100000" fill="hold"/>
                                        <p:tgtEl>
                                          <p:spTgt spid="4"/>
                                        </p:tgtEl>
                                        <p:attrNameLst>
                                          <p:attrName>ppt_x</p:attrName>
                                          <p:attrName>ppt_y</p:attrName>
                                        </p:attrNameLst>
                                      </p:cBhvr>
                                      <p:rCtr x="10069" y="0"/>
                                    </p:animMotion>
                                  </p:childTnLst>
                                </p:cTn>
                              </p:par>
                              <p:par>
                                <p:cTn id="11" presetID="63" presetClass="path" presetSubtype="0" accel="10000" decel="90000" fill="hold" nodeType="withEffect">
                                  <p:stCondLst>
                                    <p:cond delay="150"/>
                                  </p:stCondLst>
                                  <p:childTnLst>
                                    <p:animMotion origin="layout" path="M 1.66667E-6 1.48148E-6 L 0.18229 1.48148E-6 " pathEditMode="relative" rAng="0" ptsTypes="AA">
                                      <p:cBhvr>
                                        <p:cTn id="12" dur="1000" fill="hold"/>
                                        <p:tgtEl>
                                          <p:spTgt spid="5"/>
                                        </p:tgtEl>
                                        <p:attrNameLst>
                                          <p:attrName>ppt_x</p:attrName>
                                          <p:attrName>ppt_y</p:attrName>
                                        </p:attrNameLst>
                                      </p:cBhvr>
                                      <p:rCtr x="911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grpSp>
        <p:nvGrpSpPr>
          <p:cNvPr id="7" name="Group 6"/>
          <p:cNvGrpSpPr/>
          <p:nvPr/>
        </p:nvGrpSpPr>
        <p:grpSpPr>
          <a:xfrm>
            <a:off x="1286933" y="1725589"/>
            <a:ext cx="7393515" cy="3817255"/>
            <a:chOff x="449263" y="1465942"/>
            <a:chExt cx="8231186" cy="4266551"/>
          </a:xfrm>
        </p:grpSpPr>
        <p:cxnSp>
          <p:nvCxnSpPr>
            <p:cNvPr id="8" name="Straight Connector 7"/>
            <p:cNvCxnSpPr/>
            <p:nvPr/>
          </p:nvCxnSpPr>
          <p:spPr>
            <a:xfrm flipV="1">
              <a:off x="466515" y="1465942"/>
              <a:ext cx="1" cy="4266551"/>
            </a:xfrm>
            <a:prstGeom prst="line">
              <a:avLst/>
            </a:prstGeom>
            <a:ln w="38100" cap="flat">
              <a:solidFill>
                <a:srgbClr val="00B0F0"/>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9263" y="5715241"/>
              <a:ext cx="8231186" cy="0"/>
            </a:xfrm>
            <a:prstGeom prst="line">
              <a:avLst/>
            </a:prstGeom>
            <a:ln w="38100" cap="flat">
              <a:solidFill>
                <a:srgbClr val="00B0F0"/>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a:off x="1393303" y="5400058"/>
            <a:ext cx="6404603"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7785439" y="2219917"/>
            <a:ext cx="0" cy="318014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itle 3"/>
          <p:cNvSpPr txBox="1">
            <a:spLocks/>
          </p:cNvSpPr>
          <p:nvPr/>
        </p:nvSpPr>
        <p:spPr>
          <a:xfrm>
            <a:off x="4422228" y="2161255"/>
            <a:ext cx="3280114" cy="268464"/>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r"/>
            <a:r>
              <a:rPr lang="zh-CN" altLang="en-US" sz="24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乐观估计</a:t>
            </a:r>
            <a:endParaRPr lang="en-GB" sz="24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sp>
        <p:nvSpPr>
          <p:cNvPr id="13" name="Rectangle 12"/>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
        <p:nvSpPr>
          <p:cNvPr id="14" name="Title 3"/>
          <p:cNvSpPr txBox="1">
            <a:spLocks/>
          </p:cNvSpPr>
          <p:nvPr/>
        </p:nvSpPr>
        <p:spPr>
          <a:xfrm>
            <a:off x="1628364" y="1677006"/>
            <a:ext cx="2597323" cy="268464"/>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400" b="1" dirty="0" smtClean="0">
                <a:solidFill>
                  <a:schemeClr val="accent5">
                    <a:lumMod val="50000"/>
                    <a:lumOff val="50000"/>
                  </a:schemeClr>
                </a:solidFill>
                <a:latin typeface="SimSun" panose="02010600030101010101" pitchFamily="2" charset="-122"/>
                <a:ea typeface="SimSun" panose="02010600030101010101" pitchFamily="2" charset="-122"/>
                <a:cs typeface="MV Boli" panose="02000500030200090000" pitchFamily="2" charset="0"/>
              </a:rPr>
              <a:t>提</a:t>
            </a:r>
            <a:r>
              <a:rPr lang="zh-CN" altLang="en-US" sz="2400" b="1" dirty="0">
                <a:solidFill>
                  <a:schemeClr val="accent5">
                    <a:lumMod val="50000"/>
                    <a:lumOff val="50000"/>
                  </a:schemeClr>
                </a:solidFill>
                <a:latin typeface="SimSun" panose="02010600030101010101" pitchFamily="2" charset="-122"/>
                <a:ea typeface="SimSun" panose="02010600030101010101" pitchFamily="2" charset="-122"/>
                <a:cs typeface="MV Boli" panose="02000500030200090000" pitchFamily="2" charset="0"/>
              </a:rPr>
              <a:t>供</a:t>
            </a:r>
            <a:r>
              <a:rPr lang="zh-CN" altLang="en-US" sz="2400" b="1" dirty="0" smtClean="0">
                <a:solidFill>
                  <a:schemeClr val="accent5">
                    <a:lumMod val="50000"/>
                    <a:lumOff val="50000"/>
                  </a:schemeClr>
                </a:solidFill>
                <a:latin typeface="SimSun" panose="02010600030101010101" pitchFamily="2" charset="-122"/>
                <a:ea typeface="SimSun" panose="02010600030101010101" pitchFamily="2" charset="-122"/>
                <a:cs typeface="MV Boli" panose="02000500030200090000" pitchFamily="2" charset="0"/>
              </a:rPr>
              <a:t>的价值</a:t>
            </a:r>
            <a:endParaRPr lang="en-GB" sz="2400" b="1" dirty="0">
              <a:solidFill>
                <a:schemeClr val="accent5">
                  <a:lumMod val="50000"/>
                  <a:lumOff val="50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15" name="Title 3"/>
          <p:cNvSpPr txBox="1">
            <a:spLocks/>
          </p:cNvSpPr>
          <p:nvPr/>
        </p:nvSpPr>
        <p:spPr>
          <a:xfrm>
            <a:off x="6696076" y="5653862"/>
            <a:ext cx="1382774" cy="319745"/>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r"/>
            <a:r>
              <a:rPr lang="zh-CN" altLang="en-US"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时间</a:t>
            </a:r>
            <a:endParaRPr lang="en-GB" sz="24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spTree>
    <p:extLst>
      <p:ext uri="{BB962C8B-B14F-4D97-AF65-F5344CB8AC3E}">
        <p14:creationId xmlns:p14="http://schemas.microsoft.com/office/powerpoint/2010/main" val="3775426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
                                        <p:tgtEl>
                                          <p:spTgt spid="7"/>
                                        </p:tgtEl>
                                      </p:cBhvr>
                                    </p:animEffect>
                                  </p:childTnLst>
                                </p:cTn>
                              </p:par>
                              <p:par>
                                <p:cTn id="8" presetID="22" presetClass="entr" presetSubtype="8"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par>
                                <p:cTn id="11" presetID="22" presetClass="entr" presetSubtype="4" fill="hold" nodeType="withEffect">
                                  <p:stCondLst>
                                    <p:cond delay="1000"/>
                                  </p:stCondLst>
                                  <p:childTnLst>
                                    <p:set>
                                      <p:cBhvr>
                                        <p:cTn id="12" dur="1" fill="hold">
                                          <p:stCondLst>
                                            <p:cond delay="0"/>
                                          </p:stCondLst>
                                        </p:cTn>
                                        <p:tgtEl>
                                          <p:spTgt spid="11"/>
                                        </p:tgtEl>
                                        <p:attrNameLst>
                                          <p:attrName>style.visibility</p:attrName>
                                        </p:attrNameLst>
                                      </p:cBhvr>
                                      <p:to>
                                        <p:strVal val="visible"/>
                                      </p:to>
                                    </p:set>
                                    <p:animEffect transition="in" filter="wipe(down)">
                                      <p:cBhvr>
                                        <p:cTn id="13" dur="400"/>
                                        <p:tgtEl>
                                          <p:spTgt spid="11"/>
                                        </p:tgtEl>
                                      </p:cBhvr>
                                    </p:animEffect>
                                  </p:childTnLst>
                                </p:cTn>
                              </p:par>
                            </p:childTnLst>
                          </p:cTn>
                        </p:par>
                        <p:par>
                          <p:cTn id="14" fill="hold">
                            <p:stCondLst>
                              <p:cond delay="1400"/>
                            </p:stCondLst>
                            <p:childTnLst>
                              <p:par>
                                <p:cTn id="15" presetID="10"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63" presetClass="path" presetSubtype="0" decel="100000" fill="hold" grpId="1" nodeType="withEffect">
                                  <p:stCondLst>
                                    <p:cond delay="0"/>
                                  </p:stCondLst>
                                  <p:childTnLst>
                                    <p:animMotion origin="layout" path="M -1.38889E-6 -4.47701E-6 L 0.08924 -4.47701E-6 " pathEditMode="relative" rAng="0" ptsTypes="AA">
                                      <p:cBhvr>
                                        <p:cTn id="19" dur="750" spd="-100000" fill="hold"/>
                                        <p:tgtEl>
                                          <p:spTgt spid="12"/>
                                        </p:tgtEl>
                                        <p:attrNameLst>
                                          <p:attrName>ppt_x</p:attrName>
                                          <p:attrName>ppt_y</p:attrName>
                                        </p:attrNameLst>
                                      </p:cBhvr>
                                      <p:rCtr x="4462" y="0"/>
                                    </p:animMotion>
                                  </p:childTnLst>
                                </p:cTn>
                              </p:par>
                              <p:par>
                                <p:cTn id="20" presetID="53" presetClass="entr" presetSubtype="16"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p:cTn id="22" dur="250" fill="hold"/>
                                        <p:tgtEl>
                                          <p:spTgt spid="14"/>
                                        </p:tgtEl>
                                        <p:attrNameLst>
                                          <p:attrName>ppt_w</p:attrName>
                                        </p:attrNameLst>
                                      </p:cBhvr>
                                      <p:tavLst>
                                        <p:tav tm="0">
                                          <p:val>
                                            <p:fltVal val="0"/>
                                          </p:val>
                                        </p:tav>
                                        <p:tav tm="100000">
                                          <p:val>
                                            <p:strVal val="#ppt_w"/>
                                          </p:val>
                                        </p:tav>
                                      </p:tavLst>
                                    </p:anim>
                                    <p:anim calcmode="lin" valueType="num">
                                      <p:cBhvr>
                                        <p:cTn id="23" dur="250" fill="hold"/>
                                        <p:tgtEl>
                                          <p:spTgt spid="14"/>
                                        </p:tgtEl>
                                        <p:attrNameLst>
                                          <p:attrName>ppt_h</p:attrName>
                                        </p:attrNameLst>
                                      </p:cBhvr>
                                      <p:tavLst>
                                        <p:tav tm="0">
                                          <p:val>
                                            <p:fltVal val="0"/>
                                          </p:val>
                                        </p:tav>
                                        <p:tav tm="100000">
                                          <p:val>
                                            <p:strVal val="#ppt_h"/>
                                          </p:val>
                                        </p:tav>
                                      </p:tavLst>
                                    </p:anim>
                                    <p:animEffect transition="in" filter="fade">
                                      <p:cBhvr>
                                        <p:cTn id="24" dur="250"/>
                                        <p:tgtEl>
                                          <p:spTgt spid="14"/>
                                        </p:tgtEl>
                                      </p:cBhvr>
                                    </p:animEffect>
                                  </p:childTnLst>
                                </p:cTn>
                              </p:par>
                              <p:par>
                                <p:cTn id="25" presetID="6" presetClass="emph" presetSubtype="0" autoRev="1" fill="hold" grpId="1" nodeType="withEffect">
                                  <p:stCondLst>
                                    <p:cond delay="250"/>
                                  </p:stCondLst>
                                  <p:childTnLst>
                                    <p:animScale>
                                      <p:cBhvr>
                                        <p:cTn id="26" dur="100" fill="hold"/>
                                        <p:tgtEl>
                                          <p:spTgt spid="14"/>
                                        </p:tgtEl>
                                      </p:cBhvr>
                                      <p:by x="110000" y="110000"/>
                                    </p:animScale>
                                  </p:childTnLst>
                                </p:cTn>
                              </p:par>
                              <p:par>
                                <p:cTn id="27" presetID="53" presetClass="entr" presetSubtype="16"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p:cTn id="29" dur="250" fill="hold"/>
                                        <p:tgtEl>
                                          <p:spTgt spid="15"/>
                                        </p:tgtEl>
                                        <p:attrNameLst>
                                          <p:attrName>ppt_w</p:attrName>
                                        </p:attrNameLst>
                                      </p:cBhvr>
                                      <p:tavLst>
                                        <p:tav tm="0">
                                          <p:val>
                                            <p:fltVal val="0"/>
                                          </p:val>
                                        </p:tav>
                                        <p:tav tm="100000">
                                          <p:val>
                                            <p:strVal val="#ppt_w"/>
                                          </p:val>
                                        </p:tav>
                                      </p:tavLst>
                                    </p:anim>
                                    <p:anim calcmode="lin" valueType="num">
                                      <p:cBhvr>
                                        <p:cTn id="30" dur="250" fill="hold"/>
                                        <p:tgtEl>
                                          <p:spTgt spid="15"/>
                                        </p:tgtEl>
                                        <p:attrNameLst>
                                          <p:attrName>ppt_h</p:attrName>
                                        </p:attrNameLst>
                                      </p:cBhvr>
                                      <p:tavLst>
                                        <p:tav tm="0">
                                          <p:val>
                                            <p:fltVal val="0"/>
                                          </p:val>
                                        </p:tav>
                                        <p:tav tm="100000">
                                          <p:val>
                                            <p:strVal val="#ppt_h"/>
                                          </p:val>
                                        </p:tav>
                                      </p:tavLst>
                                    </p:anim>
                                    <p:animEffect transition="in" filter="fade">
                                      <p:cBhvr>
                                        <p:cTn id="31" dur="250"/>
                                        <p:tgtEl>
                                          <p:spTgt spid="15"/>
                                        </p:tgtEl>
                                      </p:cBhvr>
                                    </p:animEffect>
                                  </p:childTnLst>
                                </p:cTn>
                              </p:par>
                              <p:par>
                                <p:cTn id="32" presetID="6" presetClass="emph" presetSubtype="0" autoRev="1" fill="hold" grpId="1" nodeType="withEffect">
                                  <p:stCondLst>
                                    <p:cond delay="250"/>
                                  </p:stCondLst>
                                  <p:childTnLst>
                                    <p:animScale>
                                      <p:cBhvr>
                                        <p:cTn id="33" dur="100" fill="hold"/>
                                        <p:tgtEl>
                                          <p:spTgt spid="15"/>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4" grpId="0"/>
      <p:bldP spid="14" grpId="1"/>
      <p:bldP spid="15" grpId="0"/>
      <p:bldP spid="15"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Freeform 18"/>
          <p:cNvSpPr>
            <a:spLocks noEditPoints="1"/>
          </p:cNvSpPr>
          <p:nvPr/>
        </p:nvSpPr>
        <p:spPr bwMode="auto">
          <a:xfrm>
            <a:off x="740149" y="306884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08" name="Freeform 18"/>
          <p:cNvSpPr>
            <a:spLocks noEditPoints="1"/>
          </p:cNvSpPr>
          <p:nvPr/>
        </p:nvSpPr>
        <p:spPr bwMode="auto">
          <a:xfrm>
            <a:off x="1318986" y="306884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09" name="Freeform 18"/>
          <p:cNvSpPr>
            <a:spLocks noEditPoints="1"/>
          </p:cNvSpPr>
          <p:nvPr/>
        </p:nvSpPr>
        <p:spPr bwMode="auto">
          <a:xfrm>
            <a:off x="1897823" y="306884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0" name="Freeform 18"/>
          <p:cNvSpPr>
            <a:spLocks noEditPoints="1"/>
          </p:cNvSpPr>
          <p:nvPr/>
        </p:nvSpPr>
        <p:spPr bwMode="auto">
          <a:xfrm>
            <a:off x="2476660" y="306884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2" name="Freeform 18"/>
          <p:cNvSpPr>
            <a:spLocks noEditPoints="1"/>
          </p:cNvSpPr>
          <p:nvPr/>
        </p:nvSpPr>
        <p:spPr bwMode="auto">
          <a:xfrm>
            <a:off x="740149" y="3702761"/>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3" name="Freeform 18"/>
          <p:cNvSpPr>
            <a:spLocks noEditPoints="1"/>
          </p:cNvSpPr>
          <p:nvPr/>
        </p:nvSpPr>
        <p:spPr bwMode="auto">
          <a:xfrm>
            <a:off x="1318986" y="3702761"/>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4" name="Freeform 18"/>
          <p:cNvSpPr>
            <a:spLocks noEditPoints="1"/>
          </p:cNvSpPr>
          <p:nvPr/>
        </p:nvSpPr>
        <p:spPr bwMode="auto">
          <a:xfrm>
            <a:off x="1897823" y="3702761"/>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5" name="Freeform 18"/>
          <p:cNvSpPr>
            <a:spLocks noEditPoints="1"/>
          </p:cNvSpPr>
          <p:nvPr/>
        </p:nvSpPr>
        <p:spPr bwMode="auto">
          <a:xfrm>
            <a:off x="2476660" y="3702761"/>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7" name="Freeform 18"/>
          <p:cNvSpPr>
            <a:spLocks noEditPoints="1"/>
          </p:cNvSpPr>
          <p:nvPr/>
        </p:nvSpPr>
        <p:spPr bwMode="auto">
          <a:xfrm>
            <a:off x="740149" y="4336680"/>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8" name="Freeform 18"/>
          <p:cNvSpPr>
            <a:spLocks noEditPoints="1"/>
          </p:cNvSpPr>
          <p:nvPr/>
        </p:nvSpPr>
        <p:spPr bwMode="auto">
          <a:xfrm>
            <a:off x="1318986" y="4336680"/>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19" name="Freeform 18"/>
          <p:cNvSpPr>
            <a:spLocks noEditPoints="1"/>
          </p:cNvSpPr>
          <p:nvPr/>
        </p:nvSpPr>
        <p:spPr bwMode="auto">
          <a:xfrm>
            <a:off x="1897823" y="4336680"/>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20" name="Freeform 18"/>
          <p:cNvSpPr>
            <a:spLocks noEditPoints="1"/>
          </p:cNvSpPr>
          <p:nvPr/>
        </p:nvSpPr>
        <p:spPr bwMode="auto">
          <a:xfrm>
            <a:off x="2476660" y="4336680"/>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22" name="Freeform 18"/>
          <p:cNvSpPr>
            <a:spLocks noEditPoints="1"/>
          </p:cNvSpPr>
          <p:nvPr/>
        </p:nvSpPr>
        <p:spPr bwMode="auto">
          <a:xfrm>
            <a:off x="740149" y="1789248"/>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23" name="Freeform 18"/>
          <p:cNvSpPr>
            <a:spLocks noEditPoints="1"/>
          </p:cNvSpPr>
          <p:nvPr/>
        </p:nvSpPr>
        <p:spPr bwMode="auto">
          <a:xfrm>
            <a:off x="1318986" y="1789248"/>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24" name="Freeform 18"/>
          <p:cNvSpPr>
            <a:spLocks noEditPoints="1"/>
          </p:cNvSpPr>
          <p:nvPr/>
        </p:nvSpPr>
        <p:spPr bwMode="auto">
          <a:xfrm>
            <a:off x="1897823" y="1789248"/>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525" name="Freeform 18"/>
          <p:cNvSpPr>
            <a:spLocks noEditPoints="1"/>
          </p:cNvSpPr>
          <p:nvPr/>
        </p:nvSpPr>
        <p:spPr bwMode="auto">
          <a:xfrm>
            <a:off x="2476660" y="1789248"/>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527" name="Group 526"/>
          <p:cNvGrpSpPr>
            <a:grpSpLocks noChangeAspect="1"/>
          </p:cNvGrpSpPr>
          <p:nvPr/>
        </p:nvGrpSpPr>
        <p:grpSpPr bwMode="auto">
          <a:xfrm>
            <a:off x="6555873" y="3075115"/>
            <a:ext cx="298604" cy="481699"/>
            <a:chOff x="6599" y="1623"/>
            <a:chExt cx="486" cy="784"/>
          </a:xfrm>
          <a:solidFill>
            <a:schemeClr val="accent4"/>
          </a:solidFill>
        </p:grpSpPr>
        <p:sp>
          <p:nvSpPr>
            <p:cNvPr id="54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5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5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5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5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28" name="Group 527"/>
          <p:cNvGrpSpPr>
            <a:grpSpLocks noChangeAspect="1"/>
          </p:cNvGrpSpPr>
          <p:nvPr/>
        </p:nvGrpSpPr>
        <p:grpSpPr bwMode="auto">
          <a:xfrm>
            <a:off x="7070727" y="3075115"/>
            <a:ext cx="298604" cy="481699"/>
            <a:chOff x="6599" y="1623"/>
            <a:chExt cx="486" cy="784"/>
          </a:xfrm>
          <a:solidFill>
            <a:schemeClr val="accent4"/>
          </a:solidFill>
        </p:grpSpPr>
        <p:sp>
          <p:nvSpPr>
            <p:cNvPr id="54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29" name="Group 528"/>
          <p:cNvGrpSpPr>
            <a:grpSpLocks noChangeAspect="1"/>
          </p:cNvGrpSpPr>
          <p:nvPr/>
        </p:nvGrpSpPr>
        <p:grpSpPr bwMode="auto">
          <a:xfrm>
            <a:off x="7585581" y="3075115"/>
            <a:ext cx="298604" cy="481699"/>
            <a:chOff x="6599" y="1623"/>
            <a:chExt cx="486" cy="784"/>
          </a:xfrm>
          <a:solidFill>
            <a:schemeClr val="accent4"/>
          </a:solidFill>
        </p:grpSpPr>
        <p:sp>
          <p:nvSpPr>
            <p:cNvPr id="53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4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6" name="Group 5"/>
          <p:cNvGrpSpPr/>
          <p:nvPr/>
        </p:nvGrpSpPr>
        <p:grpSpPr>
          <a:xfrm>
            <a:off x="8100435" y="3075115"/>
            <a:ext cx="298604" cy="481699"/>
            <a:chOff x="8100435" y="2397783"/>
            <a:chExt cx="298604" cy="481699"/>
          </a:xfrm>
        </p:grpSpPr>
        <p:sp>
          <p:nvSpPr>
            <p:cNvPr id="530" name="Freeform 8"/>
            <p:cNvSpPr>
              <a:spLocks noEditPoints="1"/>
            </p:cNvSpPr>
            <p:nvPr/>
          </p:nvSpPr>
          <p:spPr bwMode="auto">
            <a:xfrm>
              <a:off x="8104736" y="2779333"/>
              <a:ext cx="288773" cy="100149"/>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1" name="Freeform 9"/>
            <p:cNvSpPr>
              <a:spLocks noEditPoints="1"/>
            </p:cNvSpPr>
            <p:nvPr/>
          </p:nvSpPr>
          <p:spPr bwMode="auto">
            <a:xfrm>
              <a:off x="8109037" y="2709904"/>
              <a:ext cx="290002" cy="103221"/>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2" name="Freeform 10"/>
            <p:cNvSpPr>
              <a:spLocks noEditPoints="1"/>
            </p:cNvSpPr>
            <p:nvPr/>
          </p:nvSpPr>
          <p:spPr bwMode="auto">
            <a:xfrm>
              <a:off x="8100435" y="2647234"/>
              <a:ext cx="288773" cy="98920"/>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3" name="Freeform 11"/>
            <p:cNvSpPr>
              <a:spLocks noEditPoints="1"/>
            </p:cNvSpPr>
            <p:nvPr/>
          </p:nvSpPr>
          <p:spPr bwMode="auto">
            <a:xfrm>
              <a:off x="8104736" y="2580878"/>
              <a:ext cx="288773" cy="100149"/>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4" name="Freeform 12"/>
            <p:cNvSpPr>
              <a:spLocks noEditPoints="1"/>
            </p:cNvSpPr>
            <p:nvPr/>
          </p:nvSpPr>
          <p:spPr bwMode="auto">
            <a:xfrm>
              <a:off x="8109037" y="2516979"/>
              <a:ext cx="290002" cy="97077"/>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35" name="Freeform 13"/>
            <p:cNvSpPr>
              <a:spLocks noEditPoints="1"/>
            </p:cNvSpPr>
            <p:nvPr/>
          </p:nvSpPr>
          <p:spPr bwMode="auto">
            <a:xfrm>
              <a:off x="8104736" y="2397783"/>
              <a:ext cx="288773" cy="149302"/>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55" name="Group 554"/>
          <p:cNvGrpSpPr>
            <a:grpSpLocks noChangeAspect="1"/>
          </p:cNvGrpSpPr>
          <p:nvPr/>
        </p:nvGrpSpPr>
        <p:grpSpPr bwMode="auto">
          <a:xfrm>
            <a:off x="6555873" y="3716680"/>
            <a:ext cx="298604" cy="481699"/>
            <a:chOff x="6599" y="1623"/>
            <a:chExt cx="486" cy="784"/>
          </a:xfrm>
          <a:solidFill>
            <a:schemeClr val="accent4"/>
          </a:solidFill>
        </p:grpSpPr>
        <p:sp>
          <p:nvSpPr>
            <p:cNvPr id="57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8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8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56" name="Group 555"/>
          <p:cNvGrpSpPr>
            <a:grpSpLocks noChangeAspect="1"/>
          </p:cNvGrpSpPr>
          <p:nvPr/>
        </p:nvGrpSpPr>
        <p:grpSpPr bwMode="auto">
          <a:xfrm>
            <a:off x="7070727" y="3716680"/>
            <a:ext cx="298604" cy="481699"/>
            <a:chOff x="6599" y="1623"/>
            <a:chExt cx="486" cy="784"/>
          </a:xfrm>
          <a:solidFill>
            <a:schemeClr val="accent4"/>
          </a:solidFill>
        </p:grpSpPr>
        <p:sp>
          <p:nvSpPr>
            <p:cNvPr id="57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7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57" name="Group 556"/>
          <p:cNvGrpSpPr>
            <a:grpSpLocks noChangeAspect="1"/>
          </p:cNvGrpSpPr>
          <p:nvPr/>
        </p:nvGrpSpPr>
        <p:grpSpPr bwMode="auto">
          <a:xfrm>
            <a:off x="7585581" y="3716680"/>
            <a:ext cx="298604" cy="481699"/>
            <a:chOff x="6599" y="1623"/>
            <a:chExt cx="486" cy="784"/>
          </a:xfrm>
          <a:solidFill>
            <a:schemeClr val="accent4"/>
          </a:solidFill>
        </p:grpSpPr>
        <p:sp>
          <p:nvSpPr>
            <p:cNvPr id="56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 name="Group 4"/>
          <p:cNvGrpSpPr/>
          <p:nvPr/>
        </p:nvGrpSpPr>
        <p:grpSpPr>
          <a:xfrm>
            <a:off x="8100435" y="3716680"/>
            <a:ext cx="298604" cy="481699"/>
            <a:chOff x="8100435" y="3039348"/>
            <a:chExt cx="298604" cy="481699"/>
          </a:xfrm>
        </p:grpSpPr>
        <p:sp>
          <p:nvSpPr>
            <p:cNvPr id="558" name="Freeform 8"/>
            <p:cNvSpPr>
              <a:spLocks noEditPoints="1"/>
            </p:cNvSpPr>
            <p:nvPr/>
          </p:nvSpPr>
          <p:spPr bwMode="auto">
            <a:xfrm>
              <a:off x="8104736" y="3420898"/>
              <a:ext cx="288773" cy="100149"/>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59" name="Freeform 9"/>
            <p:cNvSpPr>
              <a:spLocks noEditPoints="1"/>
            </p:cNvSpPr>
            <p:nvPr/>
          </p:nvSpPr>
          <p:spPr bwMode="auto">
            <a:xfrm>
              <a:off x="8109037" y="3351469"/>
              <a:ext cx="290002" cy="103221"/>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0" name="Freeform 10"/>
            <p:cNvSpPr>
              <a:spLocks noEditPoints="1"/>
            </p:cNvSpPr>
            <p:nvPr/>
          </p:nvSpPr>
          <p:spPr bwMode="auto">
            <a:xfrm>
              <a:off x="8100435" y="3288799"/>
              <a:ext cx="288773" cy="98920"/>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1" name="Freeform 11"/>
            <p:cNvSpPr>
              <a:spLocks noEditPoints="1"/>
            </p:cNvSpPr>
            <p:nvPr/>
          </p:nvSpPr>
          <p:spPr bwMode="auto">
            <a:xfrm>
              <a:off x="8104736" y="3222443"/>
              <a:ext cx="288773" cy="100149"/>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2" name="Freeform 12"/>
            <p:cNvSpPr>
              <a:spLocks noEditPoints="1"/>
            </p:cNvSpPr>
            <p:nvPr/>
          </p:nvSpPr>
          <p:spPr bwMode="auto">
            <a:xfrm>
              <a:off x="8109037" y="3158544"/>
              <a:ext cx="290002" cy="97077"/>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63" name="Freeform 13"/>
            <p:cNvSpPr>
              <a:spLocks noEditPoints="1"/>
            </p:cNvSpPr>
            <p:nvPr/>
          </p:nvSpPr>
          <p:spPr bwMode="auto">
            <a:xfrm>
              <a:off x="8104736" y="3039348"/>
              <a:ext cx="288773" cy="149302"/>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83" name="Group 582"/>
          <p:cNvGrpSpPr>
            <a:grpSpLocks noChangeAspect="1"/>
          </p:cNvGrpSpPr>
          <p:nvPr/>
        </p:nvGrpSpPr>
        <p:grpSpPr bwMode="auto">
          <a:xfrm>
            <a:off x="6555873" y="4358245"/>
            <a:ext cx="298604" cy="481699"/>
            <a:chOff x="6599" y="1623"/>
            <a:chExt cx="486" cy="784"/>
          </a:xfrm>
          <a:solidFill>
            <a:schemeClr val="accent4"/>
          </a:solidFill>
        </p:grpSpPr>
        <p:sp>
          <p:nvSpPr>
            <p:cNvPr id="60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84" name="Group 583"/>
          <p:cNvGrpSpPr>
            <a:grpSpLocks noChangeAspect="1"/>
          </p:cNvGrpSpPr>
          <p:nvPr/>
        </p:nvGrpSpPr>
        <p:grpSpPr bwMode="auto">
          <a:xfrm>
            <a:off x="7070727" y="4358245"/>
            <a:ext cx="298604" cy="481699"/>
            <a:chOff x="6599" y="1623"/>
            <a:chExt cx="486" cy="784"/>
          </a:xfrm>
          <a:solidFill>
            <a:schemeClr val="accent4"/>
          </a:solidFill>
        </p:grpSpPr>
        <p:sp>
          <p:nvSpPr>
            <p:cNvPr id="59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0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585" name="Group 584"/>
          <p:cNvGrpSpPr>
            <a:grpSpLocks noChangeAspect="1"/>
          </p:cNvGrpSpPr>
          <p:nvPr/>
        </p:nvGrpSpPr>
        <p:grpSpPr bwMode="auto">
          <a:xfrm>
            <a:off x="7585581" y="4358245"/>
            <a:ext cx="298604" cy="481699"/>
            <a:chOff x="6599" y="1623"/>
            <a:chExt cx="486" cy="784"/>
          </a:xfrm>
          <a:solidFill>
            <a:schemeClr val="accent4"/>
          </a:solidFill>
        </p:grpSpPr>
        <p:sp>
          <p:nvSpPr>
            <p:cNvPr id="59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 name="Group 2"/>
          <p:cNvGrpSpPr/>
          <p:nvPr/>
        </p:nvGrpSpPr>
        <p:grpSpPr>
          <a:xfrm>
            <a:off x="8100435" y="4358245"/>
            <a:ext cx="298604" cy="481699"/>
            <a:chOff x="8100435" y="3680913"/>
            <a:chExt cx="298604" cy="481699"/>
          </a:xfrm>
        </p:grpSpPr>
        <p:sp>
          <p:nvSpPr>
            <p:cNvPr id="586" name="Freeform 8"/>
            <p:cNvSpPr>
              <a:spLocks noEditPoints="1"/>
            </p:cNvSpPr>
            <p:nvPr/>
          </p:nvSpPr>
          <p:spPr bwMode="auto">
            <a:xfrm>
              <a:off x="8104736" y="4062463"/>
              <a:ext cx="288773" cy="100149"/>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87" name="Freeform 9"/>
            <p:cNvSpPr>
              <a:spLocks noEditPoints="1"/>
            </p:cNvSpPr>
            <p:nvPr/>
          </p:nvSpPr>
          <p:spPr bwMode="auto">
            <a:xfrm>
              <a:off x="8109037" y="3993034"/>
              <a:ext cx="290002" cy="103221"/>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88" name="Freeform 10"/>
            <p:cNvSpPr>
              <a:spLocks noEditPoints="1"/>
            </p:cNvSpPr>
            <p:nvPr/>
          </p:nvSpPr>
          <p:spPr bwMode="auto">
            <a:xfrm>
              <a:off x="8100435" y="3930364"/>
              <a:ext cx="288773" cy="98920"/>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89" name="Freeform 11"/>
            <p:cNvSpPr>
              <a:spLocks noEditPoints="1"/>
            </p:cNvSpPr>
            <p:nvPr/>
          </p:nvSpPr>
          <p:spPr bwMode="auto">
            <a:xfrm>
              <a:off x="8104736" y="3864008"/>
              <a:ext cx="288773" cy="100149"/>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0" name="Freeform 12"/>
            <p:cNvSpPr>
              <a:spLocks noEditPoints="1"/>
            </p:cNvSpPr>
            <p:nvPr/>
          </p:nvSpPr>
          <p:spPr bwMode="auto">
            <a:xfrm>
              <a:off x="8109037" y="3800109"/>
              <a:ext cx="290002" cy="97077"/>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591" name="Freeform 13"/>
            <p:cNvSpPr>
              <a:spLocks noEditPoints="1"/>
            </p:cNvSpPr>
            <p:nvPr/>
          </p:nvSpPr>
          <p:spPr bwMode="auto">
            <a:xfrm>
              <a:off x="8104736" y="3680913"/>
              <a:ext cx="288773" cy="149302"/>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611" name="Group 610"/>
          <p:cNvGrpSpPr>
            <a:grpSpLocks noChangeAspect="1"/>
          </p:cNvGrpSpPr>
          <p:nvPr/>
        </p:nvGrpSpPr>
        <p:grpSpPr bwMode="auto">
          <a:xfrm>
            <a:off x="6555873" y="1818459"/>
            <a:ext cx="298604" cy="481699"/>
            <a:chOff x="6599" y="1623"/>
            <a:chExt cx="486" cy="784"/>
          </a:xfrm>
          <a:solidFill>
            <a:schemeClr val="accent4"/>
          </a:solidFill>
        </p:grpSpPr>
        <p:sp>
          <p:nvSpPr>
            <p:cNvPr id="63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612" name="Group 611"/>
          <p:cNvGrpSpPr>
            <a:grpSpLocks noChangeAspect="1"/>
          </p:cNvGrpSpPr>
          <p:nvPr/>
        </p:nvGrpSpPr>
        <p:grpSpPr bwMode="auto">
          <a:xfrm>
            <a:off x="7070727" y="1818459"/>
            <a:ext cx="298604" cy="481699"/>
            <a:chOff x="6599" y="1623"/>
            <a:chExt cx="486" cy="784"/>
          </a:xfrm>
          <a:solidFill>
            <a:schemeClr val="accent4"/>
          </a:solidFill>
        </p:grpSpPr>
        <p:sp>
          <p:nvSpPr>
            <p:cNvPr id="62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3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613" name="Group 612"/>
          <p:cNvGrpSpPr>
            <a:grpSpLocks noChangeAspect="1"/>
          </p:cNvGrpSpPr>
          <p:nvPr/>
        </p:nvGrpSpPr>
        <p:grpSpPr bwMode="auto">
          <a:xfrm>
            <a:off x="7585581" y="1818459"/>
            <a:ext cx="298604" cy="481699"/>
            <a:chOff x="6599" y="1623"/>
            <a:chExt cx="486" cy="784"/>
          </a:xfrm>
          <a:solidFill>
            <a:schemeClr val="accent4"/>
          </a:solidFill>
        </p:grpSpPr>
        <p:sp>
          <p:nvSpPr>
            <p:cNvPr id="62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2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8" name="Group 7"/>
          <p:cNvGrpSpPr/>
          <p:nvPr/>
        </p:nvGrpSpPr>
        <p:grpSpPr>
          <a:xfrm>
            <a:off x="8100435" y="1818459"/>
            <a:ext cx="298604" cy="481699"/>
            <a:chOff x="8100435" y="1141127"/>
            <a:chExt cx="298604" cy="481699"/>
          </a:xfrm>
        </p:grpSpPr>
        <p:sp>
          <p:nvSpPr>
            <p:cNvPr id="614" name="Freeform 8"/>
            <p:cNvSpPr>
              <a:spLocks noEditPoints="1"/>
            </p:cNvSpPr>
            <p:nvPr/>
          </p:nvSpPr>
          <p:spPr bwMode="auto">
            <a:xfrm>
              <a:off x="8104736" y="1522677"/>
              <a:ext cx="288773" cy="100149"/>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15" name="Freeform 9"/>
            <p:cNvSpPr>
              <a:spLocks noEditPoints="1"/>
            </p:cNvSpPr>
            <p:nvPr/>
          </p:nvSpPr>
          <p:spPr bwMode="auto">
            <a:xfrm>
              <a:off x="8109037" y="1453248"/>
              <a:ext cx="290002" cy="103221"/>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16" name="Freeform 10"/>
            <p:cNvSpPr>
              <a:spLocks noEditPoints="1"/>
            </p:cNvSpPr>
            <p:nvPr/>
          </p:nvSpPr>
          <p:spPr bwMode="auto">
            <a:xfrm>
              <a:off x="8100435" y="1390578"/>
              <a:ext cx="288773" cy="98920"/>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17" name="Freeform 11"/>
            <p:cNvSpPr>
              <a:spLocks noEditPoints="1"/>
            </p:cNvSpPr>
            <p:nvPr/>
          </p:nvSpPr>
          <p:spPr bwMode="auto">
            <a:xfrm>
              <a:off x="8104736" y="1324222"/>
              <a:ext cx="288773" cy="100149"/>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18" name="Freeform 12"/>
            <p:cNvSpPr>
              <a:spLocks noEditPoints="1"/>
            </p:cNvSpPr>
            <p:nvPr/>
          </p:nvSpPr>
          <p:spPr bwMode="auto">
            <a:xfrm>
              <a:off x="8109037" y="1260323"/>
              <a:ext cx="290002" cy="97077"/>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19" name="Freeform 13"/>
            <p:cNvSpPr>
              <a:spLocks noEditPoints="1"/>
            </p:cNvSpPr>
            <p:nvPr/>
          </p:nvSpPr>
          <p:spPr bwMode="auto">
            <a:xfrm>
              <a:off x="8104736" y="1141127"/>
              <a:ext cx="288773" cy="149302"/>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sp>
        <p:nvSpPr>
          <p:cNvPr id="643" name="Freeform 18"/>
          <p:cNvSpPr>
            <a:spLocks noEditPoints="1"/>
          </p:cNvSpPr>
          <p:nvPr/>
        </p:nvSpPr>
        <p:spPr bwMode="auto">
          <a:xfrm>
            <a:off x="740149" y="2434923"/>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644" name="Freeform 18"/>
          <p:cNvSpPr>
            <a:spLocks noEditPoints="1"/>
          </p:cNvSpPr>
          <p:nvPr/>
        </p:nvSpPr>
        <p:spPr bwMode="auto">
          <a:xfrm>
            <a:off x="1318986" y="2434923"/>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645" name="Freeform 18"/>
          <p:cNvSpPr>
            <a:spLocks noEditPoints="1"/>
          </p:cNvSpPr>
          <p:nvPr/>
        </p:nvSpPr>
        <p:spPr bwMode="auto">
          <a:xfrm>
            <a:off x="1897823" y="2434923"/>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646" name="Freeform 18"/>
          <p:cNvSpPr>
            <a:spLocks noEditPoints="1"/>
          </p:cNvSpPr>
          <p:nvPr/>
        </p:nvSpPr>
        <p:spPr bwMode="auto">
          <a:xfrm>
            <a:off x="2476660" y="2434923"/>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648" name="Group 647"/>
          <p:cNvGrpSpPr>
            <a:grpSpLocks noChangeAspect="1"/>
          </p:cNvGrpSpPr>
          <p:nvPr/>
        </p:nvGrpSpPr>
        <p:grpSpPr bwMode="auto">
          <a:xfrm>
            <a:off x="6555873" y="2433550"/>
            <a:ext cx="298604" cy="481699"/>
            <a:chOff x="6599" y="1623"/>
            <a:chExt cx="486" cy="784"/>
          </a:xfrm>
          <a:solidFill>
            <a:schemeClr val="accent4"/>
          </a:solidFill>
        </p:grpSpPr>
        <p:sp>
          <p:nvSpPr>
            <p:cNvPr id="669"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70"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71"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72"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73"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74"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649" name="Group 648"/>
          <p:cNvGrpSpPr>
            <a:grpSpLocks noChangeAspect="1"/>
          </p:cNvGrpSpPr>
          <p:nvPr/>
        </p:nvGrpSpPr>
        <p:grpSpPr bwMode="auto">
          <a:xfrm>
            <a:off x="7070727" y="2433550"/>
            <a:ext cx="298604" cy="481699"/>
            <a:chOff x="6599" y="1623"/>
            <a:chExt cx="486" cy="784"/>
          </a:xfrm>
          <a:solidFill>
            <a:schemeClr val="accent4"/>
          </a:solidFill>
        </p:grpSpPr>
        <p:sp>
          <p:nvSpPr>
            <p:cNvPr id="663"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4"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5"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6"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7"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8"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650" name="Group 649"/>
          <p:cNvGrpSpPr>
            <a:grpSpLocks noChangeAspect="1"/>
          </p:cNvGrpSpPr>
          <p:nvPr/>
        </p:nvGrpSpPr>
        <p:grpSpPr bwMode="auto">
          <a:xfrm>
            <a:off x="7585581" y="2433550"/>
            <a:ext cx="298604" cy="481699"/>
            <a:chOff x="6599" y="1623"/>
            <a:chExt cx="486" cy="784"/>
          </a:xfrm>
          <a:solidFill>
            <a:schemeClr val="accent4"/>
          </a:solidFill>
        </p:grpSpPr>
        <p:sp>
          <p:nvSpPr>
            <p:cNvPr id="65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6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7" name="Group 6"/>
          <p:cNvGrpSpPr/>
          <p:nvPr/>
        </p:nvGrpSpPr>
        <p:grpSpPr>
          <a:xfrm>
            <a:off x="8100435" y="2433550"/>
            <a:ext cx="298604" cy="481699"/>
            <a:chOff x="8100435" y="1756218"/>
            <a:chExt cx="298604" cy="481699"/>
          </a:xfrm>
        </p:grpSpPr>
        <p:sp>
          <p:nvSpPr>
            <p:cNvPr id="651" name="Freeform 8"/>
            <p:cNvSpPr>
              <a:spLocks noEditPoints="1"/>
            </p:cNvSpPr>
            <p:nvPr/>
          </p:nvSpPr>
          <p:spPr bwMode="auto">
            <a:xfrm>
              <a:off x="8104736" y="2137768"/>
              <a:ext cx="288773" cy="100149"/>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2" name="Freeform 9"/>
            <p:cNvSpPr>
              <a:spLocks noEditPoints="1"/>
            </p:cNvSpPr>
            <p:nvPr/>
          </p:nvSpPr>
          <p:spPr bwMode="auto">
            <a:xfrm>
              <a:off x="8109037" y="2068339"/>
              <a:ext cx="290002" cy="103221"/>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3" name="Freeform 10"/>
            <p:cNvSpPr>
              <a:spLocks noEditPoints="1"/>
            </p:cNvSpPr>
            <p:nvPr/>
          </p:nvSpPr>
          <p:spPr bwMode="auto">
            <a:xfrm>
              <a:off x="8100435" y="2005669"/>
              <a:ext cx="288773" cy="98920"/>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4" name="Freeform 11"/>
            <p:cNvSpPr>
              <a:spLocks noEditPoints="1"/>
            </p:cNvSpPr>
            <p:nvPr/>
          </p:nvSpPr>
          <p:spPr bwMode="auto">
            <a:xfrm>
              <a:off x="8104736" y="1939313"/>
              <a:ext cx="288773" cy="100149"/>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5" name="Freeform 12"/>
            <p:cNvSpPr>
              <a:spLocks noEditPoints="1"/>
            </p:cNvSpPr>
            <p:nvPr/>
          </p:nvSpPr>
          <p:spPr bwMode="auto">
            <a:xfrm>
              <a:off x="8109037" y="1875414"/>
              <a:ext cx="290002" cy="97077"/>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656" name="Freeform 13"/>
            <p:cNvSpPr>
              <a:spLocks noEditPoints="1"/>
            </p:cNvSpPr>
            <p:nvPr/>
          </p:nvSpPr>
          <p:spPr bwMode="auto">
            <a:xfrm>
              <a:off x="8104736" y="1756218"/>
              <a:ext cx="288773" cy="149302"/>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sp>
        <p:nvSpPr>
          <p:cNvPr id="175" name="Title 3"/>
          <p:cNvSpPr txBox="1">
            <a:spLocks/>
          </p:cNvSpPr>
          <p:nvPr/>
        </p:nvSpPr>
        <p:spPr>
          <a:xfrm>
            <a:off x="1037324" y="5407474"/>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smtClean="0">
                <a:latin typeface="SimSun" panose="02010600030101010101" pitchFamily="2" charset="-122"/>
                <a:ea typeface="SimSun" panose="02010600030101010101" pitchFamily="2" charset="-122"/>
                <a:cs typeface="MV Boli" panose="02000500030200090000" pitchFamily="2" charset="0"/>
              </a:rPr>
              <a:t>想法</a:t>
            </a:r>
            <a:endParaRPr lang="en-GB" sz="2800" b="1" dirty="0">
              <a:latin typeface="SimSun" panose="02010600030101010101" pitchFamily="2" charset="-122"/>
              <a:ea typeface="SimSun" panose="02010600030101010101" pitchFamily="2" charset="-122"/>
              <a:cs typeface="MV Boli" panose="02000500030200090000" pitchFamily="2" charset="0"/>
            </a:endParaRPr>
          </a:p>
        </p:txBody>
      </p:sp>
      <p:sp>
        <p:nvSpPr>
          <p:cNvPr id="176" name="Title 3"/>
          <p:cNvSpPr txBox="1">
            <a:spLocks/>
          </p:cNvSpPr>
          <p:nvPr/>
        </p:nvSpPr>
        <p:spPr>
          <a:xfrm>
            <a:off x="6653269" y="5407474"/>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smtClean="0">
                <a:latin typeface="SimSun" panose="02010600030101010101" pitchFamily="2" charset="-122"/>
                <a:ea typeface="SimSun" panose="02010600030101010101" pitchFamily="2" charset="-122"/>
                <a:cs typeface="MV Boli" panose="02000500030200090000" pitchFamily="2" charset="0"/>
              </a:rPr>
              <a:t>价值</a:t>
            </a:r>
            <a:endParaRPr lang="en-GB" sz="2800" b="1" dirty="0">
              <a:latin typeface="SimSun" panose="02010600030101010101" pitchFamily="2" charset="-122"/>
              <a:ea typeface="SimSun" panose="02010600030101010101" pitchFamily="2" charset="-122"/>
              <a:cs typeface="MV Boli" panose="02000500030200090000" pitchFamily="2" charset="0"/>
            </a:endParaRPr>
          </a:p>
        </p:txBody>
      </p:sp>
      <p:sp>
        <p:nvSpPr>
          <p:cNvPr id="178" name="Title 3"/>
          <p:cNvSpPr txBox="1">
            <a:spLocks/>
          </p:cNvSpPr>
          <p:nvPr/>
        </p:nvSpPr>
        <p:spPr>
          <a:xfrm>
            <a:off x="2877840" y="3344908"/>
            <a:ext cx="3618797" cy="46333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发布</a:t>
            </a:r>
            <a:endParaRPr lang="en-GB" sz="32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cxnSp>
        <p:nvCxnSpPr>
          <p:cNvPr id="179" name="Straight Connector 178"/>
          <p:cNvCxnSpPr/>
          <p:nvPr/>
        </p:nvCxnSpPr>
        <p:spPr>
          <a:xfrm>
            <a:off x="3933825" y="3978146"/>
            <a:ext cx="1552575" cy="0"/>
          </a:xfrm>
          <a:prstGeom prst="line">
            <a:avLst/>
          </a:prstGeom>
          <a:ln w="28575" cap="rnd">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nvGrpSpPr>
          <p:cNvPr id="186" name="Group 185"/>
          <p:cNvGrpSpPr>
            <a:grpSpLocks noChangeAspect="1"/>
          </p:cNvGrpSpPr>
          <p:nvPr/>
        </p:nvGrpSpPr>
        <p:grpSpPr bwMode="auto">
          <a:xfrm>
            <a:off x="6040438" y="3075115"/>
            <a:ext cx="298604" cy="481699"/>
            <a:chOff x="6599" y="1623"/>
            <a:chExt cx="486" cy="784"/>
          </a:xfrm>
          <a:solidFill>
            <a:schemeClr val="accent4"/>
          </a:solidFill>
        </p:grpSpPr>
        <p:sp>
          <p:nvSpPr>
            <p:cNvPr id="18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8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8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193" name="Group 192"/>
          <p:cNvGrpSpPr>
            <a:grpSpLocks noChangeAspect="1"/>
          </p:cNvGrpSpPr>
          <p:nvPr/>
        </p:nvGrpSpPr>
        <p:grpSpPr bwMode="auto">
          <a:xfrm>
            <a:off x="6040438" y="3716680"/>
            <a:ext cx="298604" cy="481699"/>
            <a:chOff x="6599" y="1623"/>
            <a:chExt cx="486" cy="784"/>
          </a:xfrm>
          <a:solidFill>
            <a:schemeClr val="accent4"/>
          </a:solidFill>
        </p:grpSpPr>
        <p:sp>
          <p:nvSpPr>
            <p:cNvPr id="19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19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00" name="Group 199"/>
          <p:cNvGrpSpPr>
            <a:grpSpLocks noChangeAspect="1"/>
          </p:cNvGrpSpPr>
          <p:nvPr/>
        </p:nvGrpSpPr>
        <p:grpSpPr bwMode="auto">
          <a:xfrm>
            <a:off x="6040438" y="4358245"/>
            <a:ext cx="298604" cy="481699"/>
            <a:chOff x="6599" y="1623"/>
            <a:chExt cx="486" cy="784"/>
          </a:xfrm>
          <a:solidFill>
            <a:schemeClr val="accent4"/>
          </a:solidFill>
        </p:grpSpPr>
        <p:sp>
          <p:nvSpPr>
            <p:cNvPr id="201"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02"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03"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04"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05"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06"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07" name="Group 206"/>
          <p:cNvGrpSpPr>
            <a:grpSpLocks noChangeAspect="1"/>
          </p:cNvGrpSpPr>
          <p:nvPr/>
        </p:nvGrpSpPr>
        <p:grpSpPr bwMode="auto">
          <a:xfrm>
            <a:off x="6040438" y="1818459"/>
            <a:ext cx="298604" cy="481699"/>
            <a:chOff x="6599" y="1623"/>
            <a:chExt cx="486" cy="784"/>
          </a:xfrm>
          <a:solidFill>
            <a:schemeClr val="accent4"/>
          </a:solidFill>
        </p:grpSpPr>
        <p:sp>
          <p:nvSpPr>
            <p:cNvPr id="20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0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14" name="Group 213"/>
          <p:cNvGrpSpPr>
            <a:grpSpLocks noChangeAspect="1"/>
          </p:cNvGrpSpPr>
          <p:nvPr/>
        </p:nvGrpSpPr>
        <p:grpSpPr bwMode="auto">
          <a:xfrm>
            <a:off x="6040438" y="2433550"/>
            <a:ext cx="298604" cy="481699"/>
            <a:chOff x="6599" y="1623"/>
            <a:chExt cx="486" cy="784"/>
          </a:xfrm>
          <a:solidFill>
            <a:schemeClr val="accent4"/>
          </a:solidFill>
        </p:grpSpPr>
        <p:sp>
          <p:nvSpPr>
            <p:cNvPr id="215"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6"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7"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8"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19"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20"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sp>
        <p:nvSpPr>
          <p:cNvPr id="223" name="Freeform 18"/>
          <p:cNvSpPr>
            <a:spLocks noEditPoints="1"/>
          </p:cNvSpPr>
          <p:nvPr/>
        </p:nvSpPr>
        <p:spPr bwMode="auto">
          <a:xfrm>
            <a:off x="3055938" y="306884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24" name="Freeform 18"/>
          <p:cNvSpPr>
            <a:spLocks noEditPoints="1"/>
          </p:cNvSpPr>
          <p:nvPr/>
        </p:nvSpPr>
        <p:spPr bwMode="auto">
          <a:xfrm>
            <a:off x="3055938" y="3702761"/>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25" name="Freeform 18"/>
          <p:cNvSpPr>
            <a:spLocks noEditPoints="1"/>
          </p:cNvSpPr>
          <p:nvPr/>
        </p:nvSpPr>
        <p:spPr bwMode="auto">
          <a:xfrm>
            <a:off x="3055938" y="4336680"/>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26" name="Freeform 18"/>
          <p:cNvSpPr>
            <a:spLocks noEditPoints="1"/>
          </p:cNvSpPr>
          <p:nvPr/>
        </p:nvSpPr>
        <p:spPr bwMode="auto">
          <a:xfrm>
            <a:off x="3055938" y="1789248"/>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27" name="Freeform 18"/>
          <p:cNvSpPr>
            <a:spLocks noEditPoints="1"/>
          </p:cNvSpPr>
          <p:nvPr/>
        </p:nvSpPr>
        <p:spPr bwMode="auto">
          <a:xfrm>
            <a:off x="3055938" y="2434923"/>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4" name="Footer Placeholder 3"/>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229" name="Rectangle 228"/>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3879509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250" tmFilter="0, 0; .2, .5; .8, .5; 1, 0"/>
                                        <p:tgtEl>
                                          <p:spTgt spid="522"/>
                                        </p:tgtEl>
                                      </p:cBhvr>
                                    </p:animEffect>
                                    <p:animScale>
                                      <p:cBhvr>
                                        <p:cTn id="7" dur="125" autoRev="1" fill="hold"/>
                                        <p:tgtEl>
                                          <p:spTgt spid="522"/>
                                        </p:tgtEl>
                                      </p:cBhvr>
                                      <p:by x="105000" y="105000"/>
                                    </p:animScale>
                                  </p:childTnLst>
                                </p:cTn>
                              </p:par>
                              <p:par>
                                <p:cTn id="8" presetID="26" presetClass="emph" presetSubtype="0" fill="hold" grpId="1" nodeType="withEffect">
                                  <p:stCondLst>
                                    <p:cond delay="0"/>
                                  </p:stCondLst>
                                  <p:childTnLst>
                                    <p:animEffect transition="out" filter="fade">
                                      <p:cBhvr>
                                        <p:cTn id="9" dur="500" tmFilter="0, 0; .2, .5; .8, .5; 1, 0"/>
                                        <p:tgtEl>
                                          <p:spTgt spid="522"/>
                                        </p:tgtEl>
                                      </p:cBhvr>
                                    </p:animEffect>
                                    <p:animScale>
                                      <p:cBhvr>
                                        <p:cTn id="10" dur="250" autoRev="1" fill="hold"/>
                                        <p:tgtEl>
                                          <p:spTgt spid="522"/>
                                        </p:tgtEl>
                                      </p:cBhvr>
                                      <p:by x="105000" y="105000"/>
                                    </p:animScale>
                                  </p:childTnLst>
                                </p:cTn>
                              </p:par>
                              <p:par>
                                <p:cTn id="11" presetID="26" presetClass="emph" presetSubtype="0" fill="hold" grpId="0" nodeType="withEffect">
                                  <p:stCondLst>
                                    <p:cond delay="0"/>
                                  </p:stCondLst>
                                  <p:childTnLst>
                                    <p:animEffect transition="out" filter="fade">
                                      <p:cBhvr>
                                        <p:cTn id="12" dur="250" tmFilter="0, 0; .2, .5; .8, .5; 1, 0"/>
                                        <p:tgtEl>
                                          <p:spTgt spid="518"/>
                                        </p:tgtEl>
                                      </p:cBhvr>
                                    </p:animEffect>
                                    <p:animScale>
                                      <p:cBhvr>
                                        <p:cTn id="13" dur="125" autoRev="1" fill="hold"/>
                                        <p:tgtEl>
                                          <p:spTgt spid="518"/>
                                        </p:tgtEl>
                                      </p:cBhvr>
                                      <p:by x="105000" y="105000"/>
                                    </p:animScale>
                                  </p:childTnLst>
                                </p:cTn>
                              </p:par>
                              <p:par>
                                <p:cTn id="14" presetID="26" presetClass="emph" presetSubtype="0" fill="hold" grpId="1" nodeType="withEffect">
                                  <p:stCondLst>
                                    <p:cond delay="0"/>
                                  </p:stCondLst>
                                  <p:childTnLst>
                                    <p:animEffect transition="out" filter="fade">
                                      <p:cBhvr>
                                        <p:cTn id="15" dur="500" tmFilter="0, 0; .2, .5; .8, .5; 1, 0"/>
                                        <p:tgtEl>
                                          <p:spTgt spid="518"/>
                                        </p:tgtEl>
                                      </p:cBhvr>
                                    </p:animEffect>
                                    <p:animScale>
                                      <p:cBhvr>
                                        <p:cTn id="16" dur="250" autoRev="1" fill="hold"/>
                                        <p:tgtEl>
                                          <p:spTgt spid="518"/>
                                        </p:tgtEl>
                                      </p:cBhvr>
                                      <p:by x="105000" y="105000"/>
                                    </p:animScale>
                                  </p:childTnLst>
                                </p:cTn>
                              </p:par>
                              <p:par>
                                <p:cTn id="17" presetID="26" presetClass="emph" presetSubtype="0" fill="hold" grpId="0" nodeType="withEffect">
                                  <p:stCondLst>
                                    <p:cond delay="0"/>
                                  </p:stCondLst>
                                  <p:childTnLst>
                                    <p:animEffect transition="out" filter="fade">
                                      <p:cBhvr>
                                        <p:cTn id="18" dur="250" tmFilter="0, 0; .2, .5; .8, .5; 1, 0"/>
                                        <p:tgtEl>
                                          <p:spTgt spid="524"/>
                                        </p:tgtEl>
                                      </p:cBhvr>
                                    </p:animEffect>
                                    <p:animScale>
                                      <p:cBhvr>
                                        <p:cTn id="19" dur="125" autoRev="1" fill="hold"/>
                                        <p:tgtEl>
                                          <p:spTgt spid="524"/>
                                        </p:tgtEl>
                                      </p:cBhvr>
                                      <p:by x="105000" y="105000"/>
                                    </p:animScale>
                                  </p:childTnLst>
                                </p:cTn>
                              </p:par>
                              <p:par>
                                <p:cTn id="20" presetID="26" presetClass="emph" presetSubtype="0" fill="hold" grpId="1" nodeType="withEffect">
                                  <p:stCondLst>
                                    <p:cond delay="0"/>
                                  </p:stCondLst>
                                  <p:childTnLst>
                                    <p:animEffect transition="out" filter="fade">
                                      <p:cBhvr>
                                        <p:cTn id="21" dur="500" tmFilter="0, 0; .2, .5; .8, .5; 1, 0"/>
                                        <p:tgtEl>
                                          <p:spTgt spid="524"/>
                                        </p:tgtEl>
                                      </p:cBhvr>
                                    </p:animEffect>
                                    <p:animScale>
                                      <p:cBhvr>
                                        <p:cTn id="22" dur="250" autoRev="1" fill="hold"/>
                                        <p:tgtEl>
                                          <p:spTgt spid="524"/>
                                        </p:tgtEl>
                                      </p:cBhvr>
                                      <p:by x="105000" y="105000"/>
                                    </p:animScale>
                                  </p:childTnLst>
                                </p:cTn>
                              </p:par>
                              <p:par>
                                <p:cTn id="23" presetID="26" presetClass="emph" presetSubtype="0" fill="hold" grpId="0" nodeType="withEffect">
                                  <p:stCondLst>
                                    <p:cond delay="0"/>
                                  </p:stCondLst>
                                  <p:childTnLst>
                                    <p:animEffect transition="out" filter="fade">
                                      <p:cBhvr>
                                        <p:cTn id="24" dur="250" tmFilter="0, 0; .2, .5; .8, .5; 1, 0"/>
                                        <p:tgtEl>
                                          <p:spTgt spid="509"/>
                                        </p:tgtEl>
                                      </p:cBhvr>
                                    </p:animEffect>
                                    <p:animScale>
                                      <p:cBhvr>
                                        <p:cTn id="25" dur="125" autoRev="1" fill="hold"/>
                                        <p:tgtEl>
                                          <p:spTgt spid="509"/>
                                        </p:tgtEl>
                                      </p:cBhvr>
                                      <p:by x="105000" y="105000"/>
                                    </p:animScale>
                                  </p:childTnLst>
                                </p:cTn>
                              </p:par>
                              <p:par>
                                <p:cTn id="26" presetID="26" presetClass="emph" presetSubtype="0" fill="hold" grpId="1" nodeType="withEffect">
                                  <p:stCondLst>
                                    <p:cond delay="0"/>
                                  </p:stCondLst>
                                  <p:childTnLst>
                                    <p:animEffect transition="out" filter="fade">
                                      <p:cBhvr>
                                        <p:cTn id="27" dur="500" tmFilter="0, 0; .2, .5; .8, .5; 1, 0"/>
                                        <p:tgtEl>
                                          <p:spTgt spid="509"/>
                                        </p:tgtEl>
                                      </p:cBhvr>
                                    </p:animEffect>
                                    <p:animScale>
                                      <p:cBhvr>
                                        <p:cTn id="28" dur="250" autoRev="1" fill="hold"/>
                                        <p:tgtEl>
                                          <p:spTgt spid="509"/>
                                        </p:tgtEl>
                                      </p:cBhvr>
                                      <p:by x="105000" y="105000"/>
                                    </p:animScale>
                                  </p:childTnLst>
                                </p:cTn>
                              </p:par>
                              <p:par>
                                <p:cTn id="29" presetID="26" presetClass="emph" presetSubtype="0" fill="hold" grpId="2" nodeType="withEffect">
                                  <p:stCondLst>
                                    <p:cond delay="0"/>
                                  </p:stCondLst>
                                  <p:childTnLst>
                                    <p:animEffect transition="out" filter="fade">
                                      <p:cBhvr>
                                        <p:cTn id="30" dur="500" tmFilter="0, 0; .2, .5; .8, .5; 1, 0"/>
                                        <p:tgtEl>
                                          <p:spTgt spid="509"/>
                                        </p:tgtEl>
                                      </p:cBhvr>
                                    </p:animEffect>
                                    <p:animScale>
                                      <p:cBhvr>
                                        <p:cTn id="31" dur="250" autoRev="1" fill="hold"/>
                                        <p:tgtEl>
                                          <p:spTgt spid="509"/>
                                        </p:tgtEl>
                                      </p:cBhvr>
                                      <p:by x="105000" y="105000"/>
                                    </p:animScale>
                                  </p:childTnLst>
                                </p:cTn>
                              </p:par>
                              <p:par>
                                <p:cTn id="32" presetID="26" presetClass="emph" presetSubtype="0" fill="hold" grpId="0" nodeType="withEffect">
                                  <p:stCondLst>
                                    <p:cond delay="0"/>
                                  </p:stCondLst>
                                  <p:childTnLst>
                                    <p:animEffect transition="out" filter="fade">
                                      <p:cBhvr>
                                        <p:cTn id="33" dur="250" tmFilter="0, 0; .2, .5; .8, .5; 1, 0"/>
                                        <p:tgtEl>
                                          <p:spTgt spid="515"/>
                                        </p:tgtEl>
                                      </p:cBhvr>
                                    </p:animEffect>
                                    <p:animScale>
                                      <p:cBhvr>
                                        <p:cTn id="34" dur="125" autoRev="1" fill="hold"/>
                                        <p:tgtEl>
                                          <p:spTgt spid="515"/>
                                        </p:tgtEl>
                                      </p:cBhvr>
                                      <p:by x="105000" y="105000"/>
                                    </p:animScale>
                                  </p:childTnLst>
                                </p:cTn>
                              </p:par>
                              <p:par>
                                <p:cTn id="35" presetID="26" presetClass="emph" presetSubtype="0" fill="hold" grpId="1" nodeType="withEffect">
                                  <p:stCondLst>
                                    <p:cond delay="0"/>
                                  </p:stCondLst>
                                  <p:childTnLst>
                                    <p:animEffect transition="out" filter="fade">
                                      <p:cBhvr>
                                        <p:cTn id="36" dur="500" tmFilter="0, 0; .2, .5; .8, .5; 1, 0"/>
                                        <p:tgtEl>
                                          <p:spTgt spid="515"/>
                                        </p:tgtEl>
                                      </p:cBhvr>
                                    </p:animEffect>
                                    <p:animScale>
                                      <p:cBhvr>
                                        <p:cTn id="37" dur="250" autoRev="1" fill="hold"/>
                                        <p:tgtEl>
                                          <p:spTgt spid="515"/>
                                        </p:tgtEl>
                                      </p:cBhvr>
                                      <p:by x="105000" y="105000"/>
                                    </p:animScale>
                                  </p:childTnLst>
                                </p:cTn>
                              </p:par>
                            </p:childTnLst>
                          </p:cTn>
                        </p:par>
                        <p:par>
                          <p:cTn id="38" fill="hold">
                            <p:stCondLst>
                              <p:cond delay="500"/>
                            </p:stCondLst>
                            <p:childTnLst>
                              <p:par>
                                <p:cTn id="39" presetID="1" presetClass="exit" presetSubtype="0" fill="hold" grpId="2" nodeType="afterEffect">
                                  <p:stCondLst>
                                    <p:cond delay="0"/>
                                  </p:stCondLst>
                                  <p:childTnLst>
                                    <p:set>
                                      <p:cBhvr>
                                        <p:cTn id="40" dur="1" fill="hold">
                                          <p:stCondLst>
                                            <p:cond delay="0"/>
                                          </p:stCondLst>
                                        </p:cTn>
                                        <p:tgtEl>
                                          <p:spTgt spid="518"/>
                                        </p:tgtEl>
                                        <p:attrNameLst>
                                          <p:attrName>style.visibility</p:attrName>
                                        </p:attrNameLst>
                                      </p:cBhvr>
                                      <p:to>
                                        <p:strVal val="hidden"/>
                                      </p:to>
                                    </p:set>
                                  </p:childTnLst>
                                </p:cTn>
                              </p:par>
                              <p:par>
                                <p:cTn id="41" presetID="1" presetClass="entr" presetSubtype="0" fill="hold" grpId="3" nodeType="withEffect">
                                  <p:stCondLst>
                                    <p:cond delay="0"/>
                                  </p:stCondLst>
                                  <p:childTnLst>
                                    <p:set>
                                      <p:cBhvr>
                                        <p:cTn id="42" dur="1" fill="hold">
                                          <p:stCondLst>
                                            <p:cond delay="0"/>
                                          </p:stCondLst>
                                        </p:cTn>
                                        <p:tgtEl>
                                          <p:spTgt spid="518"/>
                                        </p:tgtEl>
                                        <p:attrNameLst>
                                          <p:attrName>style.visibility</p:attrName>
                                        </p:attrNameLst>
                                      </p:cBhvr>
                                      <p:to>
                                        <p:strVal val="visible"/>
                                      </p:to>
                                    </p:set>
                                  </p:childTnLst>
                                </p:cTn>
                              </p:par>
                              <p:par>
                                <p:cTn id="43" presetID="19" presetClass="emph" presetSubtype="0" fill="hold" grpId="4" nodeType="withEffect">
                                  <p:stCondLst>
                                    <p:cond delay="0"/>
                                  </p:stCondLst>
                                  <p:childTnLst>
                                    <p:animClr clrSpc="rgb" dir="cw">
                                      <p:cBhvr override="childStyle">
                                        <p:cTn id="44" dur="250" fill="hold"/>
                                        <p:tgtEl>
                                          <p:spTgt spid="518"/>
                                        </p:tgtEl>
                                        <p:attrNameLst>
                                          <p:attrName>style.color</p:attrName>
                                        </p:attrNameLst>
                                      </p:cBhvr>
                                      <p:to>
                                        <a:srgbClr val="104455"/>
                                      </p:to>
                                    </p:animClr>
                                    <p:animClr clrSpc="rgb" dir="cw">
                                      <p:cBhvr>
                                        <p:cTn id="45" dur="250" fill="hold"/>
                                        <p:tgtEl>
                                          <p:spTgt spid="518"/>
                                        </p:tgtEl>
                                        <p:attrNameLst>
                                          <p:attrName>fillcolor</p:attrName>
                                        </p:attrNameLst>
                                      </p:cBhvr>
                                      <p:to>
                                        <a:srgbClr val="104455"/>
                                      </p:to>
                                    </p:animClr>
                                    <p:set>
                                      <p:cBhvr>
                                        <p:cTn id="46" dur="250" fill="hold"/>
                                        <p:tgtEl>
                                          <p:spTgt spid="518"/>
                                        </p:tgtEl>
                                        <p:attrNameLst>
                                          <p:attrName>fill.type</p:attrName>
                                        </p:attrNameLst>
                                      </p:cBhvr>
                                      <p:to>
                                        <p:strVal val="solid"/>
                                      </p:to>
                                    </p:set>
                                    <p:set>
                                      <p:cBhvr>
                                        <p:cTn id="47" dur="250" fill="hold"/>
                                        <p:tgtEl>
                                          <p:spTgt spid="518"/>
                                        </p:tgtEl>
                                        <p:attrNameLst>
                                          <p:attrName>fill.on</p:attrName>
                                        </p:attrNameLst>
                                      </p:cBhvr>
                                      <p:to>
                                        <p:strVal val="true"/>
                                      </p:to>
                                    </p:set>
                                  </p:childTnLst>
                                </p:cTn>
                              </p:par>
                              <p:par>
                                <p:cTn id="48" presetID="1" presetClass="exit" presetSubtype="0" fill="hold" grpId="2" nodeType="withEffect">
                                  <p:stCondLst>
                                    <p:cond delay="0"/>
                                  </p:stCondLst>
                                  <p:childTnLst>
                                    <p:set>
                                      <p:cBhvr>
                                        <p:cTn id="49" dur="1" fill="hold">
                                          <p:stCondLst>
                                            <p:cond delay="0"/>
                                          </p:stCondLst>
                                        </p:cTn>
                                        <p:tgtEl>
                                          <p:spTgt spid="522"/>
                                        </p:tgtEl>
                                        <p:attrNameLst>
                                          <p:attrName>style.visibility</p:attrName>
                                        </p:attrNameLst>
                                      </p:cBhvr>
                                      <p:to>
                                        <p:strVal val="hidden"/>
                                      </p:to>
                                    </p:set>
                                  </p:childTnLst>
                                </p:cTn>
                              </p:par>
                              <p:par>
                                <p:cTn id="50" presetID="1" presetClass="entr" presetSubtype="0" fill="hold" grpId="4" nodeType="withEffect">
                                  <p:stCondLst>
                                    <p:cond delay="0"/>
                                  </p:stCondLst>
                                  <p:childTnLst>
                                    <p:set>
                                      <p:cBhvr>
                                        <p:cTn id="51" dur="1" fill="hold">
                                          <p:stCondLst>
                                            <p:cond delay="0"/>
                                          </p:stCondLst>
                                        </p:cTn>
                                        <p:tgtEl>
                                          <p:spTgt spid="522"/>
                                        </p:tgtEl>
                                        <p:attrNameLst>
                                          <p:attrName>style.visibility</p:attrName>
                                        </p:attrNameLst>
                                      </p:cBhvr>
                                      <p:to>
                                        <p:strVal val="visible"/>
                                      </p:to>
                                    </p:set>
                                  </p:childTnLst>
                                </p:cTn>
                              </p:par>
                              <p:par>
                                <p:cTn id="52" presetID="19" presetClass="emph" presetSubtype="0" fill="hold" grpId="3" nodeType="withEffect">
                                  <p:stCondLst>
                                    <p:cond delay="0"/>
                                  </p:stCondLst>
                                  <p:childTnLst>
                                    <p:animClr clrSpc="rgb" dir="cw">
                                      <p:cBhvr override="childStyle">
                                        <p:cTn id="53" dur="250" fill="hold"/>
                                        <p:tgtEl>
                                          <p:spTgt spid="522"/>
                                        </p:tgtEl>
                                        <p:attrNameLst>
                                          <p:attrName>style.color</p:attrName>
                                        </p:attrNameLst>
                                      </p:cBhvr>
                                      <p:to>
                                        <a:srgbClr val="104455"/>
                                      </p:to>
                                    </p:animClr>
                                    <p:animClr clrSpc="rgb" dir="cw">
                                      <p:cBhvr>
                                        <p:cTn id="54" dur="250" fill="hold"/>
                                        <p:tgtEl>
                                          <p:spTgt spid="522"/>
                                        </p:tgtEl>
                                        <p:attrNameLst>
                                          <p:attrName>fillcolor</p:attrName>
                                        </p:attrNameLst>
                                      </p:cBhvr>
                                      <p:to>
                                        <a:srgbClr val="104455"/>
                                      </p:to>
                                    </p:animClr>
                                    <p:set>
                                      <p:cBhvr>
                                        <p:cTn id="55" dur="250" fill="hold"/>
                                        <p:tgtEl>
                                          <p:spTgt spid="522"/>
                                        </p:tgtEl>
                                        <p:attrNameLst>
                                          <p:attrName>fill.type</p:attrName>
                                        </p:attrNameLst>
                                      </p:cBhvr>
                                      <p:to>
                                        <p:strVal val="solid"/>
                                      </p:to>
                                    </p:set>
                                    <p:set>
                                      <p:cBhvr>
                                        <p:cTn id="56" dur="250" fill="hold"/>
                                        <p:tgtEl>
                                          <p:spTgt spid="522"/>
                                        </p:tgtEl>
                                        <p:attrNameLst>
                                          <p:attrName>fill.on</p:attrName>
                                        </p:attrNameLst>
                                      </p:cBhvr>
                                      <p:to>
                                        <p:strVal val="true"/>
                                      </p:to>
                                    </p:set>
                                  </p:childTnLst>
                                </p:cTn>
                              </p:par>
                              <p:par>
                                <p:cTn id="57" presetID="19" presetClass="emph" presetSubtype="0" fill="hold" grpId="4" nodeType="withEffect">
                                  <p:stCondLst>
                                    <p:cond delay="0"/>
                                  </p:stCondLst>
                                  <p:childTnLst>
                                    <p:animClr clrSpc="rgb" dir="cw">
                                      <p:cBhvr override="childStyle">
                                        <p:cTn id="58" dur="250" fill="hold"/>
                                        <p:tgtEl>
                                          <p:spTgt spid="524"/>
                                        </p:tgtEl>
                                        <p:attrNameLst>
                                          <p:attrName>style.color</p:attrName>
                                        </p:attrNameLst>
                                      </p:cBhvr>
                                      <p:to>
                                        <a:srgbClr val="104455"/>
                                      </p:to>
                                    </p:animClr>
                                    <p:animClr clrSpc="rgb" dir="cw">
                                      <p:cBhvr>
                                        <p:cTn id="59" dur="250" fill="hold"/>
                                        <p:tgtEl>
                                          <p:spTgt spid="524"/>
                                        </p:tgtEl>
                                        <p:attrNameLst>
                                          <p:attrName>fillcolor</p:attrName>
                                        </p:attrNameLst>
                                      </p:cBhvr>
                                      <p:to>
                                        <a:srgbClr val="104455"/>
                                      </p:to>
                                    </p:animClr>
                                    <p:set>
                                      <p:cBhvr>
                                        <p:cTn id="60" dur="250" fill="hold"/>
                                        <p:tgtEl>
                                          <p:spTgt spid="524"/>
                                        </p:tgtEl>
                                        <p:attrNameLst>
                                          <p:attrName>fill.type</p:attrName>
                                        </p:attrNameLst>
                                      </p:cBhvr>
                                      <p:to>
                                        <p:strVal val="solid"/>
                                      </p:to>
                                    </p:set>
                                    <p:set>
                                      <p:cBhvr>
                                        <p:cTn id="61" dur="250" fill="hold"/>
                                        <p:tgtEl>
                                          <p:spTgt spid="524"/>
                                        </p:tgtEl>
                                        <p:attrNameLst>
                                          <p:attrName>fill.on</p:attrName>
                                        </p:attrNameLst>
                                      </p:cBhvr>
                                      <p:to>
                                        <p:strVal val="true"/>
                                      </p:to>
                                    </p:set>
                                  </p:childTnLst>
                                </p:cTn>
                              </p:par>
                              <p:par>
                                <p:cTn id="62" presetID="1" presetClass="exit" presetSubtype="0" fill="hold" grpId="3" nodeType="withEffect">
                                  <p:stCondLst>
                                    <p:cond delay="0"/>
                                  </p:stCondLst>
                                  <p:childTnLst>
                                    <p:set>
                                      <p:cBhvr>
                                        <p:cTn id="63" dur="1" fill="hold">
                                          <p:stCondLst>
                                            <p:cond delay="0"/>
                                          </p:stCondLst>
                                        </p:cTn>
                                        <p:tgtEl>
                                          <p:spTgt spid="509"/>
                                        </p:tgtEl>
                                        <p:attrNameLst>
                                          <p:attrName>style.visibility</p:attrName>
                                        </p:attrNameLst>
                                      </p:cBhvr>
                                      <p:to>
                                        <p:strVal val="hidden"/>
                                      </p:to>
                                    </p:set>
                                  </p:childTnLst>
                                </p:cTn>
                              </p:par>
                              <p:par>
                                <p:cTn id="64" presetID="1" presetClass="entr" presetSubtype="0" fill="hold" grpId="4" nodeType="withEffect">
                                  <p:stCondLst>
                                    <p:cond delay="0"/>
                                  </p:stCondLst>
                                  <p:childTnLst>
                                    <p:set>
                                      <p:cBhvr>
                                        <p:cTn id="65" dur="1" fill="hold">
                                          <p:stCondLst>
                                            <p:cond delay="0"/>
                                          </p:stCondLst>
                                        </p:cTn>
                                        <p:tgtEl>
                                          <p:spTgt spid="509"/>
                                        </p:tgtEl>
                                        <p:attrNameLst>
                                          <p:attrName>style.visibility</p:attrName>
                                        </p:attrNameLst>
                                      </p:cBhvr>
                                      <p:to>
                                        <p:strVal val="visible"/>
                                      </p:to>
                                    </p:set>
                                  </p:childTnLst>
                                </p:cTn>
                              </p:par>
                              <p:par>
                                <p:cTn id="66" presetID="19" presetClass="emph" presetSubtype="0" fill="hold" grpId="5" nodeType="withEffect">
                                  <p:stCondLst>
                                    <p:cond delay="0"/>
                                  </p:stCondLst>
                                  <p:childTnLst>
                                    <p:animClr clrSpc="rgb" dir="cw">
                                      <p:cBhvr override="childStyle">
                                        <p:cTn id="67" dur="250" fill="hold"/>
                                        <p:tgtEl>
                                          <p:spTgt spid="509"/>
                                        </p:tgtEl>
                                        <p:attrNameLst>
                                          <p:attrName>style.color</p:attrName>
                                        </p:attrNameLst>
                                      </p:cBhvr>
                                      <p:to>
                                        <a:srgbClr val="104455"/>
                                      </p:to>
                                    </p:animClr>
                                    <p:animClr clrSpc="rgb" dir="cw">
                                      <p:cBhvr>
                                        <p:cTn id="68" dur="250" fill="hold"/>
                                        <p:tgtEl>
                                          <p:spTgt spid="509"/>
                                        </p:tgtEl>
                                        <p:attrNameLst>
                                          <p:attrName>fillcolor</p:attrName>
                                        </p:attrNameLst>
                                      </p:cBhvr>
                                      <p:to>
                                        <a:srgbClr val="104455"/>
                                      </p:to>
                                    </p:animClr>
                                    <p:set>
                                      <p:cBhvr>
                                        <p:cTn id="69" dur="250" fill="hold"/>
                                        <p:tgtEl>
                                          <p:spTgt spid="509"/>
                                        </p:tgtEl>
                                        <p:attrNameLst>
                                          <p:attrName>fill.type</p:attrName>
                                        </p:attrNameLst>
                                      </p:cBhvr>
                                      <p:to>
                                        <p:strVal val="solid"/>
                                      </p:to>
                                    </p:set>
                                    <p:set>
                                      <p:cBhvr>
                                        <p:cTn id="70" dur="250" fill="hold"/>
                                        <p:tgtEl>
                                          <p:spTgt spid="509"/>
                                        </p:tgtEl>
                                        <p:attrNameLst>
                                          <p:attrName>fill.on</p:attrName>
                                        </p:attrNameLst>
                                      </p:cBhvr>
                                      <p:to>
                                        <p:strVal val="true"/>
                                      </p:to>
                                    </p:set>
                                  </p:childTnLst>
                                </p:cTn>
                              </p:par>
                              <p:par>
                                <p:cTn id="71" presetID="1" presetClass="exit" presetSubtype="0" fill="hold" grpId="2" nodeType="withEffect">
                                  <p:stCondLst>
                                    <p:cond delay="0"/>
                                  </p:stCondLst>
                                  <p:childTnLst>
                                    <p:set>
                                      <p:cBhvr>
                                        <p:cTn id="72" dur="1" fill="hold">
                                          <p:stCondLst>
                                            <p:cond delay="0"/>
                                          </p:stCondLst>
                                        </p:cTn>
                                        <p:tgtEl>
                                          <p:spTgt spid="524"/>
                                        </p:tgtEl>
                                        <p:attrNameLst>
                                          <p:attrName>style.visibility</p:attrName>
                                        </p:attrNameLst>
                                      </p:cBhvr>
                                      <p:to>
                                        <p:strVal val="hidden"/>
                                      </p:to>
                                    </p:set>
                                  </p:childTnLst>
                                </p:cTn>
                              </p:par>
                              <p:par>
                                <p:cTn id="73" presetID="1" presetClass="entr" presetSubtype="0" fill="hold" grpId="3" nodeType="withEffect">
                                  <p:stCondLst>
                                    <p:cond delay="0"/>
                                  </p:stCondLst>
                                  <p:childTnLst>
                                    <p:set>
                                      <p:cBhvr>
                                        <p:cTn id="74" dur="1" fill="hold">
                                          <p:stCondLst>
                                            <p:cond delay="0"/>
                                          </p:stCondLst>
                                        </p:cTn>
                                        <p:tgtEl>
                                          <p:spTgt spid="524"/>
                                        </p:tgtEl>
                                        <p:attrNameLst>
                                          <p:attrName>style.visibility</p:attrName>
                                        </p:attrNameLst>
                                      </p:cBhvr>
                                      <p:to>
                                        <p:strVal val="visible"/>
                                      </p:to>
                                    </p:set>
                                  </p:childTnLst>
                                </p:cTn>
                              </p:par>
                              <p:par>
                                <p:cTn id="75" presetID="1" presetClass="exit" presetSubtype="0" fill="hold" grpId="2" nodeType="withEffect">
                                  <p:stCondLst>
                                    <p:cond delay="0"/>
                                  </p:stCondLst>
                                  <p:childTnLst>
                                    <p:set>
                                      <p:cBhvr>
                                        <p:cTn id="76" dur="1" fill="hold">
                                          <p:stCondLst>
                                            <p:cond delay="0"/>
                                          </p:stCondLst>
                                        </p:cTn>
                                        <p:tgtEl>
                                          <p:spTgt spid="515"/>
                                        </p:tgtEl>
                                        <p:attrNameLst>
                                          <p:attrName>style.visibility</p:attrName>
                                        </p:attrNameLst>
                                      </p:cBhvr>
                                      <p:to>
                                        <p:strVal val="hidden"/>
                                      </p:to>
                                    </p:set>
                                  </p:childTnLst>
                                </p:cTn>
                              </p:par>
                              <p:par>
                                <p:cTn id="77" presetID="1" presetClass="entr" presetSubtype="0" fill="hold" grpId="3" nodeType="withEffect">
                                  <p:stCondLst>
                                    <p:cond delay="0"/>
                                  </p:stCondLst>
                                  <p:childTnLst>
                                    <p:set>
                                      <p:cBhvr>
                                        <p:cTn id="78" dur="1" fill="hold">
                                          <p:stCondLst>
                                            <p:cond delay="0"/>
                                          </p:stCondLst>
                                        </p:cTn>
                                        <p:tgtEl>
                                          <p:spTgt spid="515"/>
                                        </p:tgtEl>
                                        <p:attrNameLst>
                                          <p:attrName>style.visibility</p:attrName>
                                        </p:attrNameLst>
                                      </p:cBhvr>
                                      <p:to>
                                        <p:strVal val="visible"/>
                                      </p:to>
                                    </p:set>
                                  </p:childTnLst>
                                </p:cTn>
                              </p:par>
                              <p:par>
                                <p:cTn id="79" presetID="19" presetClass="emph" presetSubtype="0" fill="hold" grpId="4" nodeType="withEffect">
                                  <p:stCondLst>
                                    <p:cond delay="0"/>
                                  </p:stCondLst>
                                  <p:childTnLst>
                                    <p:animClr clrSpc="rgb" dir="cw">
                                      <p:cBhvr override="childStyle">
                                        <p:cTn id="80" dur="250" fill="hold"/>
                                        <p:tgtEl>
                                          <p:spTgt spid="515"/>
                                        </p:tgtEl>
                                        <p:attrNameLst>
                                          <p:attrName>style.color</p:attrName>
                                        </p:attrNameLst>
                                      </p:cBhvr>
                                      <p:to>
                                        <a:srgbClr val="104455"/>
                                      </p:to>
                                    </p:animClr>
                                    <p:animClr clrSpc="rgb" dir="cw">
                                      <p:cBhvr>
                                        <p:cTn id="81" dur="250" fill="hold"/>
                                        <p:tgtEl>
                                          <p:spTgt spid="515"/>
                                        </p:tgtEl>
                                        <p:attrNameLst>
                                          <p:attrName>fillcolor</p:attrName>
                                        </p:attrNameLst>
                                      </p:cBhvr>
                                      <p:to>
                                        <a:srgbClr val="104455"/>
                                      </p:to>
                                    </p:animClr>
                                    <p:set>
                                      <p:cBhvr>
                                        <p:cTn id="82" dur="250" fill="hold"/>
                                        <p:tgtEl>
                                          <p:spTgt spid="515"/>
                                        </p:tgtEl>
                                        <p:attrNameLst>
                                          <p:attrName>fill.type</p:attrName>
                                        </p:attrNameLst>
                                      </p:cBhvr>
                                      <p:to>
                                        <p:strVal val="solid"/>
                                      </p:to>
                                    </p:set>
                                    <p:set>
                                      <p:cBhvr>
                                        <p:cTn id="83" dur="250" fill="hold"/>
                                        <p:tgtEl>
                                          <p:spTgt spid="515"/>
                                        </p:tgtEl>
                                        <p:attrNameLst>
                                          <p:attrName>fill.on</p:attrName>
                                        </p:attrNameLst>
                                      </p:cBhvr>
                                      <p:to>
                                        <p:strVal val="true"/>
                                      </p:to>
                                    </p:set>
                                  </p:childTnLst>
                                </p:cTn>
                              </p:par>
                            </p:childTnLst>
                          </p:cTn>
                        </p:par>
                        <p:par>
                          <p:cTn id="84" fill="hold">
                            <p:stCondLst>
                              <p:cond delay="750"/>
                            </p:stCondLst>
                            <p:childTnLst>
                              <p:par>
                                <p:cTn id="85" presetID="14" presetClass="exit" presetSubtype="10" fill="hold" nodeType="afterEffect">
                                  <p:stCondLst>
                                    <p:cond delay="0"/>
                                  </p:stCondLst>
                                  <p:childTnLst>
                                    <p:animEffect transition="out" filter="randombar(horizontal)">
                                      <p:cBhvr>
                                        <p:cTn id="86" dur="500"/>
                                        <p:tgtEl>
                                          <p:spTgt spid="207"/>
                                        </p:tgtEl>
                                      </p:cBhvr>
                                    </p:animEffect>
                                    <p:set>
                                      <p:cBhvr>
                                        <p:cTn id="87" dur="1" fill="hold">
                                          <p:stCondLst>
                                            <p:cond delay="499"/>
                                          </p:stCondLst>
                                        </p:cTn>
                                        <p:tgtEl>
                                          <p:spTgt spid="207"/>
                                        </p:tgtEl>
                                        <p:attrNameLst>
                                          <p:attrName>style.visibility</p:attrName>
                                        </p:attrNameLst>
                                      </p:cBhvr>
                                      <p:to>
                                        <p:strVal val="hidden"/>
                                      </p:to>
                                    </p:set>
                                  </p:childTnLst>
                                </p:cTn>
                              </p:par>
                              <p:par>
                                <p:cTn id="88" presetID="14" presetClass="exit" presetSubtype="10" fill="hold" nodeType="withEffect">
                                  <p:stCondLst>
                                    <p:cond delay="0"/>
                                  </p:stCondLst>
                                  <p:childTnLst>
                                    <p:animEffect transition="out" filter="randombar(horizontal)">
                                      <p:cBhvr>
                                        <p:cTn id="89" dur="500"/>
                                        <p:tgtEl>
                                          <p:spTgt spid="612"/>
                                        </p:tgtEl>
                                      </p:cBhvr>
                                    </p:animEffect>
                                    <p:set>
                                      <p:cBhvr>
                                        <p:cTn id="90" dur="1" fill="hold">
                                          <p:stCondLst>
                                            <p:cond delay="499"/>
                                          </p:stCondLst>
                                        </p:cTn>
                                        <p:tgtEl>
                                          <p:spTgt spid="612"/>
                                        </p:tgtEl>
                                        <p:attrNameLst>
                                          <p:attrName>style.visibility</p:attrName>
                                        </p:attrNameLst>
                                      </p:cBhvr>
                                      <p:to>
                                        <p:strVal val="hidden"/>
                                      </p:to>
                                    </p:set>
                                  </p:childTnLst>
                                </p:cTn>
                              </p:par>
                              <p:par>
                                <p:cTn id="91" presetID="14" presetClass="exit" presetSubtype="10" fill="hold" nodeType="withEffect">
                                  <p:stCondLst>
                                    <p:cond delay="0"/>
                                  </p:stCondLst>
                                  <p:childTnLst>
                                    <p:animEffect transition="out" filter="randombar(horizontal)">
                                      <p:cBhvr>
                                        <p:cTn id="92" dur="500"/>
                                        <p:tgtEl>
                                          <p:spTgt spid="528"/>
                                        </p:tgtEl>
                                      </p:cBhvr>
                                    </p:animEffect>
                                    <p:set>
                                      <p:cBhvr>
                                        <p:cTn id="93" dur="1" fill="hold">
                                          <p:stCondLst>
                                            <p:cond delay="499"/>
                                          </p:stCondLst>
                                        </p:cTn>
                                        <p:tgtEl>
                                          <p:spTgt spid="528"/>
                                        </p:tgtEl>
                                        <p:attrNameLst>
                                          <p:attrName>style.visibility</p:attrName>
                                        </p:attrNameLst>
                                      </p:cBhvr>
                                      <p:to>
                                        <p:strVal val="hidden"/>
                                      </p:to>
                                    </p:set>
                                  </p:childTnLst>
                                </p:cTn>
                              </p:par>
                              <p:par>
                                <p:cTn id="94" presetID="14" presetClass="exit" presetSubtype="10" fill="hold" nodeType="withEffect">
                                  <p:stCondLst>
                                    <p:cond delay="0"/>
                                  </p:stCondLst>
                                  <p:childTnLst>
                                    <p:animEffect transition="out" filter="randombar(horizontal)">
                                      <p:cBhvr>
                                        <p:cTn id="95" dur="500"/>
                                        <p:tgtEl>
                                          <p:spTgt spid="557"/>
                                        </p:tgtEl>
                                      </p:cBhvr>
                                    </p:animEffect>
                                    <p:set>
                                      <p:cBhvr>
                                        <p:cTn id="96" dur="1" fill="hold">
                                          <p:stCondLst>
                                            <p:cond delay="499"/>
                                          </p:stCondLst>
                                        </p:cTn>
                                        <p:tgtEl>
                                          <p:spTgt spid="557"/>
                                        </p:tgtEl>
                                        <p:attrNameLst>
                                          <p:attrName>style.visibility</p:attrName>
                                        </p:attrNameLst>
                                      </p:cBhvr>
                                      <p:to>
                                        <p:strVal val="hidden"/>
                                      </p:to>
                                    </p:set>
                                  </p:childTnLst>
                                </p:cTn>
                              </p:par>
                              <p:par>
                                <p:cTn id="97" presetID="14" presetClass="exit" presetSubtype="10" fill="hold" nodeType="withEffect">
                                  <p:stCondLst>
                                    <p:cond delay="0"/>
                                  </p:stCondLst>
                                  <p:childTnLst>
                                    <p:animEffect transition="out" filter="randombar(horizontal)">
                                      <p:cBhvr>
                                        <p:cTn id="98" dur="500"/>
                                        <p:tgtEl>
                                          <p:spTgt spid="583"/>
                                        </p:tgtEl>
                                      </p:cBhvr>
                                    </p:animEffect>
                                    <p:set>
                                      <p:cBhvr>
                                        <p:cTn id="99" dur="1" fill="hold">
                                          <p:stCondLst>
                                            <p:cond delay="499"/>
                                          </p:stCondLst>
                                        </p:cTn>
                                        <p:tgtEl>
                                          <p:spTgt spid="58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9" grpId="0" animBg="1"/>
      <p:bldP spid="509" grpId="1" animBg="1"/>
      <p:bldP spid="509" grpId="2" animBg="1"/>
      <p:bldP spid="509" grpId="3" animBg="1"/>
      <p:bldP spid="509" grpId="4" animBg="1"/>
      <p:bldP spid="509" grpId="5" animBg="1"/>
      <p:bldP spid="515" grpId="0" animBg="1"/>
      <p:bldP spid="515" grpId="1" animBg="1"/>
      <p:bldP spid="515" grpId="2" animBg="1"/>
      <p:bldP spid="515" grpId="3" animBg="1"/>
      <p:bldP spid="515" grpId="4" animBg="1"/>
      <p:bldP spid="518" grpId="0" animBg="1"/>
      <p:bldP spid="518" grpId="1" animBg="1"/>
      <p:bldP spid="518" grpId="2" animBg="1"/>
      <p:bldP spid="518" grpId="3" animBg="1"/>
      <p:bldP spid="518" grpId="4" animBg="1"/>
      <p:bldP spid="522" grpId="0" animBg="1"/>
      <p:bldP spid="522" grpId="1" animBg="1"/>
      <p:bldP spid="522" grpId="2" animBg="1"/>
      <p:bldP spid="522" grpId="3" animBg="1"/>
      <p:bldP spid="522" grpId="4" animBg="1"/>
      <p:bldP spid="524" grpId="0" animBg="1"/>
      <p:bldP spid="524" grpId="1" animBg="1"/>
      <p:bldP spid="524" grpId="2" animBg="1"/>
      <p:bldP spid="524" grpId="3" animBg="1"/>
      <p:bldP spid="524" grpId="4"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121" name="Title 3"/>
          <p:cNvSpPr txBox="1">
            <a:spLocks/>
          </p:cNvSpPr>
          <p:nvPr/>
        </p:nvSpPr>
        <p:spPr>
          <a:xfrm>
            <a:off x="1491513" y="1884178"/>
            <a:ext cx="2448451" cy="300135"/>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交付的价值</a:t>
            </a:r>
            <a:endParaRPr lang="en-GB" sz="24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cxnSp>
        <p:nvCxnSpPr>
          <p:cNvPr id="122" name="Straight Connector 121"/>
          <p:cNvCxnSpPr/>
          <p:nvPr/>
        </p:nvCxnSpPr>
        <p:spPr>
          <a:xfrm flipV="1">
            <a:off x="466515" y="1601410"/>
            <a:ext cx="1" cy="4266551"/>
          </a:xfrm>
          <a:prstGeom prst="line">
            <a:avLst/>
          </a:prstGeom>
          <a:ln w="38100" cap="flat">
            <a:solidFill>
              <a:schemeClr val="bg1"/>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49263" y="5850709"/>
            <a:ext cx="8231186" cy="0"/>
          </a:xfrm>
          <a:prstGeom prst="line">
            <a:avLst/>
          </a:prstGeom>
          <a:ln w="38100" cap="flat">
            <a:solidFill>
              <a:schemeClr val="bg1"/>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sp>
        <p:nvSpPr>
          <p:cNvPr id="124" name="Title 3"/>
          <p:cNvSpPr txBox="1">
            <a:spLocks/>
          </p:cNvSpPr>
          <p:nvPr/>
        </p:nvSpPr>
        <p:spPr>
          <a:xfrm>
            <a:off x="7655247" y="5991170"/>
            <a:ext cx="822777" cy="357465"/>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时间</a:t>
            </a:r>
            <a:endParaRPr lang="en-US" altLang="zh-CN"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grpSp>
        <p:nvGrpSpPr>
          <p:cNvPr id="125" name="Group 124"/>
          <p:cNvGrpSpPr/>
          <p:nvPr/>
        </p:nvGrpSpPr>
        <p:grpSpPr>
          <a:xfrm>
            <a:off x="1286933" y="1725589"/>
            <a:ext cx="7393515" cy="4176239"/>
            <a:chOff x="449263" y="1465942"/>
            <a:chExt cx="8231186" cy="4266551"/>
          </a:xfrm>
        </p:grpSpPr>
        <p:cxnSp>
          <p:nvCxnSpPr>
            <p:cNvPr id="126" name="Straight Connector 125"/>
            <p:cNvCxnSpPr/>
            <p:nvPr/>
          </p:nvCxnSpPr>
          <p:spPr>
            <a:xfrm flipV="1">
              <a:off x="466515" y="1465942"/>
              <a:ext cx="1" cy="4266551"/>
            </a:xfrm>
            <a:prstGeom prst="line">
              <a:avLst/>
            </a:prstGeom>
            <a:ln w="38100" cap="flat">
              <a:solidFill>
                <a:srgbClr val="00B0F0"/>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449263" y="5715241"/>
              <a:ext cx="8231186" cy="0"/>
            </a:xfrm>
            <a:prstGeom prst="line">
              <a:avLst/>
            </a:prstGeom>
            <a:ln w="38100" cap="flat">
              <a:solidFill>
                <a:srgbClr val="00B0F0"/>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cxnSp>
        <p:nvCxnSpPr>
          <p:cNvPr id="164" name="Straight Connector 163"/>
          <p:cNvCxnSpPr/>
          <p:nvPr/>
        </p:nvCxnSpPr>
        <p:spPr>
          <a:xfrm>
            <a:off x="1399061" y="5789640"/>
            <a:ext cx="6404603"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V="1">
            <a:off x="7791197" y="2609499"/>
            <a:ext cx="0" cy="3180141"/>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Title 3"/>
          <p:cNvSpPr txBox="1">
            <a:spLocks/>
          </p:cNvSpPr>
          <p:nvPr/>
        </p:nvSpPr>
        <p:spPr>
          <a:xfrm>
            <a:off x="4427986" y="2550837"/>
            <a:ext cx="3280114" cy="268464"/>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r"/>
            <a:r>
              <a:rPr lang="zh-CN" altLang="en-US" sz="24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乐观估</a:t>
            </a:r>
            <a:r>
              <a:rPr lang="zh-CN" altLang="en-US" sz="2400" b="1" dirty="0">
                <a:solidFill>
                  <a:schemeClr val="accent2"/>
                </a:solidFill>
                <a:latin typeface="SimSun" panose="02010600030101010101" pitchFamily="2" charset="-122"/>
                <a:ea typeface="SimSun" panose="02010600030101010101" pitchFamily="2" charset="-122"/>
                <a:cs typeface="MV Boli" panose="02000500030200090000" pitchFamily="2" charset="0"/>
              </a:rPr>
              <a:t>计</a:t>
            </a:r>
            <a:endParaRPr lang="en-GB" altLang="ja-JP" sz="24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sp>
        <p:nvSpPr>
          <p:cNvPr id="167" name="Title 3"/>
          <p:cNvSpPr txBox="1">
            <a:spLocks/>
          </p:cNvSpPr>
          <p:nvPr/>
        </p:nvSpPr>
        <p:spPr>
          <a:xfrm>
            <a:off x="5330111" y="4518389"/>
            <a:ext cx="2372231" cy="300135"/>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r"/>
            <a:r>
              <a:rPr lang="zh-CN" altLang="en-US" sz="24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悲观估计</a:t>
            </a:r>
            <a:endParaRPr lang="en-GB" sz="24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sp>
        <p:nvSpPr>
          <p:cNvPr id="168" name="Freeform 167"/>
          <p:cNvSpPr/>
          <p:nvPr/>
        </p:nvSpPr>
        <p:spPr>
          <a:xfrm>
            <a:off x="1388215" y="2137509"/>
            <a:ext cx="6648451" cy="3791362"/>
          </a:xfrm>
          <a:custGeom>
            <a:avLst/>
            <a:gdLst>
              <a:gd name="connsiteX0" fmla="*/ 0 w 8124825"/>
              <a:gd name="connsiteY0" fmla="*/ 0 h 4238625"/>
              <a:gd name="connsiteX1" fmla="*/ 0 w 8124825"/>
              <a:gd name="connsiteY1" fmla="*/ 4238625 h 4238625"/>
              <a:gd name="connsiteX2" fmla="*/ 8124825 w 8124825"/>
              <a:gd name="connsiteY2" fmla="*/ 4238625 h 4238625"/>
            </a:gdLst>
            <a:ahLst/>
            <a:cxnLst>
              <a:cxn ang="0">
                <a:pos x="connsiteX0" y="connsiteY0"/>
              </a:cxn>
              <a:cxn ang="0">
                <a:pos x="connsiteX1" y="connsiteY1"/>
              </a:cxn>
              <a:cxn ang="0">
                <a:pos x="connsiteX2" y="connsiteY2"/>
              </a:cxn>
            </a:cxnLst>
            <a:rect l="l" t="t" r="r" b="b"/>
            <a:pathLst>
              <a:path w="8124825" h="4238625">
                <a:moveTo>
                  <a:pt x="0" y="0"/>
                </a:moveTo>
                <a:lnTo>
                  <a:pt x="0" y="4238625"/>
                </a:lnTo>
                <a:lnTo>
                  <a:pt x="8124825" y="4238625"/>
                </a:lnTo>
              </a:path>
            </a:pathLst>
          </a:custGeom>
          <a:ln w="38100">
            <a:solidFill>
              <a:schemeClr val="bg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73" name="Rectangle 172"/>
          <p:cNvSpPr/>
          <p:nvPr/>
        </p:nvSpPr>
        <p:spPr>
          <a:xfrm>
            <a:off x="5330111" y="2184313"/>
            <a:ext cx="3358277" cy="2233933"/>
          </a:xfrm>
          <a:prstGeom prst="rect">
            <a:avLst/>
          </a:prstGeom>
          <a:solidFill>
            <a:schemeClr val="accent5">
              <a:alpha val="66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4" name="Title 3"/>
          <p:cNvSpPr txBox="1">
            <a:spLocks/>
          </p:cNvSpPr>
          <p:nvPr/>
        </p:nvSpPr>
        <p:spPr>
          <a:xfrm>
            <a:off x="729629" y="1312785"/>
            <a:ext cx="8232775" cy="462062"/>
          </a:xfrm>
          <a:prstGeom prst="rect">
            <a:avLst/>
          </a:prstGeom>
        </p:spPr>
        <p:txBody>
          <a:bodyPr vert="horz" lIns="0" tIns="45720" rIns="0" bIns="0" rtlCol="0" anchor="b" anchorCtr="0">
            <a:noAutofit/>
          </a:bodyPr>
          <a:lst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000" dirty="0">
                <a:solidFill>
                  <a:srgbClr val="000000"/>
                </a:solidFill>
                <a:latin typeface="SimSun" panose="02010600030101010101" pitchFamily="2" charset="-122"/>
                <a:ea typeface="SimSun" panose="02010600030101010101" pitchFamily="2" charset="-122"/>
              </a:rPr>
              <a:t>问题</a:t>
            </a:r>
            <a:r>
              <a:rPr lang="en-US" altLang="zh-CN" sz="2000" dirty="0">
                <a:solidFill>
                  <a:srgbClr val="000000"/>
                </a:solidFill>
                <a:latin typeface="SimSun" panose="02010600030101010101" pitchFamily="2" charset="-122"/>
                <a:ea typeface="SimSun" panose="02010600030101010101" pitchFamily="2" charset="-122"/>
              </a:rPr>
              <a:t>1</a:t>
            </a:r>
            <a:r>
              <a:rPr lang="zh-CN" altLang="en-US" sz="2000" dirty="0">
                <a:solidFill>
                  <a:srgbClr val="000000"/>
                </a:solidFill>
                <a:latin typeface="SimSun" panose="02010600030101010101" pitchFamily="2" charset="-122"/>
                <a:ea typeface="SimSun" panose="02010600030101010101" pitchFamily="2" charset="-122"/>
              </a:rPr>
              <a:t>：过长的交付周期</a:t>
            </a:r>
            <a:r>
              <a:rPr lang="zh-CN" altLang="en-US" sz="2000" dirty="0" smtClean="0">
                <a:solidFill>
                  <a:srgbClr val="000000"/>
                </a:solidFill>
                <a:latin typeface="SimSun" panose="02010600030101010101" pitchFamily="2" charset="-122"/>
                <a:ea typeface="SimSun" panose="02010600030101010101" pitchFamily="2" charset="-122"/>
              </a:rPr>
              <a:t>，很难预估最终</a:t>
            </a:r>
            <a:r>
              <a:rPr lang="zh-CN" altLang="en-US" sz="2000" dirty="0">
                <a:solidFill>
                  <a:srgbClr val="000000"/>
                </a:solidFill>
                <a:latin typeface="SimSun" panose="02010600030101010101" pitchFamily="2" charset="-122"/>
                <a:ea typeface="SimSun" panose="02010600030101010101" pitchFamily="2" charset="-122"/>
              </a:rPr>
              <a:t>的目标到底是什么</a:t>
            </a:r>
            <a:endParaRPr lang="en-US" sz="2000" dirty="0">
              <a:solidFill>
                <a:srgbClr val="000000"/>
              </a:solidFill>
              <a:latin typeface="SimSun" panose="02010600030101010101" pitchFamily="2" charset="-122"/>
              <a:ea typeface="SimSun" panose="02010600030101010101" pitchFamily="2" charset="-122"/>
            </a:endParaRPr>
          </a:p>
        </p:txBody>
      </p:sp>
      <p:sp>
        <p:nvSpPr>
          <p:cNvPr id="175" name="Rectangle 174"/>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2698740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250"/>
                                        <p:tgtEl>
                                          <p:spTgt spid="122"/>
                                        </p:tgtEl>
                                      </p:cBhvr>
                                    </p:animEffect>
                                  </p:childTnLst>
                                </p:cTn>
                              </p:par>
                              <p:par>
                                <p:cTn id="8" presetID="42" presetClass="path" presetSubtype="0" decel="100000" fill="hold" nodeType="withEffect">
                                  <p:stCondLst>
                                    <p:cond delay="0"/>
                                  </p:stCondLst>
                                  <p:childTnLst>
                                    <p:animMotion origin="layout" path="M -1.11111E-6 2.02715E-6 L -1.11111E-6 0.14378 " pathEditMode="relative" rAng="0" ptsTypes="AA">
                                      <p:cBhvr>
                                        <p:cTn id="9" dur="500" spd="-100000" fill="hold"/>
                                        <p:tgtEl>
                                          <p:spTgt spid="122"/>
                                        </p:tgtEl>
                                        <p:attrNameLst>
                                          <p:attrName>ppt_x</p:attrName>
                                          <p:attrName>ppt_y</p:attrName>
                                        </p:attrNameLst>
                                      </p:cBhvr>
                                      <p:rCtr x="0" y="7189"/>
                                    </p:animMotion>
                                  </p:childTnLst>
                                </p:cTn>
                              </p:par>
                              <p:par>
                                <p:cTn id="10" presetID="10" presetClass="exit" presetSubtype="0" fill="hold" nodeType="withEffect">
                                  <p:stCondLst>
                                    <p:cond delay="750"/>
                                  </p:stCondLst>
                                  <p:childTnLst>
                                    <p:animEffect transition="out" filter="fade">
                                      <p:cBhvr>
                                        <p:cTn id="11" dur="750"/>
                                        <p:tgtEl>
                                          <p:spTgt spid="122"/>
                                        </p:tgtEl>
                                      </p:cBhvr>
                                    </p:animEffect>
                                    <p:set>
                                      <p:cBhvr>
                                        <p:cTn id="12" dur="1" fill="hold">
                                          <p:stCondLst>
                                            <p:cond delay="749"/>
                                          </p:stCondLst>
                                        </p:cTn>
                                        <p:tgtEl>
                                          <p:spTgt spid="122"/>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23"/>
                                        </p:tgtEl>
                                        <p:attrNameLst>
                                          <p:attrName>style.visibility</p:attrName>
                                        </p:attrNameLst>
                                      </p:cBhvr>
                                      <p:to>
                                        <p:strVal val="visible"/>
                                      </p:to>
                                    </p:set>
                                    <p:animEffect transition="in" filter="fade">
                                      <p:cBhvr>
                                        <p:cTn id="15" dur="250"/>
                                        <p:tgtEl>
                                          <p:spTgt spid="123"/>
                                        </p:tgtEl>
                                      </p:cBhvr>
                                    </p:animEffect>
                                  </p:childTnLst>
                                </p:cTn>
                              </p:par>
                              <p:par>
                                <p:cTn id="16" presetID="63" presetClass="path" presetSubtype="0" decel="100000" fill="hold" nodeType="withEffect">
                                  <p:stCondLst>
                                    <p:cond delay="0"/>
                                  </p:stCondLst>
                                  <p:childTnLst>
                                    <p:animMotion origin="layout" path="M -0.08924 -4.47701E-6 L 4.16667E-6 -4.47701E-6 " pathEditMode="relative" rAng="0" ptsTypes="AA">
                                      <p:cBhvr>
                                        <p:cTn id="17" dur="500" fill="hold"/>
                                        <p:tgtEl>
                                          <p:spTgt spid="123"/>
                                        </p:tgtEl>
                                        <p:attrNameLst>
                                          <p:attrName>ppt_x</p:attrName>
                                          <p:attrName>ppt_y</p:attrName>
                                        </p:attrNameLst>
                                      </p:cBhvr>
                                      <p:rCtr x="4462" y="0"/>
                                    </p:animMotion>
                                  </p:childTnLst>
                                </p:cTn>
                              </p:par>
                              <p:par>
                                <p:cTn id="18" presetID="10" presetClass="exit" presetSubtype="0" fill="hold" nodeType="withEffect">
                                  <p:stCondLst>
                                    <p:cond delay="750"/>
                                  </p:stCondLst>
                                  <p:childTnLst>
                                    <p:animEffect transition="out" filter="fade">
                                      <p:cBhvr>
                                        <p:cTn id="19" dur="750"/>
                                        <p:tgtEl>
                                          <p:spTgt spid="123"/>
                                        </p:tgtEl>
                                      </p:cBhvr>
                                    </p:animEffect>
                                    <p:set>
                                      <p:cBhvr>
                                        <p:cTn id="20" dur="1" fill="hold">
                                          <p:stCondLst>
                                            <p:cond delay="749"/>
                                          </p:stCondLst>
                                        </p:cTn>
                                        <p:tgtEl>
                                          <p:spTgt spid="123"/>
                                        </p:tgtEl>
                                        <p:attrNameLst>
                                          <p:attrName>style.visibility</p:attrName>
                                        </p:attrNameLst>
                                      </p:cBhvr>
                                      <p:to>
                                        <p:strVal val="hidden"/>
                                      </p:to>
                                    </p:set>
                                  </p:childTnLst>
                                </p:cTn>
                              </p:par>
                              <p:par>
                                <p:cTn id="21" presetID="10" presetClass="entr" presetSubtype="0" fill="hold" nodeType="withEffect">
                                  <p:stCondLst>
                                    <p:cond delay="750"/>
                                  </p:stCondLst>
                                  <p:childTnLst>
                                    <p:set>
                                      <p:cBhvr>
                                        <p:cTn id="22" dur="1" fill="hold">
                                          <p:stCondLst>
                                            <p:cond delay="0"/>
                                          </p:stCondLst>
                                        </p:cTn>
                                        <p:tgtEl>
                                          <p:spTgt spid="125"/>
                                        </p:tgtEl>
                                        <p:attrNameLst>
                                          <p:attrName>style.visibility</p:attrName>
                                        </p:attrNameLst>
                                      </p:cBhvr>
                                      <p:to>
                                        <p:strVal val="visible"/>
                                      </p:to>
                                    </p:set>
                                    <p:animEffect transition="in" filter="fade">
                                      <p:cBhvr>
                                        <p:cTn id="23" dur="50"/>
                                        <p:tgtEl>
                                          <p:spTgt spid="125"/>
                                        </p:tgtEl>
                                      </p:cBhvr>
                                    </p:animEffect>
                                  </p:childTnLst>
                                </p:cTn>
                              </p:par>
                              <p:par>
                                <p:cTn id="24" presetID="53" presetClass="entr" presetSubtype="16" fill="hold" grpId="0" nodeType="withEffect">
                                  <p:stCondLst>
                                    <p:cond delay="250"/>
                                  </p:stCondLst>
                                  <p:childTnLst>
                                    <p:set>
                                      <p:cBhvr>
                                        <p:cTn id="25" dur="1" fill="hold">
                                          <p:stCondLst>
                                            <p:cond delay="0"/>
                                          </p:stCondLst>
                                        </p:cTn>
                                        <p:tgtEl>
                                          <p:spTgt spid="121"/>
                                        </p:tgtEl>
                                        <p:attrNameLst>
                                          <p:attrName>style.visibility</p:attrName>
                                        </p:attrNameLst>
                                      </p:cBhvr>
                                      <p:to>
                                        <p:strVal val="visible"/>
                                      </p:to>
                                    </p:set>
                                    <p:anim calcmode="lin" valueType="num">
                                      <p:cBhvr>
                                        <p:cTn id="26" dur="250" fill="hold"/>
                                        <p:tgtEl>
                                          <p:spTgt spid="121"/>
                                        </p:tgtEl>
                                        <p:attrNameLst>
                                          <p:attrName>ppt_w</p:attrName>
                                        </p:attrNameLst>
                                      </p:cBhvr>
                                      <p:tavLst>
                                        <p:tav tm="0">
                                          <p:val>
                                            <p:fltVal val="0"/>
                                          </p:val>
                                        </p:tav>
                                        <p:tav tm="100000">
                                          <p:val>
                                            <p:strVal val="#ppt_w"/>
                                          </p:val>
                                        </p:tav>
                                      </p:tavLst>
                                    </p:anim>
                                    <p:anim calcmode="lin" valueType="num">
                                      <p:cBhvr>
                                        <p:cTn id="27" dur="250" fill="hold"/>
                                        <p:tgtEl>
                                          <p:spTgt spid="121"/>
                                        </p:tgtEl>
                                        <p:attrNameLst>
                                          <p:attrName>ppt_h</p:attrName>
                                        </p:attrNameLst>
                                      </p:cBhvr>
                                      <p:tavLst>
                                        <p:tav tm="0">
                                          <p:val>
                                            <p:fltVal val="0"/>
                                          </p:val>
                                        </p:tav>
                                        <p:tav tm="100000">
                                          <p:val>
                                            <p:strVal val="#ppt_h"/>
                                          </p:val>
                                        </p:tav>
                                      </p:tavLst>
                                    </p:anim>
                                    <p:animEffect transition="in" filter="fade">
                                      <p:cBhvr>
                                        <p:cTn id="28" dur="250"/>
                                        <p:tgtEl>
                                          <p:spTgt spid="121"/>
                                        </p:tgtEl>
                                      </p:cBhvr>
                                    </p:animEffect>
                                  </p:childTnLst>
                                </p:cTn>
                              </p:par>
                              <p:par>
                                <p:cTn id="29" presetID="6" presetClass="emph" presetSubtype="0" autoRev="1" fill="hold" grpId="1" nodeType="withEffect">
                                  <p:stCondLst>
                                    <p:cond delay="500"/>
                                  </p:stCondLst>
                                  <p:childTnLst>
                                    <p:animScale>
                                      <p:cBhvr>
                                        <p:cTn id="30" dur="100" fill="hold"/>
                                        <p:tgtEl>
                                          <p:spTgt spid="121"/>
                                        </p:tgtEl>
                                      </p:cBhvr>
                                      <p:by x="110000" y="110000"/>
                                    </p:animScale>
                                  </p:childTnLst>
                                </p:cTn>
                              </p:par>
                              <p:par>
                                <p:cTn id="31" presetID="53" presetClass="entr" presetSubtype="16" fill="hold" grpId="0" nodeType="withEffect">
                                  <p:stCondLst>
                                    <p:cond delay="250"/>
                                  </p:stCondLst>
                                  <p:childTnLst>
                                    <p:set>
                                      <p:cBhvr>
                                        <p:cTn id="32" dur="1" fill="hold">
                                          <p:stCondLst>
                                            <p:cond delay="0"/>
                                          </p:stCondLst>
                                        </p:cTn>
                                        <p:tgtEl>
                                          <p:spTgt spid="124"/>
                                        </p:tgtEl>
                                        <p:attrNameLst>
                                          <p:attrName>style.visibility</p:attrName>
                                        </p:attrNameLst>
                                      </p:cBhvr>
                                      <p:to>
                                        <p:strVal val="visible"/>
                                      </p:to>
                                    </p:set>
                                    <p:anim calcmode="lin" valueType="num">
                                      <p:cBhvr>
                                        <p:cTn id="33" dur="250" fill="hold"/>
                                        <p:tgtEl>
                                          <p:spTgt spid="124"/>
                                        </p:tgtEl>
                                        <p:attrNameLst>
                                          <p:attrName>ppt_w</p:attrName>
                                        </p:attrNameLst>
                                      </p:cBhvr>
                                      <p:tavLst>
                                        <p:tav tm="0">
                                          <p:val>
                                            <p:fltVal val="0"/>
                                          </p:val>
                                        </p:tav>
                                        <p:tav tm="100000">
                                          <p:val>
                                            <p:strVal val="#ppt_w"/>
                                          </p:val>
                                        </p:tav>
                                      </p:tavLst>
                                    </p:anim>
                                    <p:anim calcmode="lin" valueType="num">
                                      <p:cBhvr>
                                        <p:cTn id="34" dur="250" fill="hold"/>
                                        <p:tgtEl>
                                          <p:spTgt spid="124"/>
                                        </p:tgtEl>
                                        <p:attrNameLst>
                                          <p:attrName>ppt_h</p:attrName>
                                        </p:attrNameLst>
                                      </p:cBhvr>
                                      <p:tavLst>
                                        <p:tav tm="0">
                                          <p:val>
                                            <p:fltVal val="0"/>
                                          </p:val>
                                        </p:tav>
                                        <p:tav tm="100000">
                                          <p:val>
                                            <p:strVal val="#ppt_h"/>
                                          </p:val>
                                        </p:tav>
                                      </p:tavLst>
                                    </p:anim>
                                    <p:animEffect transition="in" filter="fade">
                                      <p:cBhvr>
                                        <p:cTn id="35" dur="250"/>
                                        <p:tgtEl>
                                          <p:spTgt spid="124"/>
                                        </p:tgtEl>
                                      </p:cBhvr>
                                    </p:animEffect>
                                  </p:childTnLst>
                                </p:cTn>
                              </p:par>
                              <p:par>
                                <p:cTn id="36" presetID="6" presetClass="emph" presetSubtype="0" autoRev="1" fill="hold" grpId="1" nodeType="withEffect">
                                  <p:stCondLst>
                                    <p:cond delay="500"/>
                                  </p:stCondLst>
                                  <p:childTnLst>
                                    <p:animScale>
                                      <p:cBhvr>
                                        <p:cTn id="37" dur="100" fill="hold"/>
                                        <p:tgtEl>
                                          <p:spTgt spid="124"/>
                                        </p:tgtEl>
                                      </p:cBhvr>
                                      <p:by x="110000" y="110000"/>
                                    </p:animScale>
                                  </p:childTnLst>
                                </p:cTn>
                              </p:par>
                            </p:childTnLst>
                          </p:cTn>
                        </p:par>
                        <p:par>
                          <p:cTn id="38" fill="hold">
                            <p:stCondLst>
                              <p:cond delay="1500"/>
                            </p:stCondLst>
                            <p:childTnLst>
                              <p:par>
                                <p:cTn id="39" presetID="10" presetClass="entr" presetSubtype="0" fill="hold" grpId="0" nodeType="afterEffect">
                                  <p:stCondLst>
                                    <p:cond delay="0"/>
                                  </p:stCondLst>
                                  <p:childTnLst>
                                    <p:set>
                                      <p:cBhvr>
                                        <p:cTn id="40" dur="1" fill="hold">
                                          <p:stCondLst>
                                            <p:cond delay="0"/>
                                          </p:stCondLst>
                                        </p:cTn>
                                        <p:tgtEl>
                                          <p:spTgt spid="168"/>
                                        </p:tgtEl>
                                        <p:attrNameLst>
                                          <p:attrName>style.visibility</p:attrName>
                                        </p:attrNameLst>
                                      </p:cBhvr>
                                      <p:to>
                                        <p:strVal val="visible"/>
                                      </p:to>
                                    </p:set>
                                    <p:animEffect transition="in" filter="fade">
                                      <p:cBhvr>
                                        <p:cTn id="41" dur="100"/>
                                        <p:tgtEl>
                                          <p:spTgt spid="168"/>
                                        </p:tgtEl>
                                      </p:cBhvr>
                                    </p:animEffect>
                                  </p:childTnLst>
                                </p:cTn>
                              </p:par>
                              <p:par>
                                <p:cTn id="42" presetID="22" presetClass="entr" presetSubtype="8" fill="hold" nodeType="withEffect">
                                  <p:stCondLst>
                                    <p:cond delay="500"/>
                                  </p:stCondLst>
                                  <p:childTnLst>
                                    <p:set>
                                      <p:cBhvr>
                                        <p:cTn id="43" dur="1" fill="hold">
                                          <p:stCondLst>
                                            <p:cond delay="0"/>
                                          </p:stCondLst>
                                        </p:cTn>
                                        <p:tgtEl>
                                          <p:spTgt spid="164"/>
                                        </p:tgtEl>
                                        <p:attrNameLst>
                                          <p:attrName>style.visibility</p:attrName>
                                        </p:attrNameLst>
                                      </p:cBhvr>
                                      <p:to>
                                        <p:strVal val="visible"/>
                                      </p:to>
                                    </p:set>
                                    <p:animEffect transition="in" filter="wipe(left)">
                                      <p:cBhvr>
                                        <p:cTn id="44" dur="500"/>
                                        <p:tgtEl>
                                          <p:spTgt spid="164"/>
                                        </p:tgtEl>
                                      </p:cBhvr>
                                    </p:animEffect>
                                  </p:childTnLst>
                                </p:cTn>
                              </p:par>
                              <p:par>
                                <p:cTn id="45" presetID="22" presetClass="entr" presetSubtype="4" fill="hold" nodeType="withEffect">
                                  <p:stCondLst>
                                    <p:cond delay="1000"/>
                                  </p:stCondLst>
                                  <p:childTnLst>
                                    <p:set>
                                      <p:cBhvr>
                                        <p:cTn id="46" dur="1" fill="hold">
                                          <p:stCondLst>
                                            <p:cond delay="0"/>
                                          </p:stCondLst>
                                        </p:cTn>
                                        <p:tgtEl>
                                          <p:spTgt spid="165"/>
                                        </p:tgtEl>
                                        <p:attrNameLst>
                                          <p:attrName>style.visibility</p:attrName>
                                        </p:attrNameLst>
                                      </p:cBhvr>
                                      <p:to>
                                        <p:strVal val="visible"/>
                                      </p:to>
                                    </p:set>
                                    <p:animEffect transition="in" filter="wipe(down)">
                                      <p:cBhvr>
                                        <p:cTn id="47" dur="400"/>
                                        <p:tgtEl>
                                          <p:spTgt spid="165"/>
                                        </p:tgtEl>
                                      </p:cBhvr>
                                    </p:animEffect>
                                  </p:childTnLst>
                                </p:cTn>
                              </p:par>
                            </p:childTnLst>
                          </p:cTn>
                        </p:par>
                        <p:par>
                          <p:cTn id="48" fill="hold">
                            <p:stCondLst>
                              <p:cond delay="2900"/>
                            </p:stCondLst>
                            <p:childTnLst>
                              <p:par>
                                <p:cTn id="49" presetID="10" presetClass="entr" presetSubtype="0" fill="hold" grpId="0" nodeType="afterEffect">
                                  <p:stCondLst>
                                    <p:cond delay="0"/>
                                  </p:stCondLst>
                                  <p:childTnLst>
                                    <p:set>
                                      <p:cBhvr>
                                        <p:cTn id="50" dur="1" fill="hold">
                                          <p:stCondLst>
                                            <p:cond delay="0"/>
                                          </p:stCondLst>
                                        </p:cTn>
                                        <p:tgtEl>
                                          <p:spTgt spid="166"/>
                                        </p:tgtEl>
                                        <p:attrNameLst>
                                          <p:attrName>style.visibility</p:attrName>
                                        </p:attrNameLst>
                                      </p:cBhvr>
                                      <p:to>
                                        <p:strVal val="visible"/>
                                      </p:to>
                                    </p:set>
                                    <p:animEffect transition="in" filter="fade">
                                      <p:cBhvr>
                                        <p:cTn id="51" dur="500"/>
                                        <p:tgtEl>
                                          <p:spTgt spid="166"/>
                                        </p:tgtEl>
                                      </p:cBhvr>
                                    </p:animEffect>
                                  </p:childTnLst>
                                </p:cTn>
                              </p:par>
                              <p:par>
                                <p:cTn id="52" presetID="63" presetClass="path" presetSubtype="0" decel="100000" fill="hold" grpId="1" nodeType="withEffect">
                                  <p:stCondLst>
                                    <p:cond delay="0"/>
                                  </p:stCondLst>
                                  <p:childTnLst>
                                    <p:animMotion origin="layout" path="M -1.38889E-6 -4.47701E-6 L 0.08924 -4.47701E-6 " pathEditMode="relative" rAng="0" ptsTypes="AA">
                                      <p:cBhvr>
                                        <p:cTn id="53" dur="750" spd="-100000" fill="hold"/>
                                        <p:tgtEl>
                                          <p:spTgt spid="166"/>
                                        </p:tgtEl>
                                        <p:attrNameLst>
                                          <p:attrName>ppt_x</p:attrName>
                                          <p:attrName>ppt_y</p:attrName>
                                        </p:attrNameLst>
                                      </p:cBhvr>
                                      <p:rCtr x="4462" y="0"/>
                                    </p:animMotion>
                                  </p:childTnLst>
                                </p:cTn>
                              </p:par>
                            </p:childTnLst>
                          </p:cTn>
                        </p:par>
                        <p:par>
                          <p:cTn id="54" fill="hold">
                            <p:stCondLst>
                              <p:cond delay="3650"/>
                            </p:stCondLst>
                            <p:childTnLst>
                              <p:par>
                                <p:cTn id="55" presetID="22" presetClass="entr" presetSubtype="1" fill="hold" grpId="0" nodeType="afterEffect">
                                  <p:stCondLst>
                                    <p:cond delay="0"/>
                                  </p:stCondLst>
                                  <p:childTnLst>
                                    <p:set>
                                      <p:cBhvr>
                                        <p:cTn id="56" dur="1" fill="hold">
                                          <p:stCondLst>
                                            <p:cond delay="0"/>
                                          </p:stCondLst>
                                        </p:cTn>
                                        <p:tgtEl>
                                          <p:spTgt spid="173"/>
                                        </p:tgtEl>
                                        <p:attrNameLst>
                                          <p:attrName>style.visibility</p:attrName>
                                        </p:attrNameLst>
                                      </p:cBhvr>
                                      <p:to>
                                        <p:strVal val="visible"/>
                                      </p:to>
                                    </p:set>
                                    <p:animEffect transition="in" filter="wipe(up)">
                                      <p:cBhvr>
                                        <p:cTn id="57" dur="500"/>
                                        <p:tgtEl>
                                          <p:spTgt spid="173"/>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67"/>
                                        </p:tgtEl>
                                        <p:attrNameLst>
                                          <p:attrName>style.visibility</p:attrName>
                                        </p:attrNameLst>
                                      </p:cBhvr>
                                      <p:to>
                                        <p:strVal val="visible"/>
                                      </p:to>
                                    </p:set>
                                    <p:animEffect transition="in" filter="fade">
                                      <p:cBhvr>
                                        <p:cTn id="60" dur="500"/>
                                        <p:tgtEl>
                                          <p:spTgt spid="167"/>
                                        </p:tgtEl>
                                      </p:cBhvr>
                                    </p:animEffect>
                                  </p:childTnLst>
                                </p:cTn>
                              </p:par>
                              <p:par>
                                <p:cTn id="61" presetID="63" presetClass="path" presetSubtype="0" decel="100000" fill="hold" grpId="1" nodeType="withEffect">
                                  <p:stCondLst>
                                    <p:cond delay="500"/>
                                  </p:stCondLst>
                                  <p:childTnLst>
                                    <p:animMotion origin="layout" path="M -1.38889E-6 -4.47701E-6 L 0.08924 -4.47701E-6 " pathEditMode="relative" rAng="0" ptsTypes="AA">
                                      <p:cBhvr>
                                        <p:cTn id="62" dur="750" spd="-100000" fill="hold"/>
                                        <p:tgtEl>
                                          <p:spTgt spid="167"/>
                                        </p:tgtEl>
                                        <p:attrNameLst>
                                          <p:attrName>ppt_x</p:attrName>
                                          <p:attrName>ppt_y</p:attrName>
                                        </p:attrNameLst>
                                      </p:cBhvr>
                                      <p:rCtr x="446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124" grpId="0"/>
      <p:bldP spid="124" grpId="1"/>
      <p:bldP spid="166" grpId="0"/>
      <p:bldP spid="166" grpId="1"/>
      <p:bldP spid="167" grpId="0"/>
      <p:bldP spid="167" grpId="1"/>
      <p:bldP spid="168" grpId="0" animBg="1"/>
      <p:bldP spid="17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7" name="Group 376"/>
          <p:cNvGrpSpPr/>
          <p:nvPr/>
        </p:nvGrpSpPr>
        <p:grpSpPr>
          <a:xfrm>
            <a:off x="740149" y="2186573"/>
            <a:ext cx="2205396" cy="3680763"/>
            <a:chOff x="740149" y="1757591"/>
            <a:chExt cx="2205396" cy="3680763"/>
          </a:xfrm>
        </p:grpSpPr>
        <p:grpSp>
          <p:nvGrpSpPr>
            <p:cNvPr id="378" name="Group 377"/>
            <p:cNvGrpSpPr/>
            <p:nvPr/>
          </p:nvGrpSpPr>
          <p:grpSpPr>
            <a:xfrm>
              <a:off x="740149" y="1757591"/>
              <a:ext cx="2205396" cy="2400258"/>
              <a:chOff x="-8448306" y="2217632"/>
              <a:chExt cx="2205396" cy="2400258"/>
            </a:xfrm>
          </p:grpSpPr>
          <p:grpSp>
            <p:nvGrpSpPr>
              <p:cNvPr id="380" name="Group 379"/>
              <p:cNvGrpSpPr/>
              <p:nvPr/>
            </p:nvGrpSpPr>
            <p:grpSpPr>
              <a:xfrm>
                <a:off x="-8448306" y="2217632"/>
                <a:ext cx="468885" cy="2400258"/>
                <a:chOff x="657594" y="2217632"/>
                <a:chExt cx="468885" cy="2400258"/>
              </a:xfrm>
            </p:grpSpPr>
            <p:sp>
              <p:nvSpPr>
                <p:cNvPr id="396" name="Freeform 18"/>
                <p:cNvSpPr>
                  <a:spLocks noEditPoints="1"/>
                </p:cNvSpPr>
                <p:nvPr/>
              </p:nvSpPr>
              <p:spPr bwMode="auto">
                <a:xfrm>
                  <a:off x="657594"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7" name="Freeform 18"/>
                <p:cNvSpPr>
                  <a:spLocks noEditPoints="1"/>
                </p:cNvSpPr>
                <p:nvPr/>
              </p:nvSpPr>
              <p:spPr bwMode="auto">
                <a:xfrm>
                  <a:off x="657594"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8" name="Freeform 18"/>
                <p:cNvSpPr>
                  <a:spLocks noEditPoints="1"/>
                </p:cNvSpPr>
                <p:nvPr/>
              </p:nvSpPr>
              <p:spPr bwMode="auto">
                <a:xfrm>
                  <a:off x="657594"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9" name="Freeform 18"/>
                <p:cNvSpPr>
                  <a:spLocks noEditPoints="1"/>
                </p:cNvSpPr>
                <p:nvPr/>
              </p:nvSpPr>
              <p:spPr bwMode="auto">
                <a:xfrm>
                  <a:off x="657594"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381" name="Group 380"/>
              <p:cNvGrpSpPr/>
              <p:nvPr/>
            </p:nvGrpSpPr>
            <p:grpSpPr>
              <a:xfrm>
                <a:off x="-7869469" y="2217632"/>
                <a:ext cx="468885" cy="2400258"/>
                <a:chOff x="1189969" y="2217632"/>
                <a:chExt cx="468885" cy="2400258"/>
              </a:xfrm>
            </p:grpSpPr>
            <p:sp>
              <p:nvSpPr>
                <p:cNvPr id="392" name="Freeform 18"/>
                <p:cNvSpPr>
                  <a:spLocks noEditPoints="1"/>
                </p:cNvSpPr>
                <p:nvPr/>
              </p:nvSpPr>
              <p:spPr bwMode="auto">
                <a:xfrm>
                  <a:off x="1189969"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3" name="Freeform 18"/>
                <p:cNvSpPr>
                  <a:spLocks noEditPoints="1"/>
                </p:cNvSpPr>
                <p:nvPr/>
              </p:nvSpPr>
              <p:spPr bwMode="auto">
                <a:xfrm>
                  <a:off x="1189969"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4" name="Freeform 18"/>
                <p:cNvSpPr>
                  <a:spLocks noEditPoints="1"/>
                </p:cNvSpPr>
                <p:nvPr/>
              </p:nvSpPr>
              <p:spPr bwMode="auto">
                <a:xfrm>
                  <a:off x="1189969"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5" name="Freeform 18"/>
                <p:cNvSpPr>
                  <a:spLocks noEditPoints="1"/>
                </p:cNvSpPr>
                <p:nvPr/>
              </p:nvSpPr>
              <p:spPr bwMode="auto">
                <a:xfrm>
                  <a:off x="1189969"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382" name="Group 381"/>
              <p:cNvGrpSpPr/>
              <p:nvPr/>
            </p:nvGrpSpPr>
            <p:grpSpPr>
              <a:xfrm>
                <a:off x="-7290632" y="2217632"/>
                <a:ext cx="468885" cy="2400258"/>
                <a:chOff x="1722344" y="2217632"/>
                <a:chExt cx="468885" cy="2400258"/>
              </a:xfrm>
            </p:grpSpPr>
            <p:sp>
              <p:nvSpPr>
                <p:cNvPr id="388" name="Freeform 18"/>
                <p:cNvSpPr>
                  <a:spLocks noEditPoints="1"/>
                </p:cNvSpPr>
                <p:nvPr/>
              </p:nvSpPr>
              <p:spPr bwMode="auto">
                <a:xfrm>
                  <a:off x="1722344"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89" name="Freeform 18"/>
                <p:cNvSpPr>
                  <a:spLocks noEditPoints="1"/>
                </p:cNvSpPr>
                <p:nvPr/>
              </p:nvSpPr>
              <p:spPr bwMode="auto">
                <a:xfrm>
                  <a:off x="1722344"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0" name="Freeform 18"/>
                <p:cNvSpPr>
                  <a:spLocks noEditPoints="1"/>
                </p:cNvSpPr>
                <p:nvPr/>
              </p:nvSpPr>
              <p:spPr bwMode="auto">
                <a:xfrm>
                  <a:off x="1722344"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91" name="Freeform 18"/>
                <p:cNvSpPr>
                  <a:spLocks noEditPoints="1"/>
                </p:cNvSpPr>
                <p:nvPr/>
              </p:nvSpPr>
              <p:spPr bwMode="auto">
                <a:xfrm>
                  <a:off x="1722344"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383" name="Group 382"/>
              <p:cNvGrpSpPr/>
              <p:nvPr/>
            </p:nvGrpSpPr>
            <p:grpSpPr>
              <a:xfrm>
                <a:off x="-6711795" y="2217632"/>
                <a:ext cx="468885" cy="2400258"/>
                <a:chOff x="2394105" y="2217632"/>
                <a:chExt cx="468885" cy="2400258"/>
              </a:xfrm>
            </p:grpSpPr>
            <p:sp>
              <p:nvSpPr>
                <p:cNvPr id="384" name="Freeform 18"/>
                <p:cNvSpPr>
                  <a:spLocks noEditPoints="1"/>
                </p:cNvSpPr>
                <p:nvPr/>
              </p:nvSpPr>
              <p:spPr bwMode="auto">
                <a:xfrm>
                  <a:off x="2394105"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85" name="Freeform 18"/>
                <p:cNvSpPr>
                  <a:spLocks noEditPoints="1"/>
                </p:cNvSpPr>
                <p:nvPr/>
              </p:nvSpPr>
              <p:spPr bwMode="auto">
                <a:xfrm>
                  <a:off x="2394105"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86" name="Freeform 18"/>
                <p:cNvSpPr>
                  <a:spLocks noEditPoints="1"/>
                </p:cNvSpPr>
                <p:nvPr/>
              </p:nvSpPr>
              <p:spPr bwMode="auto">
                <a:xfrm>
                  <a:off x="2394105"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387" name="Freeform 18"/>
                <p:cNvSpPr>
                  <a:spLocks noEditPoints="1"/>
                </p:cNvSpPr>
                <p:nvPr/>
              </p:nvSpPr>
              <p:spPr bwMode="auto">
                <a:xfrm>
                  <a:off x="2394105"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sp>
          <p:nvSpPr>
            <p:cNvPr id="379" name="Title 3"/>
            <p:cNvSpPr txBox="1">
              <a:spLocks/>
            </p:cNvSpPr>
            <p:nvPr/>
          </p:nvSpPr>
          <p:spPr>
            <a:xfrm>
              <a:off x="1037324"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smtClean="0">
                  <a:latin typeface="SimSun" panose="02010600030101010101" pitchFamily="2" charset="-122"/>
                  <a:ea typeface="SimSun" panose="02010600030101010101" pitchFamily="2" charset="-122"/>
                  <a:cs typeface="MV Boli" panose="02000500030200090000" pitchFamily="2" charset="0"/>
                </a:rPr>
                <a:t>想法</a:t>
              </a:r>
              <a:endParaRPr lang="en-GB" sz="2800" b="1" dirty="0">
                <a:latin typeface="SimSun" panose="02010600030101010101" pitchFamily="2" charset="-122"/>
                <a:ea typeface="SimSun" panose="02010600030101010101" pitchFamily="2" charset="-122"/>
                <a:cs typeface="MV Boli" panose="02000500030200090000" pitchFamily="2" charset="0"/>
              </a:endParaRPr>
            </a:p>
          </p:txBody>
        </p:sp>
      </p:grpSp>
      <p:grpSp>
        <p:nvGrpSpPr>
          <p:cNvPr id="400" name="Group 399"/>
          <p:cNvGrpSpPr/>
          <p:nvPr/>
        </p:nvGrpSpPr>
        <p:grpSpPr>
          <a:xfrm>
            <a:off x="6555873" y="2185200"/>
            <a:ext cx="1843166" cy="3682136"/>
            <a:chOff x="6555873" y="1756218"/>
            <a:chExt cx="1843166" cy="3682136"/>
          </a:xfrm>
        </p:grpSpPr>
        <p:grpSp>
          <p:nvGrpSpPr>
            <p:cNvPr id="401" name="Group 400"/>
            <p:cNvGrpSpPr/>
            <p:nvPr/>
          </p:nvGrpSpPr>
          <p:grpSpPr>
            <a:xfrm>
              <a:off x="6555873" y="1756218"/>
              <a:ext cx="1843166" cy="2400258"/>
              <a:chOff x="-2535440" y="2217632"/>
              <a:chExt cx="1843166" cy="2400258"/>
            </a:xfrm>
          </p:grpSpPr>
          <p:grpSp>
            <p:nvGrpSpPr>
              <p:cNvPr id="403" name="Group 402"/>
              <p:cNvGrpSpPr/>
              <p:nvPr/>
            </p:nvGrpSpPr>
            <p:grpSpPr>
              <a:xfrm>
                <a:off x="-2535440" y="2217632"/>
                <a:ext cx="298604" cy="2400258"/>
                <a:chOff x="6682902" y="2217632"/>
                <a:chExt cx="298604" cy="2400258"/>
              </a:xfrm>
            </p:grpSpPr>
            <p:grpSp>
              <p:nvGrpSpPr>
                <p:cNvPr id="490" name="Group 489"/>
                <p:cNvGrpSpPr>
                  <a:grpSpLocks noChangeAspect="1"/>
                </p:cNvGrpSpPr>
                <p:nvPr/>
              </p:nvGrpSpPr>
              <p:grpSpPr bwMode="auto">
                <a:xfrm>
                  <a:off x="6682902" y="2217632"/>
                  <a:ext cx="298604" cy="481699"/>
                  <a:chOff x="6599" y="1623"/>
                  <a:chExt cx="486" cy="784"/>
                </a:xfrm>
                <a:solidFill>
                  <a:schemeClr val="accent4"/>
                </a:solidFill>
              </p:grpSpPr>
              <p:sp>
                <p:nvSpPr>
                  <p:cNvPr id="51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91" name="Group 490"/>
                <p:cNvGrpSpPr>
                  <a:grpSpLocks noChangeAspect="1"/>
                </p:cNvGrpSpPr>
                <p:nvPr/>
              </p:nvGrpSpPr>
              <p:grpSpPr bwMode="auto">
                <a:xfrm>
                  <a:off x="6682902" y="2857152"/>
                  <a:ext cx="298604" cy="481699"/>
                  <a:chOff x="6599" y="1623"/>
                  <a:chExt cx="486" cy="784"/>
                </a:xfrm>
                <a:solidFill>
                  <a:schemeClr val="accent4"/>
                </a:solidFill>
              </p:grpSpPr>
              <p:sp>
                <p:nvSpPr>
                  <p:cNvPr id="50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1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92" name="Group 491"/>
                <p:cNvGrpSpPr>
                  <a:grpSpLocks noChangeAspect="1"/>
                </p:cNvGrpSpPr>
                <p:nvPr/>
              </p:nvGrpSpPr>
              <p:grpSpPr bwMode="auto">
                <a:xfrm>
                  <a:off x="6682902" y="3496672"/>
                  <a:ext cx="298604" cy="481699"/>
                  <a:chOff x="6599" y="1623"/>
                  <a:chExt cx="486" cy="784"/>
                </a:xfrm>
                <a:solidFill>
                  <a:schemeClr val="accent4"/>
                </a:solidFill>
              </p:grpSpPr>
              <p:sp>
                <p:nvSpPr>
                  <p:cNvPr id="50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50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93" name="Group 492"/>
                <p:cNvGrpSpPr>
                  <a:grpSpLocks noChangeAspect="1"/>
                </p:cNvGrpSpPr>
                <p:nvPr/>
              </p:nvGrpSpPr>
              <p:grpSpPr bwMode="auto">
                <a:xfrm>
                  <a:off x="6682902" y="4136191"/>
                  <a:ext cx="298604" cy="481699"/>
                  <a:chOff x="6599" y="1623"/>
                  <a:chExt cx="486" cy="784"/>
                </a:xfrm>
                <a:solidFill>
                  <a:schemeClr val="accent4"/>
                </a:solidFill>
              </p:grpSpPr>
              <p:sp>
                <p:nvSpPr>
                  <p:cNvPr id="49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9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9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9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9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9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grpSp>
            <p:nvGrpSpPr>
              <p:cNvPr id="404" name="Group 403"/>
              <p:cNvGrpSpPr/>
              <p:nvPr/>
            </p:nvGrpSpPr>
            <p:grpSpPr>
              <a:xfrm>
                <a:off x="-2020586" y="2217632"/>
                <a:ext cx="298604" cy="2400258"/>
                <a:chOff x="7165987" y="2217632"/>
                <a:chExt cx="298604" cy="2400258"/>
              </a:xfrm>
            </p:grpSpPr>
            <p:grpSp>
              <p:nvGrpSpPr>
                <p:cNvPr id="462" name="Group 461"/>
                <p:cNvGrpSpPr>
                  <a:grpSpLocks noChangeAspect="1"/>
                </p:cNvGrpSpPr>
                <p:nvPr/>
              </p:nvGrpSpPr>
              <p:grpSpPr bwMode="auto">
                <a:xfrm>
                  <a:off x="7165987" y="2217632"/>
                  <a:ext cx="298604" cy="481699"/>
                  <a:chOff x="6599" y="1623"/>
                  <a:chExt cx="486" cy="784"/>
                </a:xfrm>
                <a:solidFill>
                  <a:schemeClr val="accent4"/>
                </a:solidFill>
              </p:grpSpPr>
              <p:sp>
                <p:nvSpPr>
                  <p:cNvPr id="48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63" name="Group 462"/>
                <p:cNvGrpSpPr>
                  <a:grpSpLocks noChangeAspect="1"/>
                </p:cNvGrpSpPr>
                <p:nvPr/>
              </p:nvGrpSpPr>
              <p:grpSpPr bwMode="auto">
                <a:xfrm>
                  <a:off x="7165987" y="2857152"/>
                  <a:ext cx="298604" cy="481699"/>
                  <a:chOff x="6599" y="1623"/>
                  <a:chExt cx="486" cy="784"/>
                </a:xfrm>
                <a:solidFill>
                  <a:schemeClr val="accent4"/>
                </a:solidFill>
              </p:grpSpPr>
              <p:sp>
                <p:nvSpPr>
                  <p:cNvPr id="47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8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64" name="Group 463"/>
                <p:cNvGrpSpPr>
                  <a:grpSpLocks noChangeAspect="1"/>
                </p:cNvGrpSpPr>
                <p:nvPr/>
              </p:nvGrpSpPr>
              <p:grpSpPr bwMode="auto">
                <a:xfrm>
                  <a:off x="7165987" y="3496672"/>
                  <a:ext cx="298604" cy="481699"/>
                  <a:chOff x="6599" y="1623"/>
                  <a:chExt cx="486" cy="784"/>
                </a:xfrm>
                <a:solidFill>
                  <a:schemeClr val="accent4"/>
                </a:solidFill>
              </p:grpSpPr>
              <p:sp>
                <p:nvSpPr>
                  <p:cNvPr id="47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65" name="Group 464"/>
                <p:cNvGrpSpPr>
                  <a:grpSpLocks noChangeAspect="1"/>
                </p:cNvGrpSpPr>
                <p:nvPr/>
              </p:nvGrpSpPr>
              <p:grpSpPr bwMode="auto">
                <a:xfrm>
                  <a:off x="7165987" y="4136191"/>
                  <a:ext cx="298604" cy="481699"/>
                  <a:chOff x="6599" y="1623"/>
                  <a:chExt cx="486" cy="784"/>
                </a:xfrm>
                <a:solidFill>
                  <a:schemeClr val="accent4"/>
                </a:solidFill>
              </p:grpSpPr>
              <p:sp>
                <p:nvSpPr>
                  <p:cNvPr id="46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6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6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6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7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grpSp>
            <p:nvGrpSpPr>
              <p:cNvPr id="405" name="Group 404"/>
              <p:cNvGrpSpPr/>
              <p:nvPr/>
            </p:nvGrpSpPr>
            <p:grpSpPr>
              <a:xfrm>
                <a:off x="-1505732" y="2217632"/>
                <a:ext cx="298604" cy="2400258"/>
                <a:chOff x="7649072" y="2217632"/>
                <a:chExt cx="298604" cy="2400258"/>
              </a:xfrm>
            </p:grpSpPr>
            <p:grpSp>
              <p:nvGrpSpPr>
                <p:cNvPr id="434" name="Group 433"/>
                <p:cNvGrpSpPr>
                  <a:grpSpLocks noChangeAspect="1"/>
                </p:cNvGrpSpPr>
                <p:nvPr/>
              </p:nvGrpSpPr>
              <p:grpSpPr bwMode="auto">
                <a:xfrm>
                  <a:off x="7649072" y="2217632"/>
                  <a:ext cx="298604" cy="481699"/>
                  <a:chOff x="6599" y="1623"/>
                  <a:chExt cx="486" cy="784"/>
                </a:xfrm>
                <a:solidFill>
                  <a:schemeClr val="accent4"/>
                </a:solidFill>
              </p:grpSpPr>
              <p:sp>
                <p:nvSpPr>
                  <p:cNvPr id="45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6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6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35" name="Group 434"/>
                <p:cNvGrpSpPr>
                  <a:grpSpLocks noChangeAspect="1"/>
                </p:cNvGrpSpPr>
                <p:nvPr/>
              </p:nvGrpSpPr>
              <p:grpSpPr bwMode="auto">
                <a:xfrm>
                  <a:off x="7649072" y="2857152"/>
                  <a:ext cx="298604" cy="481699"/>
                  <a:chOff x="6599" y="1623"/>
                  <a:chExt cx="486" cy="784"/>
                </a:xfrm>
                <a:solidFill>
                  <a:schemeClr val="accent4"/>
                </a:solidFill>
              </p:grpSpPr>
              <p:sp>
                <p:nvSpPr>
                  <p:cNvPr id="45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5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36" name="Group 435"/>
                <p:cNvGrpSpPr>
                  <a:grpSpLocks noChangeAspect="1"/>
                </p:cNvGrpSpPr>
                <p:nvPr/>
              </p:nvGrpSpPr>
              <p:grpSpPr bwMode="auto">
                <a:xfrm>
                  <a:off x="7649072" y="3496672"/>
                  <a:ext cx="298604" cy="481699"/>
                  <a:chOff x="6599" y="1623"/>
                  <a:chExt cx="486" cy="784"/>
                </a:xfrm>
                <a:solidFill>
                  <a:schemeClr val="accent4"/>
                </a:solidFill>
              </p:grpSpPr>
              <p:sp>
                <p:nvSpPr>
                  <p:cNvPr id="44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37" name="Group 436"/>
                <p:cNvGrpSpPr>
                  <a:grpSpLocks noChangeAspect="1"/>
                </p:cNvGrpSpPr>
                <p:nvPr/>
              </p:nvGrpSpPr>
              <p:grpSpPr bwMode="auto">
                <a:xfrm>
                  <a:off x="7649072" y="4136191"/>
                  <a:ext cx="298604" cy="481699"/>
                  <a:chOff x="6599" y="1623"/>
                  <a:chExt cx="486" cy="784"/>
                </a:xfrm>
                <a:solidFill>
                  <a:schemeClr val="accent4"/>
                </a:solidFill>
              </p:grpSpPr>
              <p:sp>
                <p:nvSpPr>
                  <p:cNvPr id="43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3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4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grpSp>
            <p:nvGrpSpPr>
              <p:cNvPr id="406" name="Group 405"/>
              <p:cNvGrpSpPr>
                <a:grpSpLocks noChangeAspect="1"/>
              </p:cNvGrpSpPr>
              <p:nvPr/>
            </p:nvGrpSpPr>
            <p:grpSpPr bwMode="auto">
              <a:xfrm>
                <a:off x="-990878" y="2217632"/>
                <a:ext cx="298604" cy="481699"/>
                <a:chOff x="6599" y="1623"/>
                <a:chExt cx="486" cy="784"/>
              </a:xfrm>
              <a:solidFill>
                <a:schemeClr val="accent4"/>
              </a:solidFill>
            </p:grpSpPr>
            <p:sp>
              <p:nvSpPr>
                <p:cNvPr id="42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3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3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3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3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07" name="Group 406"/>
              <p:cNvGrpSpPr>
                <a:grpSpLocks noChangeAspect="1"/>
              </p:cNvGrpSpPr>
              <p:nvPr/>
            </p:nvGrpSpPr>
            <p:grpSpPr bwMode="auto">
              <a:xfrm>
                <a:off x="-990878" y="2857152"/>
                <a:ext cx="298604" cy="481699"/>
                <a:chOff x="6599" y="1623"/>
                <a:chExt cx="486" cy="784"/>
              </a:xfrm>
              <a:solidFill>
                <a:schemeClr val="accent4"/>
              </a:solidFill>
            </p:grpSpPr>
            <p:sp>
              <p:nvSpPr>
                <p:cNvPr id="42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08" name="Group 407"/>
              <p:cNvGrpSpPr>
                <a:grpSpLocks noChangeAspect="1"/>
              </p:cNvGrpSpPr>
              <p:nvPr/>
            </p:nvGrpSpPr>
            <p:grpSpPr bwMode="auto">
              <a:xfrm>
                <a:off x="-990878" y="3496672"/>
                <a:ext cx="298604" cy="481699"/>
                <a:chOff x="6599" y="1623"/>
                <a:chExt cx="486" cy="784"/>
              </a:xfrm>
              <a:solidFill>
                <a:schemeClr val="accent4"/>
              </a:solidFill>
            </p:grpSpPr>
            <p:sp>
              <p:nvSpPr>
                <p:cNvPr id="41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2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nvGrpSpPr>
              <p:cNvPr id="409" name="Group 408"/>
              <p:cNvGrpSpPr>
                <a:grpSpLocks noChangeAspect="1"/>
              </p:cNvGrpSpPr>
              <p:nvPr/>
            </p:nvGrpSpPr>
            <p:grpSpPr bwMode="auto">
              <a:xfrm>
                <a:off x="-990878" y="4136191"/>
                <a:ext cx="298604" cy="481699"/>
                <a:chOff x="6599" y="1623"/>
                <a:chExt cx="486" cy="784"/>
              </a:xfrm>
              <a:solidFill>
                <a:schemeClr val="accent4"/>
              </a:solidFill>
            </p:grpSpPr>
            <p:sp>
              <p:nvSpPr>
                <p:cNvPr id="41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41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grpSp>
        <p:sp>
          <p:nvSpPr>
            <p:cNvPr id="402" name="Title 3"/>
            <p:cNvSpPr txBox="1">
              <a:spLocks/>
            </p:cNvSpPr>
            <p:nvPr/>
          </p:nvSpPr>
          <p:spPr>
            <a:xfrm>
              <a:off x="6710419"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smtClean="0">
                  <a:latin typeface="SimSun" panose="02010600030101010101" pitchFamily="2" charset="-122"/>
                  <a:ea typeface="SimSun" panose="02010600030101010101" pitchFamily="2" charset="-122"/>
                  <a:cs typeface="MV Boli" panose="02000500030200090000" pitchFamily="2" charset="0"/>
                </a:rPr>
                <a:t>价值</a:t>
              </a:r>
              <a:endParaRPr lang="en-GB" sz="2800" b="1" dirty="0">
                <a:latin typeface="SimSun" panose="02010600030101010101" pitchFamily="2" charset="-122"/>
                <a:ea typeface="SimSun" panose="02010600030101010101" pitchFamily="2" charset="-122"/>
                <a:cs typeface="MV Boli" panose="02000500030200090000" pitchFamily="2" charset="0"/>
              </a:endParaRPr>
            </a:p>
          </p:txBody>
        </p:sp>
      </p:grpSp>
      <p:sp>
        <p:nvSpPr>
          <p:cNvPr id="518" name="Title 3"/>
          <p:cNvSpPr txBox="1">
            <a:spLocks/>
          </p:cNvSpPr>
          <p:nvPr/>
        </p:nvSpPr>
        <p:spPr>
          <a:xfrm>
            <a:off x="2877840" y="3096558"/>
            <a:ext cx="3618797" cy="46333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发布</a:t>
            </a:r>
            <a:endParaRPr lang="en-GB" sz="32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cxnSp>
        <p:nvCxnSpPr>
          <p:cNvPr id="519" name="Straight Connector 518"/>
          <p:cNvCxnSpPr/>
          <p:nvPr/>
        </p:nvCxnSpPr>
        <p:spPr>
          <a:xfrm>
            <a:off x="3132000" y="3843651"/>
            <a:ext cx="2880000" cy="0"/>
          </a:xfrm>
          <a:prstGeom prst="line">
            <a:avLst/>
          </a:prstGeom>
          <a:ln w="28575">
            <a:solidFill>
              <a:schemeClr val="accent2"/>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a:off x="3271838" y="3843651"/>
            <a:ext cx="2628000" cy="0"/>
          </a:xfrm>
          <a:prstGeom prst="line">
            <a:avLst/>
          </a:prstGeom>
          <a:ln w="28575">
            <a:solidFill>
              <a:schemeClr val="accent2"/>
            </a:solidFill>
            <a:headEnd type="none" w="med" len="med"/>
            <a:tailEnd type="none" w="lg" len="lg"/>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6389374" y="3232190"/>
            <a:ext cx="1339990" cy="1170480"/>
            <a:chOff x="6785894" y="2241002"/>
            <a:chExt cx="1607975" cy="1404564"/>
          </a:xfrm>
        </p:grpSpPr>
        <p:sp>
          <p:nvSpPr>
            <p:cNvPr id="11" name="Freeform 10"/>
            <p:cNvSpPr/>
            <p:nvPr/>
          </p:nvSpPr>
          <p:spPr>
            <a:xfrm>
              <a:off x="6874669" y="2307431"/>
              <a:ext cx="1421606" cy="1252538"/>
            </a:xfrm>
            <a:custGeom>
              <a:avLst/>
              <a:gdLst>
                <a:gd name="connsiteX0" fmla="*/ 250031 w 1421606"/>
                <a:gd name="connsiteY0" fmla="*/ 554832 h 1252538"/>
                <a:gd name="connsiteX1" fmla="*/ 250031 w 1421606"/>
                <a:gd name="connsiteY1" fmla="*/ 554832 h 1252538"/>
                <a:gd name="connsiteX2" fmla="*/ 157162 w 1421606"/>
                <a:gd name="connsiteY2" fmla="*/ 180975 h 1252538"/>
                <a:gd name="connsiteX3" fmla="*/ 442912 w 1421606"/>
                <a:gd name="connsiteY3" fmla="*/ 297657 h 1252538"/>
                <a:gd name="connsiteX4" fmla="*/ 538162 w 1421606"/>
                <a:gd name="connsiteY4" fmla="*/ 83344 h 1252538"/>
                <a:gd name="connsiteX5" fmla="*/ 742950 w 1421606"/>
                <a:gd name="connsiteY5" fmla="*/ 204788 h 1252538"/>
                <a:gd name="connsiteX6" fmla="*/ 983456 w 1421606"/>
                <a:gd name="connsiteY6" fmla="*/ 0 h 1252538"/>
                <a:gd name="connsiteX7" fmla="*/ 1000125 w 1421606"/>
                <a:gd name="connsiteY7" fmla="*/ 309563 h 1252538"/>
                <a:gd name="connsiteX8" fmla="*/ 1421606 w 1421606"/>
                <a:gd name="connsiteY8" fmla="*/ 235744 h 1252538"/>
                <a:gd name="connsiteX9" fmla="*/ 1107281 w 1421606"/>
                <a:gd name="connsiteY9" fmla="*/ 519113 h 1252538"/>
                <a:gd name="connsiteX10" fmla="*/ 1259681 w 1421606"/>
                <a:gd name="connsiteY10" fmla="*/ 631032 h 1252538"/>
                <a:gd name="connsiteX11" fmla="*/ 1092994 w 1421606"/>
                <a:gd name="connsiteY11" fmla="*/ 747713 h 1252538"/>
                <a:gd name="connsiteX12" fmla="*/ 1221581 w 1421606"/>
                <a:gd name="connsiteY12" fmla="*/ 1007269 h 1252538"/>
                <a:gd name="connsiteX13" fmla="*/ 904875 w 1421606"/>
                <a:gd name="connsiteY13" fmla="*/ 904875 h 1252538"/>
                <a:gd name="connsiteX14" fmla="*/ 878681 w 1421606"/>
                <a:gd name="connsiteY14" fmla="*/ 1054894 h 1252538"/>
                <a:gd name="connsiteX15" fmla="*/ 785812 w 1421606"/>
                <a:gd name="connsiteY15" fmla="*/ 1007269 h 1252538"/>
                <a:gd name="connsiteX16" fmla="*/ 721519 w 1421606"/>
                <a:gd name="connsiteY16" fmla="*/ 1209675 h 1252538"/>
                <a:gd name="connsiteX17" fmla="*/ 592931 w 1421606"/>
                <a:gd name="connsiteY17" fmla="*/ 1047750 h 1252538"/>
                <a:gd name="connsiteX18" fmla="*/ 326231 w 1421606"/>
                <a:gd name="connsiteY18" fmla="*/ 1252538 h 1252538"/>
                <a:gd name="connsiteX19" fmla="*/ 328612 w 1421606"/>
                <a:gd name="connsiteY19" fmla="*/ 985838 h 1252538"/>
                <a:gd name="connsiteX20" fmla="*/ 0 w 1421606"/>
                <a:gd name="connsiteY20" fmla="*/ 969169 h 1252538"/>
                <a:gd name="connsiteX21" fmla="*/ 207169 w 1421606"/>
                <a:gd name="connsiteY21" fmla="*/ 745332 h 1252538"/>
                <a:gd name="connsiteX22" fmla="*/ 59531 w 1421606"/>
                <a:gd name="connsiteY22" fmla="*/ 640557 h 1252538"/>
                <a:gd name="connsiteX23" fmla="*/ 250031 w 1421606"/>
                <a:gd name="connsiteY23" fmla="*/ 554832 h 12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21606" h="1252538">
                  <a:moveTo>
                    <a:pt x="250031" y="554832"/>
                  </a:moveTo>
                  <a:lnTo>
                    <a:pt x="250031" y="554832"/>
                  </a:lnTo>
                  <a:lnTo>
                    <a:pt x="157162" y="180975"/>
                  </a:lnTo>
                  <a:lnTo>
                    <a:pt x="442912" y="297657"/>
                  </a:lnTo>
                  <a:lnTo>
                    <a:pt x="538162" y="83344"/>
                  </a:lnTo>
                  <a:lnTo>
                    <a:pt x="742950" y="204788"/>
                  </a:lnTo>
                  <a:lnTo>
                    <a:pt x="983456" y="0"/>
                  </a:lnTo>
                  <a:lnTo>
                    <a:pt x="1000125" y="309563"/>
                  </a:lnTo>
                  <a:lnTo>
                    <a:pt x="1421606" y="235744"/>
                  </a:lnTo>
                  <a:lnTo>
                    <a:pt x="1107281" y="519113"/>
                  </a:lnTo>
                  <a:lnTo>
                    <a:pt x="1259681" y="631032"/>
                  </a:lnTo>
                  <a:lnTo>
                    <a:pt x="1092994" y="747713"/>
                  </a:lnTo>
                  <a:lnTo>
                    <a:pt x="1221581" y="1007269"/>
                  </a:lnTo>
                  <a:lnTo>
                    <a:pt x="904875" y="904875"/>
                  </a:lnTo>
                  <a:lnTo>
                    <a:pt x="878681" y="1054894"/>
                  </a:lnTo>
                  <a:lnTo>
                    <a:pt x="785812" y="1007269"/>
                  </a:lnTo>
                  <a:lnTo>
                    <a:pt x="721519" y="1209675"/>
                  </a:lnTo>
                  <a:lnTo>
                    <a:pt x="592931" y="1047750"/>
                  </a:lnTo>
                  <a:lnTo>
                    <a:pt x="326231" y="1252538"/>
                  </a:lnTo>
                  <a:cubicBezTo>
                    <a:pt x="327025" y="1163638"/>
                    <a:pt x="327818" y="1074738"/>
                    <a:pt x="328612" y="985838"/>
                  </a:cubicBezTo>
                  <a:lnTo>
                    <a:pt x="0" y="969169"/>
                  </a:lnTo>
                  <a:lnTo>
                    <a:pt x="207169" y="745332"/>
                  </a:lnTo>
                  <a:lnTo>
                    <a:pt x="59531" y="640557"/>
                  </a:lnTo>
                  <a:lnTo>
                    <a:pt x="250031" y="554832"/>
                  </a:lnTo>
                  <a:close/>
                </a:path>
              </a:pathLst>
            </a:custGeom>
            <a:solidFill>
              <a:srgbClr val="FFFF00"/>
            </a:solid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5"/>
            <p:cNvGrpSpPr>
              <a:grpSpLocks noChangeAspect="1"/>
            </p:cNvGrpSpPr>
            <p:nvPr/>
          </p:nvGrpSpPr>
          <p:grpSpPr bwMode="auto">
            <a:xfrm>
              <a:off x="6785894" y="2241002"/>
              <a:ext cx="1607975" cy="1404564"/>
              <a:chOff x="2256" y="1614"/>
              <a:chExt cx="1249" cy="1091"/>
            </a:xfrm>
          </p:grpSpPr>
          <p:sp>
            <p:nvSpPr>
              <p:cNvPr id="9" name="Freeform 6"/>
              <p:cNvSpPr>
                <a:spLocks noEditPoints="1"/>
              </p:cNvSpPr>
              <p:nvPr/>
            </p:nvSpPr>
            <p:spPr bwMode="auto">
              <a:xfrm>
                <a:off x="2256" y="1614"/>
                <a:ext cx="1249" cy="1091"/>
              </a:xfrm>
              <a:custGeom>
                <a:avLst/>
                <a:gdLst>
                  <a:gd name="T0" fmla="*/ 124 w 529"/>
                  <a:gd name="T1" fmla="*/ 461 h 462"/>
                  <a:gd name="T2" fmla="*/ 122 w 529"/>
                  <a:gd name="T3" fmla="*/ 353 h 462"/>
                  <a:gd name="T4" fmla="*/ 2 w 529"/>
                  <a:gd name="T5" fmla="*/ 355 h 462"/>
                  <a:gd name="T6" fmla="*/ 75 w 529"/>
                  <a:gd name="T7" fmla="*/ 272 h 462"/>
                  <a:gd name="T8" fmla="*/ 21 w 529"/>
                  <a:gd name="T9" fmla="*/ 231 h 462"/>
                  <a:gd name="T10" fmla="*/ 95 w 529"/>
                  <a:gd name="T11" fmla="*/ 196 h 462"/>
                  <a:gd name="T12" fmla="*/ 73 w 529"/>
                  <a:gd name="T13" fmla="*/ 69 h 462"/>
                  <a:gd name="T14" fmla="*/ 167 w 529"/>
                  <a:gd name="T15" fmla="*/ 105 h 462"/>
                  <a:gd name="T16" fmla="*/ 197 w 529"/>
                  <a:gd name="T17" fmla="*/ 35 h 462"/>
                  <a:gd name="T18" fmla="*/ 268 w 529"/>
                  <a:gd name="T19" fmla="*/ 70 h 462"/>
                  <a:gd name="T20" fmla="*/ 361 w 529"/>
                  <a:gd name="T21" fmla="*/ 2 h 462"/>
                  <a:gd name="T22" fmla="*/ 371 w 529"/>
                  <a:gd name="T23" fmla="*/ 100 h 462"/>
                  <a:gd name="T24" fmla="*/ 527 w 529"/>
                  <a:gd name="T25" fmla="*/ 92 h 462"/>
                  <a:gd name="T26" fmla="*/ 413 w 529"/>
                  <a:gd name="T27" fmla="*/ 192 h 462"/>
                  <a:gd name="T28" fmla="*/ 465 w 529"/>
                  <a:gd name="T29" fmla="*/ 230 h 462"/>
                  <a:gd name="T30" fmla="*/ 400 w 529"/>
                  <a:gd name="T31" fmla="*/ 274 h 462"/>
                  <a:gd name="T32" fmla="*/ 444 w 529"/>
                  <a:gd name="T33" fmla="*/ 369 h 462"/>
                  <a:gd name="T34" fmla="*/ 341 w 529"/>
                  <a:gd name="T35" fmla="*/ 336 h 462"/>
                  <a:gd name="T36" fmla="*/ 328 w 529"/>
                  <a:gd name="T37" fmla="*/ 387 h 462"/>
                  <a:gd name="T38" fmla="*/ 294 w 529"/>
                  <a:gd name="T39" fmla="*/ 373 h 462"/>
                  <a:gd name="T40" fmla="*/ 272 w 529"/>
                  <a:gd name="T41" fmla="*/ 447 h 462"/>
                  <a:gd name="T42" fmla="*/ 221 w 529"/>
                  <a:gd name="T43" fmla="*/ 383 h 462"/>
                  <a:gd name="T44" fmla="*/ 130 w 529"/>
                  <a:gd name="T45" fmla="*/ 462 h 462"/>
                  <a:gd name="T46" fmla="*/ 147 w 529"/>
                  <a:gd name="T47" fmla="*/ 328 h 462"/>
                  <a:gd name="T48" fmla="*/ 147 w 529"/>
                  <a:gd name="T49" fmla="*/ 414 h 462"/>
                  <a:gd name="T50" fmla="*/ 226 w 529"/>
                  <a:gd name="T51" fmla="*/ 347 h 462"/>
                  <a:gd name="T52" fmla="*/ 262 w 529"/>
                  <a:gd name="T53" fmla="*/ 395 h 462"/>
                  <a:gd name="T54" fmla="*/ 278 w 529"/>
                  <a:gd name="T55" fmla="*/ 336 h 462"/>
                  <a:gd name="T56" fmla="*/ 311 w 529"/>
                  <a:gd name="T57" fmla="*/ 350 h 462"/>
                  <a:gd name="T58" fmla="*/ 324 w 529"/>
                  <a:gd name="T59" fmla="*/ 306 h 462"/>
                  <a:gd name="T60" fmla="*/ 369 w 529"/>
                  <a:gd name="T61" fmla="*/ 276 h 462"/>
                  <a:gd name="T62" fmla="*/ 374 w 529"/>
                  <a:gd name="T63" fmla="*/ 257 h 462"/>
                  <a:gd name="T64" fmla="*/ 381 w 529"/>
                  <a:gd name="T65" fmla="*/ 206 h 462"/>
                  <a:gd name="T66" fmla="*/ 379 w 529"/>
                  <a:gd name="T67" fmla="*/ 183 h 462"/>
                  <a:gd name="T68" fmla="*/ 358 w 529"/>
                  <a:gd name="T69" fmla="*/ 130 h 462"/>
                  <a:gd name="T70" fmla="*/ 343 w 529"/>
                  <a:gd name="T71" fmla="*/ 116 h 462"/>
                  <a:gd name="T72" fmla="*/ 279 w 529"/>
                  <a:gd name="T73" fmla="*/ 98 h 462"/>
                  <a:gd name="T74" fmla="*/ 210 w 529"/>
                  <a:gd name="T75" fmla="*/ 69 h 462"/>
                  <a:gd name="T76" fmla="*/ 180 w 529"/>
                  <a:gd name="T77" fmla="*/ 137 h 462"/>
                  <a:gd name="T78" fmla="*/ 102 w 529"/>
                  <a:gd name="T79" fmla="*/ 105 h 462"/>
                  <a:gd name="T80" fmla="*/ 117 w 529"/>
                  <a:gd name="T81" fmla="*/ 219 h 462"/>
                  <a:gd name="T82" fmla="*/ 106 w 529"/>
                  <a:gd name="T83" fmla="*/ 257 h 462"/>
                  <a:gd name="T84" fmla="*/ 108 w 529"/>
                  <a:gd name="T85" fmla="*/ 279 h 462"/>
                  <a:gd name="T86" fmla="*/ 136 w 529"/>
                  <a:gd name="T87" fmla="*/ 32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9" h="462">
                    <a:moveTo>
                      <a:pt x="130" y="462"/>
                    </a:moveTo>
                    <a:cubicBezTo>
                      <a:pt x="128" y="462"/>
                      <a:pt x="126" y="462"/>
                      <a:pt x="124" y="461"/>
                    </a:cubicBezTo>
                    <a:cubicBezTo>
                      <a:pt x="119" y="458"/>
                      <a:pt x="116" y="453"/>
                      <a:pt x="117" y="447"/>
                    </a:cubicBezTo>
                    <a:cubicBezTo>
                      <a:pt x="122" y="353"/>
                      <a:pt x="122" y="353"/>
                      <a:pt x="122" y="353"/>
                    </a:cubicBezTo>
                    <a:cubicBezTo>
                      <a:pt x="16" y="363"/>
                      <a:pt x="16" y="363"/>
                      <a:pt x="16" y="363"/>
                    </a:cubicBezTo>
                    <a:cubicBezTo>
                      <a:pt x="10" y="363"/>
                      <a:pt x="4" y="360"/>
                      <a:pt x="2" y="355"/>
                    </a:cubicBezTo>
                    <a:cubicBezTo>
                      <a:pt x="0" y="349"/>
                      <a:pt x="1" y="343"/>
                      <a:pt x="5" y="339"/>
                    </a:cubicBezTo>
                    <a:cubicBezTo>
                      <a:pt x="75" y="272"/>
                      <a:pt x="75" y="272"/>
                      <a:pt x="75" y="272"/>
                    </a:cubicBezTo>
                    <a:cubicBezTo>
                      <a:pt x="28" y="245"/>
                      <a:pt x="28" y="245"/>
                      <a:pt x="28" y="245"/>
                    </a:cubicBezTo>
                    <a:cubicBezTo>
                      <a:pt x="23" y="242"/>
                      <a:pt x="21" y="237"/>
                      <a:pt x="21" y="231"/>
                    </a:cubicBezTo>
                    <a:cubicBezTo>
                      <a:pt x="22" y="226"/>
                      <a:pt x="25" y="221"/>
                      <a:pt x="30" y="220"/>
                    </a:cubicBezTo>
                    <a:cubicBezTo>
                      <a:pt x="95" y="196"/>
                      <a:pt x="95" y="196"/>
                      <a:pt x="95" y="196"/>
                    </a:cubicBezTo>
                    <a:cubicBezTo>
                      <a:pt x="68" y="83"/>
                      <a:pt x="68" y="83"/>
                      <a:pt x="68" y="83"/>
                    </a:cubicBezTo>
                    <a:cubicBezTo>
                      <a:pt x="67" y="78"/>
                      <a:pt x="69" y="72"/>
                      <a:pt x="73" y="69"/>
                    </a:cubicBezTo>
                    <a:cubicBezTo>
                      <a:pt x="77" y="66"/>
                      <a:pt x="83" y="65"/>
                      <a:pt x="88" y="67"/>
                    </a:cubicBezTo>
                    <a:cubicBezTo>
                      <a:pt x="167" y="105"/>
                      <a:pt x="167" y="105"/>
                      <a:pt x="167" y="105"/>
                    </a:cubicBezTo>
                    <a:cubicBezTo>
                      <a:pt x="189" y="44"/>
                      <a:pt x="189" y="44"/>
                      <a:pt x="189" y="44"/>
                    </a:cubicBezTo>
                    <a:cubicBezTo>
                      <a:pt x="190" y="40"/>
                      <a:pt x="193" y="37"/>
                      <a:pt x="197" y="35"/>
                    </a:cubicBezTo>
                    <a:cubicBezTo>
                      <a:pt x="201" y="34"/>
                      <a:pt x="206" y="34"/>
                      <a:pt x="209" y="36"/>
                    </a:cubicBezTo>
                    <a:cubicBezTo>
                      <a:pt x="268" y="70"/>
                      <a:pt x="268" y="70"/>
                      <a:pt x="268" y="70"/>
                    </a:cubicBezTo>
                    <a:cubicBezTo>
                      <a:pt x="347" y="4"/>
                      <a:pt x="347" y="4"/>
                      <a:pt x="347" y="4"/>
                    </a:cubicBezTo>
                    <a:cubicBezTo>
                      <a:pt x="351" y="1"/>
                      <a:pt x="356" y="0"/>
                      <a:pt x="361" y="2"/>
                    </a:cubicBezTo>
                    <a:cubicBezTo>
                      <a:pt x="366" y="4"/>
                      <a:pt x="370" y="9"/>
                      <a:pt x="370" y="15"/>
                    </a:cubicBezTo>
                    <a:cubicBezTo>
                      <a:pt x="371" y="100"/>
                      <a:pt x="371" y="100"/>
                      <a:pt x="371" y="100"/>
                    </a:cubicBezTo>
                    <a:cubicBezTo>
                      <a:pt x="512" y="83"/>
                      <a:pt x="512" y="83"/>
                      <a:pt x="512" y="83"/>
                    </a:cubicBezTo>
                    <a:cubicBezTo>
                      <a:pt x="518" y="82"/>
                      <a:pt x="524" y="86"/>
                      <a:pt x="527" y="92"/>
                    </a:cubicBezTo>
                    <a:cubicBezTo>
                      <a:pt x="529" y="98"/>
                      <a:pt x="527" y="104"/>
                      <a:pt x="522" y="108"/>
                    </a:cubicBezTo>
                    <a:cubicBezTo>
                      <a:pt x="413" y="192"/>
                      <a:pt x="413" y="192"/>
                      <a:pt x="413" y="192"/>
                    </a:cubicBezTo>
                    <a:cubicBezTo>
                      <a:pt x="458" y="218"/>
                      <a:pt x="458" y="218"/>
                      <a:pt x="458" y="218"/>
                    </a:cubicBezTo>
                    <a:cubicBezTo>
                      <a:pt x="462" y="221"/>
                      <a:pt x="465" y="225"/>
                      <a:pt x="465" y="230"/>
                    </a:cubicBezTo>
                    <a:cubicBezTo>
                      <a:pt x="465" y="235"/>
                      <a:pt x="462" y="240"/>
                      <a:pt x="458" y="243"/>
                    </a:cubicBezTo>
                    <a:cubicBezTo>
                      <a:pt x="400" y="274"/>
                      <a:pt x="400" y="274"/>
                      <a:pt x="400" y="274"/>
                    </a:cubicBezTo>
                    <a:cubicBezTo>
                      <a:pt x="446" y="353"/>
                      <a:pt x="446" y="353"/>
                      <a:pt x="446" y="353"/>
                    </a:cubicBezTo>
                    <a:cubicBezTo>
                      <a:pt x="449" y="358"/>
                      <a:pt x="448" y="365"/>
                      <a:pt x="444" y="369"/>
                    </a:cubicBezTo>
                    <a:cubicBezTo>
                      <a:pt x="440" y="374"/>
                      <a:pt x="434" y="375"/>
                      <a:pt x="428" y="373"/>
                    </a:cubicBezTo>
                    <a:cubicBezTo>
                      <a:pt x="396" y="358"/>
                      <a:pt x="359" y="343"/>
                      <a:pt x="341" y="336"/>
                    </a:cubicBezTo>
                    <a:cubicBezTo>
                      <a:pt x="339" y="347"/>
                      <a:pt x="337" y="362"/>
                      <a:pt x="336" y="376"/>
                    </a:cubicBezTo>
                    <a:cubicBezTo>
                      <a:pt x="335" y="381"/>
                      <a:pt x="332" y="385"/>
                      <a:pt x="328" y="387"/>
                    </a:cubicBezTo>
                    <a:cubicBezTo>
                      <a:pt x="324" y="389"/>
                      <a:pt x="318" y="389"/>
                      <a:pt x="314" y="386"/>
                    </a:cubicBezTo>
                    <a:cubicBezTo>
                      <a:pt x="294" y="373"/>
                      <a:pt x="294" y="373"/>
                      <a:pt x="294" y="373"/>
                    </a:cubicBezTo>
                    <a:cubicBezTo>
                      <a:pt x="284" y="436"/>
                      <a:pt x="284" y="436"/>
                      <a:pt x="284" y="436"/>
                    </a:cubicBezTo>
                    <a:cubicBezTo>
                      <a:pt x="283" y="441"/>
                      <a:pt x="278" y="446"/>
                      <a:pt x="272" y="447"/>
                    </a:cubicBezTo>
                    <a:cubicBezTo>
                      <a:pt x="267" y="448"/>
                      <a:pt x="261" y="446"/>
                      <a:pt x="258" y="441"/>
                    </a:cubicBezTo>
                    <a:cubicBezTo>
                      <a:pt x="221" y="383"/>
                      <a:pt x="221" y="383"/>
                      <a:pt x="221" y="383"/>
                    </a:cubicBezTo>
                    <a:cubicBezTo>
                      <a:pt x="140" y="458"/>
                      <a:pt x="140" y="458"/>
                      <a:pt x="140" y="458"/>
                    </a:cubicBezTo>
                    <a:cubicBezTo>
                      <a:pt x="137" y="461"/>
                      <a:pt x="134" y="462"/>
                      <a:pt x="130" y="462"/>
                    </a:cubicBezTo>
                    <a:close/>
                    <a:moveTo>
                      <a:pt x="137" y="324"/>
                    </a:moveTo>
                    <a:cubicBezTo>
                      <a:pt x="141" y="324"/>
                      <a:pt x="145" y="325"/>
                      <a:pt x="147" y="328"/>
                    </a:cubicBezTo>
                    <a:cubicBezTo>
                      <a:pt x="150" y="331"/>
                      <a:pt x="152" y="335"/>
                      <a:pt x="151" y="339"/>
                    </a:cubicBezTo>
                    <a:cubicBezTo>
                      <a:pt x="147" y="414"/>
                      <a:pt x="147" y="414"/>
                      <a:pt x="147" y="414"/>
                    </a:cubicBezTo>
                    <a:cubicBezTo>
                      <a:pt x="214" y="351"/>
                      <a:pt x="214" y="351"/>
                      <a:pt x="214" y="351"/>
                    </a:cubicBezTo>
                    <a:cubicBezTo>
                      <a:pt x="218" y="348"/>
                      <a:pt x="222" y="347"/>
                      <a:pt x="226" y="347"/>
                    </a:cubicBezTo>
                    <a:cubicBezTo>
                      <a:pt x="230" y="348"/>
                      <a:pt x="234" y="350"/>
                      <a:pt x="236" y="354"/>
                    </a:cubicBezTo>
                    <a:cubicBezTo>
                      <a:pt x="262" y="395"/>
                      <a:pt x="262" y="395"/>
                      <a:pt x="262" y="395"/>
                    </a:cubicBezTo>
                    <a:cubicBezTo>
                      <a:pt x="270" y="347"/>
                      <a:pt x="270" y="347"/>
                      <a:pt x="270" y="347"/>
                    </a:cubicBezTo>
                    <a:cubicBezTo>
                      <a:pt x="271" y="342"/>
                      <a:pt x="274" y="338"/>
                      <a:pt x="278" y="336"/>
                    </a:cubicBezTo>
                    <a:cubicBezTo>
                      <a:pt x="283" y="334"/>
                      <a:pt x="288" y="335"/>
                      <a:pt x="292" y="337"/>
                    </a:cubicBezTo>
                    <a:cubicBezTo>
                      <a:pt x="311" y="350"/>
                      <a:pt x="311" y="350"/>
                      <a:pt x="311" y="350"/>
                    </a:cubicBezTo>
                    <a:cubicBezTo>
                      <a:pt x="313" y="335"/>
                      <a:pt x="315" y="319"/>
                      <a:pt x="316" y="315"/>
                    </a:cubicBezTo>
                    <a:cubicBezTo>
                      <a:pt x="317" y="311"/>
                      <a:pt x="320" y="308"/>
                      <a:pt x="324" y="306"/>
                    </a:cubicBezTo>
                    <a:cubicBezTo>
                      <a:pt x="329" y="304"/>
                      <a:pt x="335" y="302"/>
                      <a:pt x="400" y="330"/>
                    </a:cubicBezTo>
                    <a:cubicBezTo>
                      <a:pt x="369" y="276"/>
                      <a:pt x="369" y="276"/>
                      <a:pt x="369" y="276"/>
                    </a:cubicBezTo>
                    <a:cubicBezTo>
                      <a:pt x="367" y="273"/>
                      <a:pt x="366" y="269"/>
                      <a:pt x="367" y="265"/>
                    </a:cubicBezTo>
                    <a:cubicBezTo>
                      <a:pt x="368" y="261"/>
                      <a:pt x="371" y="258"/>
                      <a:pt x="374" y="257"/>
                    </a:cubicBezTo>
                    <a:cubicBezTo>
                      <a:pt x="422" y="230"/>
                      <a:pt x="422" y="230"/>
                      <a:pt x="422" y="230"/>
                    </a:cubicBezTo>
                    <a:cubicBezTo>
                      <a:pt x="381" y="206"/>
                      <a:pt x="381" y="206"/>
                      <a:pt x="381" y="206"/>
                    </a:cubicBezTo>
                    <a:cubicBezTo>
                      <a:pt x="377" y="204"/>
                      <a:pt x="374" y="199"/>
                      <a:pt x="374" y="195"/>
                    </a:cubicBezTo>
                    <a:cubicBezTo>
                      <a:pt x="373" y="190"/>
                      <a:pt x="375" y="186"/>
                      <a:pt x="379" y="183"/>
                    </a:cubicBezTo>
                    <a:cubicBezTo>
                      <a:pt x="465" y="117"/>
                      <a:pt x="465" y="117"/>
                      <a:pt x="465" y="117"/>
                    </a:cubicBezTo>
                    <a:cubicBezTo>
                      <a:pt x="358" y="130"/>
                      <a:pt x="358" y="130"/>
                      <a:pt x="358" y="130"/>
                    </a:cubicBezTo>
                    <a:cubicBezTo>
                      <a:pt x="354" y="130"/>
                      <a:pt x="350" y="129"/>
                      <a:pt x="348" y="127"/>
                    </a:cubicBezTo>
                    <a:cubicBezTo>
                      <a:pt x="345" y="124"/>
                      <a:pt x="343" y="120"/>
                      <a:pt x="343" y="116"/>
                    </a:cubicBezTo>
                    <a:cubicBezTo>
                      <a:pt x="342" y="45"/>
                      <a:pt x="342" y="45"/>
                      <a:pt x="342" y="45"/>
                    </a:cubicBezTo>
                    <a:cubicBezTo>
                      <a:pt x="279" y="98"/>
                      <a:pt x="279" y="98"/>
                      <a:pt x="279" y="98"/>
                    </a:cubicBezTo>
                    <a:cubicBezTo>
                      <a:pt x="274" y="102"/>
                      <a:pt x="268" y="102"/>
                      <a:pt x="263" y="99"/>
                    </a:cubicBezTo>
                    <a:cubicBezTo>
                      <a:pt x="210" y="69"/>
                      <a:pt x="210" y="69"/>
                      <a:pt x="210" y="69"/>
                    </a:cubicBezTo>
                    <a:cubicBezTo>
                      <a:pt x="188" y="129"/>
                      <a:pt x="188" y="129"/>
                      <a:pt x="188" y="129"/>
                    </a:cubicBezTo>
                    <a:cubicBezTo>
                      <a:pt x="186" y="133"/>
                      <a:pt x="183" y="136"/>
                      <a:pt x="180" y="137"/>
                    </a:cubicBezTo>
                    <a:cubicBezTo>
                      <a:pt x="176" y="139"/>
                      <a:pt x="172" y="138"/>
                      <a:pt x="169" y="137"/>
                    </a:cubicBezTo>
                    <a:cubicBezTo>
                      <a:pt x="102" y="105"/>
                      <a:pt x="102" y="105"/>
                      <a:pt x="102" y="105"/>
                    </a:cubicBezTo>
                    <a:cubicBezTo>
                      <a:pt x="125" y="202"/>
                      <a:pt x="125" y="202"/>
                      <a:pt x="125" y="202"/>
                    </a:cubicBezTo>
                    <a:cubicBezTo>
                      <a:pt x="127" y="209"/>
                      <a:pt x="123" y="216"/>
                      <a:pt x="117" y="219"/>
                    </a:cubicBezTo>
                    <a:cubicBezTo>
                      <a:pt x="68" y="236"/>
                      <a:pt x="68" y="236"/>
                      <a:pt x="68" y="236"/>
                    </a:cubicBezTo>
                    <a:cubicBezTo>
                      <a:pt x="106" y="257"/>
                      <a:pt x="106" y="257"/>
                      <a:pt x="106" y="257"/>
                    </a:cubicBezTo>
                    <a:cubicBezTo>
                      <a:pt x="109" y="259"/>
                      <a:pt x="112" y="263"/>
                      <a:pt x="113" y="268"/>
                    </a:cubicBezTo>
                    <a:cubicBezTo>
                      <a:pt x="113" y="272"/>
                      <a:pt x="112" y="276"/>
                      <a:pt x="108" y="279"/>
                    </a:cubicBezTo>
                    <a:cubicBezTo>
                      <a:pt x="54" y="331"/>
                      <a:pt x="54" y="331"/>
                      <a:pt x="54" y="331"/>
                    </a:cubicBezTo>
                    <a:cubicBezTo>
                      <a:pt x="136" y="324"/>
                      <a:pt x="136" y="324"/>
                      <a:pt x="136" y="324"/>
                    </a:cubicBezTo>
                    <a:cubicBezTo>
                      <a:pt x="137" y="324"/>
                      <a:pt x="137" y="324"/>
                      <a:pt x="137" y="32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p:nvSpPr>
            <p:spPr bwMode="auto">
              <a:xfrm>
                <a:off x="2584" y="1855"/>
                <a:ext cx="525" cy="556"/>
              </a:xfrm>
              <a:custGeom>
                <a:avLst/>
                <a:gdLst>
                  <a:gd name="T0" fmla="*/ 267 w 473"/>
                  <a:gd name="T1" fmla="*/ 88 h 501"/>
                  <a:gd name="T2" fmla="*/ 381 w 473"/>
                  <a:gd name="T3" fmla="*/ 0 h 501"/>
                  <a:gd name="T4" fmla="*/ 381 w 473"/>
                  <a:gd name="T5" fmla="*/ 139 h 501"/>
                  <a:gd name="T6" fmla="*/ 473 w 473"/>
                  <a:gd name="T7" fmla="*/ 118 h 501"/>
                  <a:gd name="T8" fmla="*/ 352 w 473"/>
                  <a:gd name="T9" fmla="*/ 246 h 501"/>
                  <a:gd name="T10" fmla="*/ 454 w 473"/>
                  <a:gd name="T11" fmla="*/ 385 h 501"/>
                  <a:gd name="T12" fmla="*/ 286 w 473"/>
                  <a:gd name="T13" fmla="*/ 347 h 501"/>
                  <a:gd name="T14" fmla="*/ 267 w 473"/>
                  <a:gd name="T15" fmla="*/ 501 h 501"/>
                  <a:gd name="T16" fmla="*/ 194 w 473"/>
                  <a:gd name="T17" fmla="*/ 399 h 501"/>
                  <a:gd name="T18" fmla="*/ 128 w 473"/>
                  <a:gd name="T19" fmla="*/ 451 h 501"/>
                  <a:gd name="T20" fmla="*/ 128 w 473"/>
                  <a:gd name="T21" fmla="*/ 392 h 501"/>
                  <a:gd name="T22" fmla="*/ 0 w 473"/>
                  <a:gd name="T23" fmla="*/ 387 h 501"/>
                  <a:gd name="T24" fmla="*/ 78 w 473"/>
                  <a:gd name="T25" fmla="*/ 302 h 501"/>
                  <a:gd name="T26" fmla="*/ 24 w 473"/>
                  <a:gd name="T27" fmla="*/ 272 h 501"/>
                  <a:gd name="T28" fmla="*/ 71 w 473"/>
                  <a:gd name="T29" fmla="*/ 220 h 501"/>
                  <a:gd name="T30" fmla="*/ 0 w 473"/>
                  <a:gd name="T31" fmla="*/ 132 h 501"/>
                  <a:gd name="T32" fmla="*/ 144 w 473"/>
                  <a:gd name="T33" fmla="*/ 132 h 501"/>
                  <a:gd name="T34" fmla="*/ 208 w 473"/>
                  <a:gd name="T35" fmla="*/ 0 h 501"/>
                  <a:gd name="T36" fmla="*/ 267 w 473"/>
                  <a:gd name="T37" fmla="*/ 8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01">
                    <a:moveTo>
                      <a:pt x="267" y="88"/>
                    </a:moveTo>
                    <a:lnTo>
                      <a:pt x="381" y="0"/>
                    </a:lnTo>
                    <a:lnTo>
                      <a:pt x="381" y="139"/>
                    </a:lnTo>
                    <a:lnTo>
                      <a:pt x="473" y="118"/>
                    </a:lnTo>
                    <a:lnTo>
                      <a:pt x="352" y="246"/>
                    </a:lnTo>
                    <a:lnTo>
                      <a:pt x="454" y="385"/>
                    </a:lnTo>
                    <a:lnTo>
                      <a:pt x="286" y="347"/>
                    </a:lnTo>
                    <a:lnTo>
                      <a:pt x="267" y="501"/>
                    </a:lnTo>
                    <a:lnTo>
                      <a:pt x="194" y="399"/>
                    </a:lnTo>
                    <a:lnTo>
                      <a:pt x="128" y="451"/>
                    </a:lnTo>
                    <a:lnTo>
                      <a:pt x="128" y="392"/>
                    </a:lnTo>
                    <a:lnTo>
                      <a:pt x="0" y="387"/>
                    </a:lnTo>
                    <a:lnTo>
                      <a:pt x="78" y="302"/>
                    </a:lnTo>
                    <a:lnTo>
                      <a:pt x="24" y="272"/>
                    </a:lnTo>
                    <a:lnTo>
                      <a:pt x="71" y="220"/>
                    </a:lnTo>
                    <a:lnTo>
                      <a:pt x="0" y="132"/>
                    </a:lnTo>
                    <a:lnTo>
                      <a:pt x="144" y="132"/>
                    </a:lnTo>
                    <a:lnTo>
                      <a:pt x="208" y="0"/>
                    </a:lnTo>
                    <a:lnTo>
                      <a:pt x="267" y="88"/>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6" name="Straight Connector 5"/>
          <p:cNvCxnSpPr/>
          <p:nvPr/>
        </p:nvCxnSpPr>
        <p:spPr>
          <a:xfrm>
            <a:off x="3686121" y="3843651"/>
            <a:ext cx="1987658" cy="0"/>
          </a:xfrm>
          <a:prstGeom prst="line">
            <a:avLst/>
          </a:prstGeom>
          <a:ln w="28575">
            <a:solidFill>
              <a:schemeClr val="accent2"/>
            </a:solidFill>
            <a:headEnd type="none" w="med" len="med"/>
            <a:tailEnd type="none" w="lg" len="lg"/>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2"/>
          </p:nvPr>
        </p:nvSpPr>
        <p:spPr/>
        <p:txBody>
          <a:bodyPr/>
          <a:lstStyle/>
          <a:p>
            <a:r>
              <a:rPr lang="en-US" dirty="0" smtClean="0">
                <a:solidFill>
                  <a:srgbClr val="FFFFFF"/>
                </a:solidFill>
              </a:rPr>
              <a:t>Copyright © 201</a:t>
            </a:r>
            <a:r>
              <a:rPr lang="en-US" altLang="zh-CN" dirty="0" smtClean="0">
                <a:solidFill>
                  <a:srgbClr val="FFFFFF"/>
                </a:solidFill>
              </a:rPr>
              <a:t>6</a:t>
            </a:r>
            <a:r>
              <a:rPr lang="en-US" dirty="0" smtClean="0">
                <a:solidFill>
                  <a:srgbClr val="FFFFFF"/>
                </a:solidFill>
              </a:rPr>
              <a:t> Accenture  All rights reserved.</a:t>
            </a:r>
            <a:endParaRPr lang="en-US" dirty="0">
              <a:solidFill>
                <a:srgbClr val="FFFFFF"/>
              </a:solidFill>
            </a:endParaRPr>
          </a:p>
        </p:txBody>
      </p:sp>
      <p:sp>
        <p:nvSpPr>
          <p:cNvPr id="155" name="Title 3"/>
          <p:cNvSpPr txBox="1">
            <a:spLocks/>
          </p:cNvSpPr>
          <p:nvPr/>
        </p:nvSpPr>
        <p:spPr>
          <a:xfrm>
            <a:off x="729629" y="1312785"/>
            <a:ext cx="8232775" cy="462062"/>
          </a:xfrm>
          <a:prstGeom prst="rect">
            <a:avLst/>
          </a:prstGeom>
        </p:spPr>
        <p:txBody>
          <a:bodyPr vert="horz" lIns="0" tIns="45720" rIns="0" bIns="0" rtlCol="0" anchor="b" anchorCtr="0">
            <a:noAutofit/>
          </a:bodyPr>
          <a:lst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000" dirty="0">
                <a:solidFill>
                  <a:srgbClr val="000000"/>
                </a:solidFill>
                <a:latin typeface="SimSun" panose="02010600030101010101" pitchFamily="2" charset="-122"/>
                <a:ea typeface="SimSun" panose="02010600030101010101" pitchFamily="2" charset="-122"/>
              </a:rPr>
              <a:t>问题</a:t>
            </a:r>
            <a:r>
              <a:rPr lang="en-US" altLang="zh-CN" sz="2000" dirty="0">
                <a:solidFill>
                  <a:srgbClr val="000000"/>
                </a:solidFill>
                <a:latin typeface="SimSun" panose="02010600030101010101" pitchFamily="2" charset="-122"/>
                <a:ea typeface="SimSun" panose="02010600030101010101" pitchFamily="2" charset="-122"/>
              </a:rPr>
              <a:t>2</a:t>
            </a:r>
            <a:r>
              <a:rPr lang="zh-CN" altLang="en-US" sz="2000" dirty="0">
                <a:solidFill>
                  <a:srgbClr val="000000"/>
                </a:solidFill>
                <a:latin typeface="SimSun" panose="02010600030101010101" pitchFamily="2" charset="-122"/>
                <a:ea typeface="SimSun" panose="02010600030101010101" pitchFamily="2" charset="-122"/>
              </a:rPr>
              <a:t>：交付中存在风险</a:t>
            </a:r>
            <a:endParaRPr lang="en-US" sz="2000" dirty="0">
              <a:solidFill>
                <a:srgbClr val="000000"/>
              </a:solidFill>
              <a:latin typeface="SimSun" panose="02010600030101010101" pitchFamily="2" charset="-122"/>
              <a:ea typeface="SimSun" panose="02010600030101010101" pitchFamily="2" charset="-122"/>
            </a:endParaRPr>
          </a:p>
        </p:txBody>
      </p:sp>
      <p:sp>
        <p:nvSpPr>
          <p:cNvPr id="156" name="Rectangle 155"/>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2443475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77333" fill="hold" nodeType="withEffect">
                                  <p:stCondLst>
                                    <p:cond delay="0"/>
                                  </p:stCondLst>
                                  <p:childTnLst>
                                    <p:animMotion origin="layout" path="M 0.00139 3.33333E-6 L 0.22778 3.33333E-6 " pathEditMode="relative" rAng="0" ptsTypes="AA">
                                      <p:cBhvr>
                                        <p:cTn id="6" dur="1000" fill="hold"/>
                                        <p:tgtEl>
                                          <p:spTgt spid="519"/>
                                        </p:tgtEl>
                                        <p:attrNameLst>
                                          <p:attrName>ppt_x</p:attrName>
                                          <p:attrName>ppt_y</p:attrName>
                                        </p:attrNameLst>
                                      </p:cBhvr>
                                      <p:rCtr x="11319" y="0"/>
                                    </p:animMotion>
                                  </p:childTnLst>
                                </p:cTn>
                              </p:par>
                              <p:par>
                                <p:cTn id="7" presetID="63" presetClass="path" presetSubtype="0" decel="77333" fill="hold" nodeType="withEffect">
                                  <p:stCondLst>
                                    <p:cond delay="0"/>
                                  </p:stCondLst>
                                  <p:childTnLst>
                                    <p:animMotion origin="layout" path="M -0.22118 3.33333E-6 L 1.11111E-6 3.33333E-6 " pathEditMode="relative" rAng="0" ptsTypes="AA">
                                      <p:cBhvr>
                                        <p:cTn id="8" dur="1000" spd="-100000" fill="hold"/>
                                        <p:tgtEl>
                                          <p:spTgt spid="520"/>
                                        </p:tgtEl>
                                        <p:attrNameLst>
                                          <p:attrName>ppt_x</p:attrName>
                                          <p:attrName>ppt_y</p:attrName>
                                        </p:attrNameLst>
                                      </p:cBhvr>
                                      <p:rCtr x="11059" y="0"/>
                                    </p:animMotion>
                                  </p:childTnLst>
                                </p:cTn>
                              </p:par>
                              <p:par>
                                <p:cTn id="9" presetID="63" presetClass="path" presetSubtype="0" accel="13333" decel="86667" fill="hold" nodeType="withEffect">
                                  <p:stCondLst>
                                    <p:cond delay="100"/>
                                  </p:stCondLst>
                                  <p:childTnLst>
                                    <p:animMotion origin="layout" path="M -0.20139 0 L 1.11111E-6 0 " pathEditMode="relative" rAng="0" ptsTypes="AA">
                                      <p:cBhvr>
                                        <p:cTn id="10" dur="1000" spd="-100000" fill="hold"/>
                                        <p:tgtEl>
                                          <p:spTgt spid="377"/>
                                        </p:tgtEl>
                                        <p:attrNameLst>
                                          <p:attrName>ppt_x</p:attrName>
                                          <p:attrName>ppt_y</p:attrName>
                                        </p:attrNameLst>
                                      </p:cBhvr>
                                      <p:rCtr x="10069" y="0"/>
                                    </p:animMotion>
                                  </p:childTnLst>
                                </p:cTn>
                              </p:par>
                              <p:par>
                                <p:cTn id="11" presetID="63" presetClass="path" presetSubtype="0" accel="10000" decel="90000" fill="hold" nodeType="withEffect">
                                  <p:stCondLst>
                                    <p:cond delay="100"/>
                                  </p:stCondLst>
                                  <p:childTnLst>
                                    <p:animMotion origin="layout" path="M 1.66667E-6 1.48148E-6 L 0.18229 1.48148E-6 " pathEditMode="relative" rAng="0" ptsTypes="AA">
                                      <p:cBhvr>
                                        <p:cTn id="12" dur="1000" fill="hold"/>
                                        <p:tgtEl>
                                          <p:spTgt spid="400"/>
                                        </p:tgtEl>
                                        <p:attrNameLst>
                                          <p:attrName>ppt_x</p:attrName>
                                          <p:attrName>ppt_y</p:attrName>
                                        </p:attrNameLst>
                                      </p:cBhvr>
                                      <p:rCtr x="9115" y="0"/>
                                    </p:animMotion>
                                  </p:childTnLst>
                                </p:cTn>
                              </p:par>
                              <p:par>
                                <p:cTn id="13" presetID="53" presetClass="entr" presetSubtype="16" fill="hold" nodeType="withEffect">
                                  <p:stCondLst>
                                    <p:cond delay="750"/>
                                  </p:stCondLst>
                                  <p:childTnLst>
                                    <p:set>
                                      <p:cBhvr>
                                        <p:cTn id="14" dur="1" fill="hold">
                                          <p:stCondLst>
                                            <p:cond delay="0"/>
                                          </p:stCondLst>
                                        </p:cTn>
                                        <p:tgtEl>
                                          <p:spTgt spid="12"/>
                                        </p:tgtEl>
                                        <p:attrNameLst>
                                          <p:attrName>style.visibility</p:attrName>
                                        </p:attrNameLst>
                                      </p:cBhvr>
                                      <p:to>
                                        <p:strVal val="visible"/>
                                      </p:to>
                                    </p:set>
                                    <p:anim calcmode="lin" valueType="num">
                                      <p:cBhvr>
                                        <p:cTn id="15" dur="300" fill="hold"/>
                                        <p:tgtEl>
                                          <p:spTgt spid="12"/>
                                        </p:tgtEl>
                                        <p:attrNameLst>
                                          <p:attrName>ppt_w</p:attrName>
                                        </p:attrNameLst>
                                      </p:cBhvr>
                                      <p:tavLst>
                                        <p:tav tm="0">
                                          <p:val>
                                            <p:fltVal val="0"/>
                                          </p:val>
                                        </p:tav>
                                        <p:tav tm="100000">
                                          <p:val>
                                            <p:strVal val="#ppt_w"/>
                                          </p:val>
                                        </p:tav>
                                      </p:tavLst>
                                    </p:anim>
                                    <p:anim calcmode="lin" valueType="num">
                                      <p:cBhvr>
                                        <p:cTn id="16" dur="300" fill="hold"/>
                                        <p:tgtEl>
                                          <p:spTgt spid="12"/>
                                        </p:tgtEl>
                                        <p:attrNameLst>
                                          <p:attrName>ppt_h</p:attrName>
                                        </p:attrNameLst>
                                      </p:cBhvr>
                                      <p:tavLst>
                                        <p:tav tm="0">
                                          <p:val>
                                            <p:fltVal val="0"/>
                                          </p:val>
                                        </p:tav>
                                        <p:tav tm="100000">
                                          <p:val>
                                            <p:strVal val="#ppt_h"/>
                                          </p:val>
                                        </p:tav>
                                      </p:tavLst>
                                    </p:anim>
                                    <p:animEffect transition="in" filter="fade">
                                      <p:cBhvr>
                                        <p:cTn id="17" dur="300"/>
                                        <p:tgtEl>
                                          <p:spTgt spid="12"/>
                                        </p:tgtEl>
                                      </p:cBhvr>
                                    </p:animEffect>
                                  </p:childTnLst>
                                </p:cTn>
                              </p:par>
                              <p:par>
                                <p:cTn id="18" presetID="6" presetClass="emph" presetSubtype="0" autoRev="1" fill="hold" nodeType="withEffect">
                                  <p:stCondLst>
                                    <p:cond delay="1000"/>
                                  </p:stCondLst>
                                  <p:childTnLst>
                                    <p:animScale>
                                      <p:cBhvr>
                                        <p:cTn id="19" dur="100" fill="hold"/>
                                        <p:tgtEl>
                                          <p:spTgt spid="12"/>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Group 220"/>
          <p:cNvGrpSpPr/>
          <p:nvPr/>
        </p:nvGrpSpPr>
        <p:grpSpPr>
          <a:xfrm>
            <a:off x="740149" y="2186573"/>
            <a:ext cx="2205396" cy="3680763"/>
            <a:chOff x="740149" y="1757591"/>
            <a:chExt cx="2205396" cy="3680763"/>
          </a:xfrm>
        </p:grpSpPr>
        <p:grpSp>
          <p:nvGrpSpPr>
            <p:cNvPr id="222" name="Group 221"/>
            <p:cNvGrpSpPr/>
            <p:nvPr/>
          </p:nvGrpSpPr>
          <p:grpSpPr>
            <a:xfrm>
              <a:off x="740149" y="1757591"/>
              <a:ext cx="2205396" cy="2400258"/>
              <a:chOff x="-8448306" y="2217632"/>
              <a:chExt cx="2205396" cy="2400258"/>
            </a:xfrm>
          </p:grpSpPr>
          <p:grpSp>
            <p:nvGrpSpPr>
              <p:cNvPr id="224" name="Group 223"/>
              <p:cNvGrpSpPr/>
              <p:nvPr/>
            </p:nvGrpSpPr>
            <p:grpSpPr>
              <a:xfrm>
                <a:off x="-8448306" y="2217632"/>
                <a:ext cx="468885" cy="2400258"/>
                <a:chOff x="657594" y="2217632"/>
                <a:chExt cx="468885" cy="2400258"/>
              </a:xfrm>
            </p:grpSpPr>
            <p:sp>
              <p:nvSpPr>
                <p:cNvPr id="240" name="Freeform 18"/>
                <p:cNvSpPr>
                  <a:spLocks noEditPoints="1"/>
                </p:cNvSpPr>
                <p:nvPr/>
              </p:nvSpPr>
              <p:spPr bwMode="auto">
                <a:xfrm>
                  <a:off x="657594"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41" name="Freeform 18"/>
                <p:cNvSpPr>
                  <a:spLocks noEditPoints="1"/>
                </p:cNvSpPr>
                <p:nvPr/>
              </p:nvSpPr>
              <p:spPr bwMode="auto">
                <a:xfrm>
                  <a:off x="657594"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42" name="Freeform 18"/>
                <p:cNvSpPr>
                  <a:spLocks noEditPoints="1"/>
                </p:cNvSpPr>
                <p:nvPr/>
              </p:nvSpPr>
              <p:spPr bwMode="auto">
                <a:xfrm>
                  <a:off x="657594"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43" name="Freeform 18"/>
                <p:cNvSpPr>
                  <a:spLocks noEditPoints="1"/>
                </p:cNvSpPr>
                <p:nvPr/>
              </p:nvSpPr>
              <p:spPr bwMode="auto">
                <a:xfrm>
                  <a:off x="657594"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225" name="Group 224"/>
              <p:cNvGrpSpPr/>
              <p:nvPr/>
            </p:nvGrpSpPr>
            <p:grpSpPr>
              <a:xfrm>
                <a:off x="-7869469" y="2217632"/>
                <a:ext cx="468885" cy="2400258"/>
                <a:chOff x="1189969" y="2217632"/>
                <a:chExt cx="468885" cy="2400258"/>
              </a:xfrm>
            </p:grpSpPr>
            <p:sp>
              <p:nvSpPr>
                <p:cNvPr id="236" name="Freeform 18"/>
                <p:cNvSpPr>
                  <a:spLocks noEditPoints="1"/>
                </p:cNvSpPr>
                <p:nvPr/>
              </p:nvSpPr>
              <p:spPr bwMode="auto">
                <a:xfrm>
                  <a:off x="1189969"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7" name="Freeform 18"/>
                <p:cNvSpPr>
                  <a:spLocks noEditPoints="1"/>
                </p:cNvSpPr>
                <p:nvPr/>
              </p:nvSpPr>
              <p:spPr bwMode="auto">
                <a:xfrm>
                  <a:off x="1189969"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8" name="Freeform 18"/>
                <p:cNvSpPr>
                  <a:spLocks noEditPoints="1"/>
                </p:cNvSpPr>
                <p:nvPr/>
              </p:nvSpPr>
              <p:spPr bwMode="auto">
                <a:xfrm>
                  <a:off x="1189969"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9" name="Freeform 18"/>
                <p:cNvSpPr>
                  <a:spLocks noEditPoints="1"/>
                </p:cNvSpPr>
                <p:nvPr/>
              </p:nvSpPr>
              <p:spPr bwMode="auto">
                <a:xfrm>
                  <a:off x="1189969"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226" name="Group 225"/>
              <p:cNvGrpSpPr/>
              <p:nvPr/>
            </p:nvGrpSpPr>
            <p:grpSpPr>
              <a:xfrm>
                <a:off x="-7290632" y="2217632"/>
                <a:ext cx="468885" cy="2400258"/>
                <a:chOff x="1722344" y="2217632"/>
                <a:chExt cx="468885" cy="2400258"/>
              </a:xfrm>
            </p:grpSpPr>
            <p:sp>
              <p:nvSpPr>
                <p:cNvPr id="232" name="Freeform 18"/>
                <p:cNvSpPr>
                  <a:spLocks noEditPoints="1"/>
                </p:cNvSpPr>
                <p:nvPr/>
              </p:nvSpPr>
              <p:spPr bwMode="auto">
                <a:xfrm>
                  <a:off x="1722344"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3" name="Freeform 18"/>
                <p:cNvSpPr>
                  <a:spLocks noEditPoints="1"/>
                </p:cNvSpPr>
                <p:nvPr/>
              </p:nvSpPr>
              <p:spPr bwMode="auto">
                <a:xfrm>
                  <a:off x="1722344"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4" name="Freeform 18"/>
                <p:cNvSpPr>
                  <a:spLocks noEditPoints="1"/>
                </p:cNvSpPr>
                <p:nvPr/>
              </p:nvSpPr>
              <p:spPr bwMode="auto">
                <a:xfrm>
                  <a:off x="1722344"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5" name="Freeform 18"/>
                <p:cNvSpPr>
                  <a:spLocks noEditPoints="1"/>
                </p:cNvSpPr>
                <p:nvPr/>
              </p:nvSpPr>
              <p:spPr bwMode="auto">
                <a:xfrm>
                  <a:off x="1722344"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227" name="Group 226"/>
              <p:cNvGrpSpPr/>
              <p:nvPr/>
            </p:nvGrpSpPr>
            <p:grpSpPr>
              <a:xfrm>
                <a:off x="-6711795" y="2217632"/>
                <a:ext cx="468885" cy="2400258"/>
                <a:chOff x="2394105" y="2217632"/>
                <a:chExt cx="468885" cy="2400258"/>
              </a:xfrm>
            </p:grpSpPr>
            <p:sp>
              <p:nvSpPr>
                <p:cNvPr id="228" name="Freeform 18"/>
                <p:cNvSpPr>
                  <a:spLocks noEditPoints="1"/>
                </p:cNvSpPr>
                <p:nvPr/>
              </p:nvSpPr>
              <p:spPr bwMode="auto">
                <a:xfrm>
                  <a:off x="2394105" y="221763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29" name="Freeform 18"/>
                <p:cNvSpPr>
                  <a:spLocks noEditPoints="1"/>
                </p:cNvSpPr>
                <p:nvPr/>
              </p:nvSpPr>
              <p:spPr bwMode="auto">
                <a:xfrm>
                  <a:off x="2394105" y="284695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0" name="Freeform 18"/>
                <p:cNvSpPr>
                  <a:spLocks noEditPoints="1"/>
                </p:cNvSpPr>
                <p:nvPr/>
              </p:nvSpPr>
              <p:spPr bwMode="auto">
                <a:xfrm>
                  <a:off x="2394105" y="3476282"/>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231" name="Freeform 18"/>
                <p:cNvSpPr>
                  <a:spLocks noEditPoints="1"/>
                </p:cNvSpPr>
                <p:nvPr/>
              </p:nvSpPr>
              <p:spPr bwMode="auto">
                <a:xfrm>
                  <a:off x="2394105" y="4105607"/>
                  <a:ext cx="468885" cy="512283"/>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grpSp>
        <p:sp>
          <p:nvSpPr>
            <p:cNvPr id="223" name="Title 3"/>
            <p:cNvSpPr txBox="1">
              <a:spLocks/>
            </p:cNvSpPr>
            <p:nvPr/>
          </p:nvSpPr>
          <p:spPr>
            <a:xfrm>
              <a:off x="1037324"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a:latin typeface="SimSun" panose="02010600030101010101" pitchFamily="2" charset="-122"/>
                  <a:ea typeface="SimSun" panose="02010600030101010101" pitchFamily="2" charset="-122"/>
                  <a:cs typeface="MV Boli" panose="02000500030200090000" pitchFamily="2" charset="0"/>
                </a:rPr>
                <a:t>想法</a:t>
              </a:r>
              <a:endParaRPr lang="en-GB" altLang="ja-JP" sz="2800" b="1" dirty="0">
                <a:latin typeface="SimSun" panose="02010600030101010101" pitchFamily="2" charset="-122"/>
                <a:ea typeface="SimSun" panose="02010600030101010101" pitchFamily="2" charset="-122"/>
                <a:cs typeface="MV Boli" panose="02000500030200090000" pitchFamily="2" charset="0"/>
              </a:endParaRPr>
            </a:p>
          </p:txBody>
        </p:sp>
      </p:grpSp>
      <p:grpSp>
        <p:nvGrpSpPr>
          <p:cNvPr id="244" name="Group 243"/>
          <p:cNvGrpSpPr/>
          <p:nvPr/>
        </p:nvGrpSpPr>
        <p:grpSpPr>
          <a:xfrm>
            <a:off x="6555873" y="2185200"/>
            <a:ext cx="1843166" cy="3682136"/>
            <a:chOff x="6555873" y="1756218"/>
            <a:chExt cx="1843166" cy="3682136"/>
          </a:xfrm>
        </p:grpSpPr>
        <p:grpSp>
          <p:nvGrpSpPr>
            <p:cNvPr id="245" name="Group 244"/>
            <p:cNvGrpSpPr/>
            <p:nvPr/>
          </p:nvGrpSpPr>
          <p:grpSpPr>
            <a:xfrm>
              <a:off x="6555873" y="1756218"/>
              <a:ext cx="1843166" cy="2400258"/>
              <a:chOff x="-2535440" y="2217632"/>
              <a:chExt cx="1843166" cy="2400258"/>
            </a:xfrm>
          </p:grpSpPr>
          <p:grpSp>
            <p:nvGrpSpPr>
              <p:cNvPr id="247" name="Group 246"/>
              <p:cNvGrpSpPr/>
              <p:nvPr/>
            </p:nvGrpSpPr>
            <p:grpSpPr>
              <a:xfrm>
                <a:off x="-2535440" y="2217632"/>
                <a:ext cx="298604" cy="2400258"/>
                <a:chOff x="6682902" y="2217632"/>
                <a:chExt cx="298604" cy="2400258"/>
              </a:xfrm>
            </p:grpSpPr>
            <p:grpSp>
              <p:nvGrpSpPr>
                <p:cNvPr id="334" name="Group 333"/>
                <p:cNvGrpSpPr>
                  <a:grpSpLocks noChangeAspect="1"/>
                </p:cNvGrpSpPr>
                <p:nvPr/>
              </p:nvGrpSpPr>
              <p:grpSpPr bwMode="auto">
                <a:xfrm>
                  <a:off x="6682902" y="2217632"/>
                  <a:ext cx="298604" cy="481699"/>
                  <a:chOff x="6599" y="1623"/>
                  <a:chExt cx="486" cy="784"/>
                </a:xfrm>
                <a:solidFill>
                  <a:schemeClr val="accent4"/>
                </a:solidFill>
              </p:grpSpPr>
              <p:sp>
                <p:nvSpPr>
                  <p:cNvPr id="35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35" name="Group 334"/>
                <p:cNvGrpSpPr>
                  <a:grpSpLocks noChangeAspect="1"/>
                </p:cNvGrpSpPr>
                <p:nvPr/>
              </p:nvGrpSpPr>
              <p:grpSpPr bwMode="auto">
                <a:xfrm>
                  <a:off x="6682902" y="2857152"/>
                  <a:ext cx="298604" cy="481699"/>
                  <a:chOff x="6599" y="1623"/>
                  <a:chExt cx="486" cy="784"/>
                </a:xfrm>
                <a:solidFill>
                  <a:schemeClr val="accent4"/>
                </a:solidFill>
              </p:grpSpPr>
              <p:sp>
                <p:nvSpPr>
                  <p:cNvPr id="35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36" name="Group 335"/>
                <p:cNvGrpSpPr>
                  <a:grpSpLocks noChangeAspect="1"/>
                </p:cNvGrpSpPr>
                <p:nvPr/>
              </p:nvGrpSpPr>
              <p:grpSpPr bwMode="auto">
                <a:xfrm>
                  <a:off x="6682902" y="3496672"/>
                  <a:ext cx="298604" cy="481699"/>
                  <a:chOff x="6599" y="1623"/>
                  <a:chExt cx="486" cy="784"/>
                </a:xfrm>
                <a:solidFill>
                  <a:schemeClr val="accent4"/>
                </a:solidFill>
              </p:grpSpPr>
              <p:sp>
                <p:nvSpPr>
                  <p:cNvPr id="34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37" name="Group 336"/>
                <p:cNvGrpSpPr>
                  <a:grpSpLocks noChangeAspect="1"/>
                </p:cNvGrpSpPr>
                <p:nvPr/>
              </p:nvGrpSpPr>
              <p:grpSpPr bwMode="auto">
                <a:xfrm>
                  <a:off x="6682902" y="4136191"/>
                  <a:ext cx="298604" cy="481699"/>
                  <a:chOff x="6599" y="1623"/>
                  <a:chExt cx="486" cy="784"/>
                </a:xfrm>
                <a:solidFill>
                  <a:schemeClr val="accent4"/>
                </a:solidFill>
              </p:grpSpPr>
              <p:sp>
                <p:nvSpPr>
                  <p:cNvPr id="33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grpSp>
            <p:nvGrpSpPr>
              <p:cNvPr id="248" name="Group 247"/>
              <p:cNvGrpSpPr/>
              <p:nvPr/>
            </p:nvGrpSpPr>
            <p:grpSpPr>
              <a:xfrm>
                <a:off x="-2020586" y="2217632"/>
                <a:ext cx="298604" cy="2400258"/>
                <a:chOff x="7165987" y="2217632"/>
                <a:chExt cx="298604" cy="2400258"/>
              </a:xfrm>
            </p:grpSpPr>
            <p:grpSp>
              <p:nvGrpSpPr>
                <p:cNvPr id="306" name="Group 305"/>
                <p:cNvGrpSpPr>
                  <a:grpSpLocks noChangeAspect="1"/>
                </p:cNvGrpSpPr>
                <p:nvPr/>
              </p:nvGrpSpPr>
              <p:grpSpPr bwMode="auto">
                <a:xfrm>
                  <a:off x="7165987" y="2217632"/>
                  <a:ext cx="298604" cy="481699"/>
                  <a:chOff x="6599" y="1623"/>
                  <a:chExt cx="486" cy="784"/>
                </a:xfrm>
                <a:solidFill>
                  <a:schemeClr val="accent4"/>
                </a:solidFill>
              </p:grpSpPr>
              <p:sp>
                <p:nvSpPr>
                  <p:cNvPr id="32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07" name="Group 306"/>
                <p:cNvGrpSpPr>
                  <a:grpSpLocks noChangeAspect="1"/>
                </p:cNvGrpSpPr>
                <p:nvPr/>
              </p:nvGrpSpPr>
              <p:grpSpPr bwMode="auto">
                <a:xfrm>
                  <a:off x="7165987" y="2857152"/>
                  <a:ext cx="298604" cy="481699"/>
                  <a:chOff x="6599" y="1623"/>
                  <a:chExt cx="486" cy="784"/>
                </a:xfrm>
                <a:solidFill>
                  <a:schemeClr val="accent4"/>
                </a:solidFill>
              </p:grpSpPr>
              <p:sp>
                <p:nvSpPr>
                  <p:cNvPr id="32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08" name="Group 307"/>
                <p:cNvGrpSpPr>
                  <a:grpSpLocks noChangeAspect="1"/>
                </p:cNvGrpSpPr>
                <p:nvPr/>
              </p:nvGrpSpPr>
              <p:grpSpPr bwMode="auto">
                <a:xfrm>
                  <a:off x="7165987" y="3496672"/>
                  <a:ext cx="298604" cy="481699"/>
                  <a:chOff x="6599" y="1623"/>
                  <a:chExt cx="486" cy="784"/>
                </a:xfrm>
                <a:solidFill>
                  <a:schemeClr val="accent4"/>
                </a:solidFill>
              </p:grpSpPr>
              <p:sp>
                <p:nvSpPr>
                  <p:cNvPr id="31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09" name="Group 308"/>
                <p:cNvGrpSpPr>
                  <a:grpSpLocks noChangeAspect="1"/>
                </p:cNvGrpSpPr>
                <p:nvPr/>
              </p:nvGrpSpPr>
              <p:grpSpPr bwMode="auto">
                <a:xfrm>
                  <a:off x="7165987" y="4136191"/>
                  <a:ext cx="298604" cy="481699"/>
                  <a:chOff x="6599" y="1623"/>
                  <a:chExt cx="486" cy="784"/>
                </a:xfrm>
                <a:solidFill>
                  <a:schemeClr val="accent4"/>
                </a:solidFill>
              </p:grpSpPr>
              <p:sp>
                <p:nvSpPr>
                  <p:cNvPr id="31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grpSp>
            <p:nvGrpSpPr>
              <p:cNvPr id="249" name="Group 248"/>
              <p:cNvGrpSpPr/>
              <p:nvPr/>
            </p:nvGrpSpPr>
            <p:grpSpPr>
              <a:xfrm>
                <a:off x="-1505732" y="2217632"/>
                <a:ext cx="298604" cy="2400258"/>
                <a:chOff x="7649072" y="2217632"/>
                <a:chExt cx="298604" cy="2400258"/>
              </a:xfrm>
            </p:grpSpPr>
            <p:grpSp>
              <p:nvGrpSpPr>
                <p:cNvPr id="278" name="Group 277"/>
                <p:cNvGrpSpPr>
                  <a:grpSpLocks noChangeAspect="1"/>
                </p:cNvGrpSpPr>
                <p:nvPr/>
              </p:nvGrpSpPr>
              <p:grpSpPr bwMode="auto">
                <a:xfrm>
                  <a:off x="7649072" y="2217632"/>
                  <a:ext cx="298604" cy="481699"/>
                  <a:chOff x="6599" y="1623"/>
                  <a:chExt cx="486" cy="784"/>
                </a:xfrm>
                <a:solidFill>
                  <a:schemeClr val="accent4"/>
                </a:solidFill>
              </p:grpSpPr>
              <p:sp>
                <p:nvSpPr>
                  <p:cNvPr id="30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79" name="Group 278"/>
                <p:cNvGrpSpPr>
                  <a:grpSpLocks noChangeAspect="1"/>
                </p:cNvGrpSpPr>
                <p:nvPr/>
              </p:nvGrpSpPr>
              <p:grpSpPr bwMode="auto">
                <a:xfrm>
                  <a:off x="7649072" y="2857152"/>
                  <a:ext cx="298604" cy="481699"/>
                  <a:chOff x="6599" y="1623"/>
                  <a:chExt cx="486" cy="784"/>
                </a:xfrm>
                <a:solidFill>
                  <a:schemeClr val="accent4"/>
                </a:solidFill>
              </p:grpSpPr>
              <p:sp>
                <p:nvSpPr>
                  <p:cNvPr id="29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80" name="Group 279"/>
                <p:cNvGrpSpPr>
                  <a:grpSpLocks noChangeAspect="1"/>
                </p:cNvGrpSpPr>
                <p:nvPr/>
              </p:nvGrpSpPr>
              <p:grpSpPr bwMode="auto">
                <a:xfrm>
                  <a:off x="7649072" y="3496672"/>
                  <a:ext cx="298604" cy="481699"/>
                  <a:chOff x="6599" y="1623"/>
                  <a:chExt cx="486" cy="784"/>
                </a:xfrm>
                <a:solidFill>
                  <a:schemeClr val="accent4"/>
                </a:solidFill>
              </p:grpSpPr>
              <p:sp>
                <p:nvSpPr>
                  <p:cNvPr id="288"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89"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0"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1"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2"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93"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81" name="Group 280"/>
                <p:cNvGrpSpPr>
                  <a:grpSpLocks noChangeAspect="1"/>
                </p:cNvGrpSpPr>
                <p:nvPr/>
              </p:nvGrpSpPr>
              <p:grpSpPr bwMode="auto">
                <a:xfrm>
                  <a:off x="7649072" y="4136191"/>
                  <a:ext cx="298604" cy="481699"/>
                  <a:chOff x="6599" y="1623"/>
                  <a:chExt cx="486" cy="784"/>
                </a:xfrm>
                <a:solidFill>
                  <a:schemeClr val="accent4"/>
                </a:solidFill>
              </p:grpSpPr>
              <p:sp>
                <p:nvSpPr>
                  <p:cNvPr id="28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8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8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8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8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8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grpSp>
            <p:nvGrpSpPr>
              <p:cNvPr id="250" name="Group 249"/>
              <p:cNvGrpSpPr>
                <a:grpSpLocks noChangeAspect="1"/>
              </p:cNvGrpSpPr>
              <p:nvPr/>
            </p:nvGrpSpPr>
            <p:grpSpPr bwMode="auto">
              <a:xfrm>
                <a:off x="-990878" y="2217632"/>
                <a:ext cx="298604" cy="481699"/>
                <a:chOff x="6599" y="1623"/>
                <a:chExt cx="486" cy="784"/>
              </a:xfrm>
              <a:solidFill>
                <a:schemeClr val="accent4"/>
              </a:solidFill>
            </p:grpSpPr>
            <p:sp>
              <p:nvSpPr>
                <p:cNvPr id="27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51" name="Group 250"/>
              <p:cNvGrpSpPr>
                <a:grpSpLocks noChangeAspect="1"/>
              </p:cNvGrpSpPr>
              <p:nvPr/>
            </p:nvGrpSpPr>
            <p:grpSpPr bwMode="auto">
              <a:xfrm>
                <a:off x="-990878" y="2857152"/>
                <a:ext cx="298604" cy="481699"/>
                <a:chOff x="6599" y="1623"/>
                <a:chExt cx="486" cy="784"/>
              </a:xfrm>
              <a:solidFill>
                <a:schemeClr val="accent4"/>
              </a:solidFill>
            </p:grpSpPr>
            <p:sp>
              <p:nvSpPr>
                <p:cNvPr id="26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7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52" name="Group 251"/>
              <p:cNvGrpSpPr>
                <a:grpSpLocks noChangeAspect="1"/>
              </p:cNvGrpSpPr>
              <p:nvPr/>
            </p:nvGrpSpPr>
            <p:grpSpPr bwMode="auto">
              <a:xfrm>
                <a:off x="-990878" y="3496672"/>
                <a:ext cx="298604" cy="481699"/>
                <a:chOff x="6599" y="1623"/>
                <a:chExt cx="486" cy="784"/>
              </a:xfrm>
              <a:solidFill>
                <a:schemeClr val="accent4"/>
              </a:solidFill>
            </p:grpSpPr>
            <p:sp>
              <p:nvSpPr>
                <p:cNvPr id="26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6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253" name="Group 252"/>
              <p:cNvGrpSpPr>
                <a:grpSpLocks noChangeAspect="1"/>
              </p:cNvGrpSpPr>
              <p:nvPr/>
            </p:nvGrpSpPr>
            <p:grpSpPr bwMode="auto">
              <a:xfrm>
                <a:off x="-990878" y="4136191"/>
                <a:ext cx="298604" cy="481699"/>
                <a:chOff x="6599" y="1623"/>
                <a:chExt cx="486" cy="784"/>
              </a:xfrm>
              <a:solidFill>
                <a:schemeClr val="accent4"/>
              </a:solidFill>
            </p:grpSpPr>
            <p:sp>
              <p:nvSpPr>
                <p:cNvPr id="254"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55"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56"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57"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58"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259"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sp>
          <p:nvSpPr>
            <p:cNvPr id="246" name="Title 3"/>
            <p:cNvSpPr txBox="1">
              <a:spLocks/>
            </p:cNvSpPr>
            <p:nvPr/>
          </p:nvSpPr>
          <p:spPr>
            <a:xfrm>
              <a:off x="6710419"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2800" b="1" dirty="0">
                  <a:solidFill>
                    <a:schemeClr val="accent2"/>
                  </a:solidFill>
                  <a:latin typeface="SimSun" panose="02010600030101010101" pitchFamily="2" charset="-122"/>
                  <a:ea typeface="SimSun" panose="02010600030101010101" pitchFamily="2" charset="-122"/>
                  <a:cs typeface="MV Boli" panose="02000500030200090000" pitchFamily="2" charset="0"/>
                </a:rPr>
                <a:t>很多</a:t>
              </a:r>
              <a:r>
                <a:rPr lang="zh-CN" altLang="en-US" sz="2800" b="1" dirty="0">
                  <a:latin typeface="SimSun" panose="02010600030101010101" pitchFamily="2" charset="-122"/>
                  <a:ea typeface="SimSun" panose="02010600030101010101" pitchFamily="2" charset="-122"/>
                  <a:cs typeface="MV Boli" panose="02000500030200090000" pitchFamily="2" charset="0"/>
                </a:rPr>
                <a:t>价值</a:t>
              </a:r>
              <a:endParaRPr lang="en-GB" altLang="ja-JP" sz="2800" b="1" dirty="0">
                <a:latin typeface="SimSun" panose="02010600030101010101" pitchFamily="2" charset="-122"/>
                <a:ea typeface="SimSun" panose="02010600030101010101" pitchFamily="2" charset="-122"/>
                <a:cs typeface="MV Boli" panose="02000500030200090000" pitchFamily="2" charset="0"/>
              </a:endParaRPr>
            </a:p>
          </p:txBody>
        </p:sp>
      </p:grpSp>
      <p:sp>
        <p:nvSpPr>
          <p:cNvPr id="362" name="Title 3"/>
          <p:cNvSpPr txBox="1">
            <a:spLocks/>
          </p:cNvSpPr>
          <p:nvPr/>
        </p:nvSpPr>
        <p:spPr>
          <a:xfrm>
            <a:off x="2877840" y="3096558"/>
            <a:ext cx="3618797" cy="46333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发布</a:t>
            </a:r>
            <a:endParaRPr lang="en-GB" sz="32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cxnSp>
        <p:nvCxnSpPr>
          <p:cNvPr id="363" name="Straight Connector 362"/>
          <p:cNvCxnSpPr/>
          <p:nvPr/>
        </p:nvCxnSpPr>
        <p:spPr>
          <a:xfrm>
            <a:off x="3132000" y="3843651"/>
            <a:ext cx="2880000" cy="0"/>
          </a:xfrm>
          <a:prstGeom prst="line">
            <a:avLst/>
          </a:prstGeom>
          <a:ln w="28575">
            <a:solidFill>
              <a:schemeClr val="accent2"/>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3271838" y="3843651"/>
            <a:ext cx="2628000" cy="0"/>
          </a:xfrm>
          <a:prstGeom prst="line">
            <a:avLst/>
          </a:prstGeom>
          <a:ln w="28575">
            <a:solidFill>
              <a:schemeClr val="accent2"/>
            </a:solidFill>
            <a:headEnd type="none" w="med" len="med"/>
            <a:tailEnd type="none" w="lg" len="lg"/>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3686121" y="3843651"/>
            <a:ext cx="1987658" cy="0"/>
          </a:xfrm>
          <a:prstGeom prst="line">
            <a:avLst/>
          </a:prstGeom>
          <a:ln w="28575">
            <a:solidFill>
              <a:schemeClr val="accent2"/>
            </a:solidFill>
            <a:headEnd type="none" w="med" len="med"/>
            <a:tailEnd type="none" w="lg" len="lg"/>
          </a:ln>
        </p:spPr>
        <p:style>
          <a:lnRef idx="1">
            <a:schemeClr val="accent1"/>
          </a:lnRef>
          <a:fillRef idx="0">
            <a:schemeClr val="accent1"/>
          </a:fillRef>
          <a:effectRef idx="0">
            <a:schemeClr val="accent1"/>
          </a:effectRef>
          <a:fontRef idx="minor">
            <a:schemeClr val="tx1"/>
          </a:fontRef>
        </p:style>
      </p:cxnSp>
      <p:grpSp>
        <p:nvGrpSpPr>
          <p:cNvPr id="371" name="Group 370"/>
          <p:cNvGrpSpPr/>
          <p:nvPr/>
        </p:nvGrpSpPr>
        <p:grpSpPr>
          <a:xfrm>
            <a:off x="1230638" y="2952271"/>
            <a:ext cx="6661047" cy="1341439"/>
            <a:chOff x="1230638" y="2523289"/>
            <a:chExt cx="6661047" cy="1341439"/>
          </a:xfrm>
        </p:grpSpPr>
        <p:sp>
          <p:nvSpPr>
            <p:cNvPr id="372" name="Title 3"/>
            <p:cNvSpPr txBox="1">
              <a:spLocks/>
            </p:cNvSpPr>
            <p:nvPr/>
          </p:nvSpPr>
          <p:spPr>
            <a:xfrm rot="20636634">
              <a:off x="3231917" y="2523289"/>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grpSp>
          <p:nvGrpSpPr>
            <p:cNvPr id="373" name="Group 372"/>
            <p:cNvGrpSpPr/>
            <p:nvPr/>
          </p:nvGrpSpPr>
          <p:grpSpPr>
            <a:xfrm>
              <a:off x="1230638" y="2574354"/>
              <a:ext cx="6661047" cy="1290374"/>
              <a:chOff x="1230638" y="2574354"/>
              <a:chExt cx="6661047" cy="1290374"/>
            </a:xfrm>
          </p:grpSpPr>
          <p:sp>
            <p:nvSpPr>
              <p:cNvPr id="374" name="Title 3"/>
              <p:cNvSpPr txBox="1">
                <a:spLocks/>
              </p:cNvSpPr>
              <p:nvPr/>
            </p:nvSpPr>
            <p:spPr>
              <a:xfrm rot="1273355">
                <a:off x="1727862" y="2639291"/>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grpSp>
            <p:nvGrpSpPr>
              <p:cNvPr id="375" name="Group 374"/>
              <p:cNvGrpSpPr/>
              <p:nvPr/>
            </p:nvGrpSpPr>
            <p:grpSpPr>
              <a:xfrm>
                <a:off x="1230638" y="2574354"/>
                <a:ext cx="6661047" cy="1290374"/>
                <a:chOff x="1230638" y="2574354"/>
                <a:chExt cx="6661047" cy="1290374"/>
              </a:xfrm>
            </p:grpSpPr>
            <p:sp>
              <p:nvSpPr>
                <p:cNvPr id="376" name="Title 3"/>
                <p:cNvSpPr txBox="1">
                  <a:spLocks/>
                </p:cNvSpPr>
                <p:nvPr/>
              </p:nvSpPr>
              <p:spPr>
                <a:xfrm rot="569159">
                  <a:off x="3238932" y="3548334"/>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77" name="Title 3"/>
                <p:cNvSpPr txBox="1">
                  <a:spLocks/>
                </p:cNvSpPr>
                <p:nvPr/>
              </p:nvSpPr>
              <p:spPr>
                <a:xfrm rot="19797824">
                  <a:off x="5354508" y="3039434"/>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78" name="Title 3"/>
                <p:cNvSpPr txBox="1">
                  <a:spLocks/>
                </p:cNvSpPr>
                <p:nvPr/>
              </p:nvSpPr>
              <p:spPr>
                <a:xfrm rot="182342">
                  <a:off x="5472781" y="3581031"/>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79" name="Title 3"/>
                <p:cNvSpPr txBox="1">
                  <a:spLocks/>
                </p:cNvSpPr>
                <p:nvPr/>
              </p:nvSpPr>
              <p:spPr>
                <a:xfrm rot="20825171">
                  <a:off x="5936861" y="3149990"/>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80" name="Title 3"/>
                <p:cNvSpPr txBox="1">
                  <a:spLocks/>
                </p:cNvSpPr>
                <p:nvPr/>
              </p:nvSpPr>
              <p:spPr>
                <a:xfrm rot="20825171">
                  <a:off x="2651271" y="3012606"/>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81" name="Title 3"/>
                <p:cNvSpPr txBox="1">
                  <a:spLocks/>
                </p:cNvSpPr>
                <p:nvPr/>
              </p:nvSpPr>
              <p:spPr>
                <a:xfrm rot="197640">
                  <a:off x="1230638" y="3103498"/>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82" name="Title 3"/>
                <p:cNvSpPr txBox="1">
                  <a:spLocks/>
                </p:cNvSpPr>
                <p:nvPr/>
              </p:nvSpPr>
              <p:spPr>
                <a:xfrm rot="2290596">
                  <a:off x="6937183" y="2574354"/>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sp>
              <p:nvSpPr>
                <p:cNvPr id="383" name="Title 3"/>
                <p:cNvSpPr txBox="1">
                  <a:spLocks/>
                </p:cNvSpPr>
                <p:nvPr/>
              </p:nvSpPr>
              <p:spPr>
                <a:xfrm rot="20781003">
                  <a:off x="7092921" y="3480523"/>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rgbClr val="FFFFFF"/>
                      </a:solidFill>
                      <a:cs typeface="MV Boli" panose="02000500030200090000" pitchFamily="2" charset="0"/>
                    </a:rPr>
                    <a:t>"</a:t>
                  </a:r>
                  <a:r>
                    <a:rPr lang="ja-JP" altLang="en-US" sz="1200" b="1" dirty="0" smtClean="0">
                      <a:solidFill>
                        <a:srgbClr val="FFFFFF"/>
                      </a:solidFill>
                      <a:cs typeface="MV Boli" panose="02000500030200090000" pitchFamily="2" charset="0"/>
                    </a:rPr>
                    <a:t>发布</a:t>
                  </a:r>
                  <a:r>
                    <a:rPr lang="en-GB" sz="1200" b="1" dirty="0" smtClean="0">
                      <a:solidFill>
                        <a:srgbClr val="FFFFFF"/>
                      </a:solidFill>
                      <a:cs typeface="MV Boli" panose="02000500030200090000" pitchFamily="2" charset="0"/>
                    </a:rPr>
                    <a:t>"</a:t>
                  </a:r>
                  <a:endParaRPr lang="en-GB" sz="1000" b="1" dirty="0">
                    <a:solidFill>
                      <a:srgbClr val="FFFFFF"/>
                    </a:solidFill>
                    <a:cs typeface="MV Boli" panose="02000500030200090000" pitchFamily="2" charset="0"/>
                  </a:endParaRPr>
                </a:p>
              </p:txBody>
            </p:sp>
          </p:grpSp>
        </p:grpSp>
      </p:grpSp>
      <p:grpSp>
        <p:nvGrpSpPr>
          <p:cNvPr id="8" name="Group 7"/>
          <p:cNvGrpSpPr/>
          <p:nvPr/>
        </p:nvGrpSpPr>
        <p:grpSpPr>
          <a:xfrm>
            <a:off x="1649394" y="2709094"/>
            <a:ext cx="6030605" cy="1743036"/>
            <a:chOff x="1636015" y="2278951"/>
            <a:chExt cx="6030605" cy="1743036"/>
          </a:xfrm>
        </p:grpSpPr>
        <p:sp>
          <p:nvSpPr>
            <p:cNvPr id="394" name="Title 3"/>
            <p:cNvSpPr txBox="1">
              <a:spLocks/>
            </p:cNvSpPr>
            <p:nvPr/>
          </p:nvSpPr>
          <p:spPr>
            <a:xfrm rot="197640">
              <a:off x="6343734" y="3584638"/>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85" name="Title 3"/>
            <p:cNvSpPr txBox="1">
              <a:spLocks/>
            </p:cNvSpPr>
            <p:nvPr/>
          </p:nvSpPr>
          <p:spPr>
            <a:xfrm rot="20700000">
              <a:off x="5077421" y="2278951"/>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87" name="Title 3"/>
            <p:cNvSpPr txBox="1">
              <a:spLocks/>
            </p:cNvSpPr>
            <p:nvPr/>
          </p:nvSpPr>
          <p:spPr>
            <a:xfrm rot="1273355">
              <a:off x="6097255" y="2555752"/>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89" name="Title 3"/>
            <p:cNvSpPr txBox="1">
              <a:spLocks/>
            </p:cNvSpPr>
            <p:nvPr/>
          </p:nvSpPr>
          <p:spPr>
            <a:xfrm rot="569159">
              <a:off x="2814619" y="3738290"/>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90" name="Title 3"/>
            <p:cNvSpPr txBox="1">
              <a:spLocks/>
            </p:cNvSpPr>
            <p:nvPr/>
          </p:nvSpPr>
          <p:spPr>
            <a:xfrm rot="19797824">
              <a:off x="3836630" y="3738290"/>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91" name="Title 3"/>
            <p:cNvSpPr txBox="1">
              <a:spLocks/>
            </p:cNvSpPr>
            <p:nvPr/>
          </p:nvSpPr>
          <p:spPr>
            <a:xfrm rot="799616">
              <a:off x="4656097" y="3614961"/>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92" name="Title 3"/>
            <p:cNvSpPr txBox="1">
              <a:spLocks/>
            </p:cNvSpPr>
            <p:nvPr/>
          </p:nvSpPr>
          <p:spPr>
            <a:xfrm rot="20825171">
              <a:off x="1636015" y="3622380"/>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93" name="Title 3"/>
            <p:cNvSpPr txBox="1">
              <a:spLocks/>
            </p:cNvSpPr>
            <p:nvPr/>
          </p:nvSpPr>
          <p:spPr>
            <a:xfrm rot="900000">
              <a:off x="4233405" y="2347970"/>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95" name="Title 3"/>
            <p:cNvSpPr txBox="1">
              <a:spLocks/>
            </p:cNvSpPr>
            <p:nvPr/>
          </p:nvSpPr>
          <p:spPr>
            <a:xfrm rot="2290596">
              <a:off x="2466309" y="2608389"/>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396" name="Title 3"/>
            <p:cNvSpPr txBox="1">
              <a:spLocks/>
            </p:cNvSpPr>
            <p:nvPr/>
          </p:nvSpPr>
          <p:spPr>
            <a:xfrm rot="386007">
              <a:off x="6867856" y="2989059"/>
              <a:ext cx="798764" cy="283697"/>
            </a:xfrm>
            <a:prstGeom prst="rect">
              <a:avLst/>
            </a:prstGeom>
            <a:noFill/>
            <a:effectLst>
              <a:softEdge rad="317500"/>
            </a:effectLst>
          </p:spPr>
          <p:txBody>
            <a:bodyPr anchor="t">
              <a:norm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r>
                <a:rPr lang="ja-JP" altLang="en-US"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发布</a:t>
              </a:r>
              <a:r>
                <a:rPr lang="en-GB" sz="1200" b="1" dirty="0" smtClean="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rPr>
                <a:t>"</a:t>
              </a:r>
              <a:endParaRPr lang="en-GB" sz="1000" b="1" dirty="0">
                <a:solidFill>
                  <a:schemeClr val="accent4">
                    <a:lumMod val="25000"/>
                  </a:schemeClr>
                </a:solidFill>
                <a:latin typeface="SimSun" panose="02010600030101010101" pitchFamily="2" charset="-122"/>
                <a:ea typeface="SimSun" panose="02010600030101010101" pitchFamily="2" charset="-122"/>
                <a:cs typeface="MV Boli" panose="02000500030200090000" pitchFamily="2" charset="0"/>
              </a:endParaRPr>
            </a:p>
          </p:txBody>
        </p:sp>
      </p:grpSp>
      <p:sp>
        <p:nvSpPr>
          <p:cNvPr id="174" name="Title 3"/>
          <p:cNvSpPr txBox="1">
            <a:spLocks/>
          </p:cNvSpPr>
          <p:nvPr/>
        </p:nvSpPr>
        <p:spPr>
          <a:xfrm>
            <a:off x="729629" y="1312785"/>
            <a:ext cx="8232775" cy="462062"/>
          </a:xfrm>
          <a:prstGeom prst="rect">
            <a:avLst/>
          </a:prstGeom>
        </p:spPr>
        <p:txBody>
          <a:bodyPr vert="horz" lIns="0" tIns="45720" rIns="0" bIns="0" rtlCol="0" anchor="b" anchorCtr="0">
            <a:noAutofit/>
          </a:bodyPr>
          <a:lst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000" dirty="0">
                <a:solidFill>
                  <a:srgbClr val="000000"/>
                </a:solidFill>
                <a:latin typeface="SimSun" panose="02010600030101010101" pitchFamily="2" charset="-122"/>
                <a:ea typeface="SimSun" panose="02010600030101010101" pitchFamily="2" charset="-122"/>
              </a:rPr>
              <a:t>问题</a:t>
            </a:r>
            <a:r>
              <a:rPr lang="en-US" altLang="zh-CN" sz="2000" dirty="0">
                <a:solidFill>
                  <a:srgbClr val="000000"/>
                </a:solidFill>
                <a:latin typeface="SimSun" panose="02010600030101010101" pitchFamily="2" charset="-122"/>
                <a:ea typeface="SimSun" panose="02010600030101010101" pitchFamily="2" charset="-122"/>
              </a:rPr>
              <a:t>3</a:t>
            </a:r>
            <a:r>
              <a:rPr lang="zh-CN" altLang="en-US" sz="2000" dirty="0">
                <a:solidFill>
                  <a:srgbClr val="000000"/>
                </a:solidFill>
                <a:latin typeface="SimSun" panose="02010600030101010101" pitchFamily="2" charset="-122"/>
                <a:ea typeface="SimSun" panose="02010600030101010101" pitchFamily="2" charset="-122"/>
              </a:rPr>
              <a:t>：程序修补，整合，风险，浪费</a:t>
            </a:r>
            <a:endParaRPr lang="en-US" sz="2000" dirty="0">
              <a:solidFill>
                <a:srgbClr val="000000"/>
              </a:solidFill>
              <a:latin typeface="SimSun" panose="02010600030101010101" pitchFamily="2" charset="-122"/>
              <a:ea typeface="SimSun" panose="02010600030101010101" pitchFamily="2" charset="-122"/>
            </a:endParaRPr>
          </a:p>
        </p:txBody>
      </p:sp>
      <p:sp>
        <p:nvSpPr>
          <p:cNvPr id="175" name="Rectangle 174"/>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
        <p:nvSpPr>
          <p:cNvPr id="177" name="Footer Placeholder 4"/>
          <p:cNvSpPr txBox="1">
            <a:spLocks/>
          </p:cNvSpPr>
          <p:nvPr/>
        </p:nvSpPr>
        <p:spPr>
          <a:xfrm>
            <a:off x="455613" y="6575425"/>
            <a:ext cx="3600000" cy="128588"/>
          </a:xfrm>
          <a:prstGeom prst="rect">
            <a:avLst/>
          </a:prstGeom>
          <a:noFill/>
        </p:spPr>
        <p:txBody>
          <a:bodyPr wrap="square" lIns="0" anchor="ctr" anchorCtr="0">
            <a:noAutofit/>
          </a:bodyPr>
          <a:lstStyle>
            <a:defPPr>
              <a:defRPr lang="en-US"/>
            </a:defPPr>
            <a:lvl1pPr algn="l" rtl="0" fontAlgn="base">
              <a:spcBef>
                <a:spcPct val="0"/>
              </a:spcBef>
              <a:spcAft>
                <a:spcPct val="0"/>
              </a:spcAft>
              <a:defRPr lang="en-AU" sz="900" kern="1200">
                <a:solidFill>
                  <a:schemeClr val="bg1"/>
                </a:solidFill>
                <a:latin typeface="+mn-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dirty="0" smtClean="0">
                <a:solidFill>
                  <a:srgbClr val="FFFFFF"/>
                </a:solidFill>
              </a:rPr>
              <a:t>Copyright © 201</a:t>
            </a:r>
            <a:r>
              <a:rPr lang="en-US" altLang="zh-CN" dirty="0" smtClean="0">
                <a:solidFill>
                  <a:srgbClr val="FFFFFF"/>
                </a:solidFill>
              </a:rPr>
              <a:t>6</a:t>
            </a:r>
            <a:r>
              <a:rPr lang="en-US" dirty="0" smtClean="0">
                <a:solidFill>
                  <a:srgbClr val="FFFFFF"/>
                </a:solidFill>
              </a:rPr>
              <a:t> Accenture  All rights reserved.</a:t>
            </a:r>
            <a:endParaRPr lang="en-US" dirty="0">
              <a:solidFill>
                <a:srgbClr val="FFFFFF"/>
              </a:solidFill>
            </a:endParaRPr>
          </a:p>
        </p:txBody>
      </p:sp>
    </p:spTree>
    <p:extLst>
      <p:ext uri="{BB962C8B-B14F-4D97-AF65-F5344CB8AC3E}">
        <p14:creationId xmlns:p14="http://schemas.microsoft.com/office/powerpoint/2010/main" val="4181294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77333" fill="hold" nodeType="withEffect">
                                  <p:stCondLst>
                                    <p:cond delay="0"/>
                                  </p:stCondLst>
                                  <p:childTnLst>
                                    <p:animMotion origin="layout" path="M 0.00139 3.33333E-6 L 0.22778 3.33333E-6 " pathEditMode="relative" rAng="0" ptsTypes="AA">
                                      <p:cBhvr>
                                        <p:cTn id="6" dur="1000" fill="hold"/>
                                        <p:tgtEl>
                                          <p:spTgt spid="363"/>
                                        </p:tgtEl>
                                        <p:attrNameLst>
                                          <p:attrName>ppt_x</p:attrName>
                                          <p:attrName>ppt_y</p:attrName>
                                        </p:attrNameLst>
                                      </p:cBhvr>
                                      <p:rCtr x="11319" y="0"/>
                                    </p:animMotion>
                                  </p:childTnLst>
                                </p:cTn>
                              </p:par>
                              <p:par>
                                <p:cTn id="7" presetID="63" presetClass="path" presetSubtype="0" decel="77333" fill="hold" nodeType="withEffect">
                                  <p:stCondLst>
                                    <p:cond delay="0"/>
                                  </p:stCondLst>
                                  <p:childTnLst>
                                    <p:animMotion origin="layout" path="M -0.22118 3.33333E-6 L 1.11111E-6 3.33333E-6 " pathEditMode="relative" rAng="0" ptsTypes="AA">
                                      <p:cBhvr>
                                        <p:cTn id="8" dur="1000" spd="-100000" fill="hold"/>
                                        <p:tgtEl>
                                          <p:spTgt spid="364"/>
                                        </p:tgtEl>
                                        <p:attrNameLst>
                                          <p:attrName>ppt_x</p:attrName>
                                          <p:attrName>ppt_y</p:attrName>
                                        </p:attrNameLst>
                                      </p:cBhvr>
                                      <p:rCtr x="11059" y="0"/>
                                    </p:animMotion>
                                  </p:childTnLst>
                                </p:cTn>
                              </p:par>
                              <p:par>
                                <p:cTn id="9" presetID="63" presetClass="path" presetSubtype="0" accel="13333" decel="86667" fill="hold" nodeType="withEffect">
                                  <p:stCondLst>
                                    <p:cond delay="100"/>
                                  </p:stCondLst>
                                  <p:childTnLst>
                                    <p:animMotion origin="layout" path="M -0.20139 0 L 1.11111E-6 0 " pathEditMode="relative" rAng="0" ptsTypes="AA">
                                      <p:cBhvr>
                                        <p:cTn id="10" dur="1000" spd="-100000" fill="hold"/>
                                        <p:tgtEl>
                                          <p:spTgt spid="221"/>
                                        </p:tgtEl>
                                        <p:attrNameLst>
                                          <p:attrName>ppt_x</p:attrName>
                                          <p:attrName>ppt_y</p:attrName>
                                        </p:attrNameLst>
                                      </p:cBhvr>
                                      <p:rCtr x="10069" y="0"/>
                                    </p:animMotion>
                                  </p:childTnLst>
                                </p:cTn>
                              </p:par>
                              <p:par>
                                <p:cTn id="11" presetID="63" presetClass="path" presetSubtype="0" accel="10000" decel="90000" fill="hold" nodeType="withEffect">
                                  <p:stCondLst>
                                    <p:cond delay="100"/>
                                  </p:stCondLst>
                                  <p:childTnLst>
                                    <p:animMotion origin="layout" path="M 1.66667E-6 1.48148E-6 L 0.18229 1.48148E-6 " pathEditMode="relative" rAng="0" ptsTypes="AA">
                                      <p:cBhvr>
                                        <p:cTn id="12" dur="1000" fill="hold"/>
                                        <p:tgtEl>
                                          <p:spTgt spid="244"/>
                                        </p:tgtEl>
                                        <p:attrNameLst>
                                          <p:attrName>ppt_x</p:attrName>
                                          <p:attrName>ppt_y</p:attrName>
                                        </p:attrNameLst>
                                      </p:cBhvr>
                                      <p:rCtr x="9115" y="0"/>
                                    </p:animMotion>
                                  </p:childTnLst>
                                </p:cTn>
                              </p:par>
                              <p:par>
                                <p:cTn id="13" presetID="16" presetClass="entr" presetSubtype="37" fill="hold" nodeType="withEffect">
                                  <p:stCondLst>
                                    <p:cond delay="250"/>
                                  </p:stCondLst>
                                  <p:childTnLst>
                                    <p:set>
                                      <p:cBhvr>
                                        <p:cTn id="14" dur="1" fill="hold">
                                          <p:stCondLst>
                                            <p:cond delay="0"/>
                                          </p:stCondLst>
                                        </p:cTn>
                                        <p:tgtEl>
                                          <p:spTgt spid="371"/>
                                        </p:tgtEl>
                                        <p:attrNameLst>
                                          <p:attrName>style.visibility</p:attrName>
                                        </p:attrNameLst>
                                      </p:cBhvr>
                                      <p:to>
                                        <p:strVal val="visible"/>
                                      </p:to>
                                    </p:set>
                                    <p:animEffect transition="in" filter="barn(outVertical)">
                                      <p:cBhvr>
                                        <p:cTn id="15" dur="1000"/>
                                        <p:tgtEl>
                                          <p:spTgt spid="371"/>
                                        </p:tgtEl>
                                      </p:cBhvr>
                                    </p:animEffect>
                                  </p:childTnLst>
                                </p:cTn>
                              </p:par>
                              <p:par>
                                <p:cTn id="16" presetID="22" presetClass="entr" presetSubtype="4" fill="hold" nodeType="withEffect">
                                  <p:stCondLst>
                                    <p:cond delay="500"/>
                                  </p:stCondLst>
                                  <p:childTnLst>
                                    <p:set>
                                      <p:cBhvr>
                                        <p:cTn id="17" dur="1" fill="hold">
                                          <p:stCondLst>
                                            <p:cond delay="0"/>
                                          </p:stCondLst>
                                        </p:cTn>
                                        <p:tgtEl>
                                          <p:spTgt spid="8"/>
                                        </p:tgtEl>
                                        <p:attrNameLst>
                                          <p:attrName>style.visibility</p:attrName>
                                        </p:attrNameLst>
                                      </p:cBhvr>
                                      <p:to>
                                        <p:strVal val="visible"/>
                                      </p:to>
                                    </p:set>
                                    <p:animEffect transition="in" filter="wipe(down)">
                                      <p:cBhvr>
                                        <p:cTn id="18"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zh-CN" altLang="en-US" dirty="0">
                <a:latin typeface="SimSun" panose="02010600030101010101" pitchFamily="2" charset="-122"/>
                <a:ea typeface="SimSun" panose="02010600030101010101" pitchFamily="2" charset="-122"/>
              </a:rPr>
              <a:t>什么是云计算</a:t>
            </a:r>
            <a:r>
              <a:rPr lang="en-US" dirty="0" smtClean="0">
                <a:latin typeface="SimSun" panose="02010600030101010101" pitchFamily="2" charset="-122"/>
                <a:ea typeface="SimSun" panose="02010600030101010101" pitchFamily="2" charset="-122"/>
              </a:rPr>
              <a:t>?</a:t>
            </a:r>
            <a:endParaRPr lang="en-GB" dirty="0">
              <a:latin typeface="SimSun" panose="02010600030101010101" pitchFamily="2" charset="-122"/>
              <a:ea typeface="SimSun" panose="02010600030101010101" pitchFamily="2" charset="-122"/>
            </a:endParaRPr>
          </a:p>
        </p:txBody>
      </p:sp>
      <p:sp>
        <p:nvSpPr>
          <p:cNvPr id="5" name="Footer Placeholder 4"/>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13" name="Title 12"/>
          <p:cNvSpPr>
            <a:spLocks noGrp="1"/>
          </p:cNvSpPr>
          <p:nvPr>
            <p:ph type="title"/>
          </p:nvPr>
        </p:nvSpPr>
        <p:spPr/>
        <p:txBody>
          <a:bodyPr/>
          <a:lstStyle/>
          <a:p>
            <a:r>
              <a:rPr lang="ja-JP" altLang="en-US" dirty="0" smtClean="0">
                <a:latin typeface="SimSun" panose="02010600030101010101" pitchFamily="2" charset="-122"/>
                <a:ea typeface="SimSun" panose="02010600030101010101" pitchFamily="2" charset="-122"/>
              </a:rPr>
              <a:t>云</a:t>
            </a:r>
            <a:r>
              <a:rPr lang="zh-CN" altLang="en-US" dirty="0" smtClean="0">
                <a:latin typeface="SimSun" panose="02010600030101010101" pitchFamily="2" charset="-122"/>
                <a:ea typeface="SimSun" panose="02010600030101010101" pitchFamily="2" charset="-122"/>
              </a:rPr>
              <a:t>技术</a:t>
            </a:r>
            <a:r>
              <a:rPr lang="ja-JP" altLang="en-US" dirty="0" smtClean="0">
                <a:latin typeface="SimSun" panose="02010600030101010101" pitchFamily="2" charset="-122"/>
                <a:ea typeface="SimSun" panose="02010600030101010101" pitchFamily="2" charset="-122"/>
              </a:rPr>
              <a:t>基础</a:t>
            </a:r>
            <a:endParaRPr lang="en-US" dirty="0">
              <a:latin typeface="SimSun" panose="02010600030101010101" pitchFamily="2" charset="-122"/>
              <a:ea typeface="SimSun" panose="02010600030101010101" pitchFamily="2" charset="-122"/>
            </a:endParaRPr>
          </a:p>
        </p:txBody>
      </p:sp>
      <p:sp>
        <p:nvSpPr>
          <p:cNvPr id="6" name="Content Placeholder 4"/>
          <p:cNvSpPr txBox="1">
            <a:spLocks/>
          </p:cNvSpPr>
          <p:nvPr/>
        </p:nvSpPr>
        <p:spPr>
          <a:xfrm>
            <a:off x="470691" y="4810588"/>
            <a:ext cx="8216109" cy="941384"/>
          </a:xfrm>
          <a:prstGeom prst="rect">
            <a:avLst/>
          </a:prstGeom>
          <a:solidFill>
            <a:schemeClr val="accent1"/>
          </a:solidFill>
          <a:ln w="28575">
            <a:solidFill>
              <a:schemeClr val="accent1"/>
            </a:solidFill>
          </a:ln>
        </p:spPr>
        <p:txBody>
          <a:bodyPr tIns="108000" bIns="108000">
            <a:sp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zh-CN" altLang="en-US" sz="1400" dirty="0">
                <a:solidFill>
                  <a:schemeClr val="bg1"/>
                </a:solidFill>
                <a:latin typeface="SimSun" panose="02010600030101010101" pitchFamily="2" charset="-122"/>
                <a:ea typeface="SimSun" panose="02010600030101010101" pitchFamily="2" charset="-122"/>
              </a:rPr>
              <a:t>计算服务的</a:t>
            </a:r>
            <a:r>
              <a:rPr lang="zh-CN" altLang="en-US" sz="1400" dirty="0" smtClean="0">
                <a:solidFill>
                  <a:schemeClr val="bg1"/>
                </a:solidFill>
                <a:latin typeface="SimSun" panose="02010600030101010101" pitchFamily="2" charset="-122"/>
                <a:ea typeface="SimSun" panose="02010600030101010101" pitchFamily="2" charset="-122"/>
              </a:rPr>
              <a:t>集合</a:t>
            </a:r>
            <a:r>
              <a:rPr lang="en-GB" sz="1400" dirty="0" smtClean="0">
                <a:solidFill>
                  <a:schemeClr val="bg1"/>
                </a:solidFill>
                <a:latin typeface="SimSun" panose="02010600030101010101" pitchFamily="2" charset="-122"/>
                <a:ea typeface="SimSun" panose="02010600030101010101" pitchFamily="2" charset="-122"/>
              </a:rPr>
              <a:t> (</a:t>
            </a:r>
            <a:r>
              <a:rPr lang="zh-CN" altLang="en-US" sz="1400" dirty="0" smtClean="0">
                <a:solidFill>
                  <a:schemeClr val="bg1"/>
                </a:solidFill>
                <a:latin typeface="SimSun" panose="02010600030101010101" pitchFamily="2" charset="-122"/>
                <a:ea typeface="SimSun" panose="02010600030101010101" pitchFamily="2" charset="-122"/>
              </a:rPr>
              <a:t>计算</a:t>
            </a:r>
            <a:r>
              <a:rPr lang="en-GB" sz="1400" dirty="0" smtClean="0">
                <a:solidFill>
                  <a:schemeClr val="bg1"/>
                </a:solidFill>
                <a:latin typeface="SimSun" panose="02010600030101010101" pitchFamily="2" charset="-122"/>
                <a:ea typeface="SimSun" panose="02010600030101010101" pitchFamily="2" charset="-122"/>
              </a:rPr>
              <a:t>,</a:t>
            </a:r>
            <a:r>
              <a:rPr lang="zh-CN" altLang="en-US" sz="1400" dirty="0" smtClean="0">
                <a:solidFill>
                  <a:schemeClr val="bg1"/>
                </a:solidFill>
                <a:latin typeface="SimSun" panose="02010600030101010101" pitchFamily="2" charset="-122"/>
                <a:ea typeface="SimSun" panose="02010600030101010101" pitchFamily="2" charset="-122"/>
              </a:rPr>
              <a:t>存储</a:t>
            </a:r>
            <a:r>
              <a:rPr lang="en-GB" sz="1400" dirty="0" smtClean="0">
                <a:solidFill>
                  <a:schemeClr val="bg1"/>
                </a:solidFill>
                <a:latin typeface="SimSun" panose="02010600030101010101" pitchFamily="2" charset="-122"/>
                <a:ea typeface="SimSun" panose="02010600030101010101" pitchFamily="2" charset="-122"/>
              </a:rPr>
              <a:t>, </a:t>
            </a:r>
            <a:r>
              <a:rPr lang="zh-CN" altLang="en-US" sz="1400" dirty="0" smtClean="0">
                <a:solidFill>
                  <a:schemeClr val="bg1"/>
                </a:solidFill>
                <a:latin typeface="SimSun" panose="02010600030101010101" pitchFamily="2" charset="-122"/>
                <a:ea typeface="SimSun" panose="02010600030101010101" pitchFamily="2" charset="-122"/>
              </a:rPr>
              <a:t>网络等</a:t>
            </a:r>
            <a:r>
              <a:rPr lang="en-GB" sz="1400" dirty="0" smtClean="0">
                <a:solidFill>
                  <a:schemeClr val="bg1"/>
                </a:solidFill>
                <a:latin typeface="SimSun" panose="02010600030101010101" pitchFamily="2" charset="-122"/>
                <a:ea typeface="SimSun" panose="02010600030101010101" pitchFamily="2" charset="-122"/>
              </a:rPr>
              <a:t>)</a:t>
            </a:r>
          </a:p>
          <a:p>
            <a:pPr>
              <a:spcBef>
                <a:spcPts val="300"/>
              </a:spcBef>
            </a:pPr>
            <a:r>
              <a:rPr lang="zh-CN" altLang="en-US" sz="1400" dirty="0" smtClean="0">
                <a:solidFill>
                  <a:schemeClr val="bg1"/>
                </a:solidFill>
                <a:latin typeface="SimSun" panose="02010600030101010101" pitchFamily="2" charset="-122"/>
                <a:ea typeface="SimSun" panose="02010600030101010101" pitchFamily="2" charset="-122"/>
              </a:rPr>
              <a:t>根据需求通过网络可以容易获取的。</a:t>
            </a:r>
            <a:r>
              <a:rPr lang="en-US" sz="1400" dirty="0" smtClean="0">
                <a:solidFill>
                  <a:schemeClr val="bg1"/>
                </a:solidFill>
                <a:latin typeface="SimSun" panose="02010600030101010101" pitchFamily="2" charset="-122"/>
                <a:ea typeface="SimSun" panose="02010600030101010101" pitchFamily="2" charset="-122"/>
              </a:rPr>
              <a:t> </a:t>
            </a:r>
          </a:p>
          <a:p>
            <a:pPr>
              <a:spcBef>
                <a:spcPts val="300"/>
              </a:spcBef>
            </a:pPr>
            <a:r>
              <a:rPr lang="zh-CN" altLang="en-US" sz="1400" dirty="0">
                <a:solidFill>
                  <a:schemeClr val="bg1"/>
                </a:solidFill>
                <a:latin typeface="SimSun" panose="02010600030101010101" pitchFamily="2" charset="-122"/>
                <a:ea typeface="SimSun" panose="02010600030101010101" pitchFamily="2" charset="-122"/>
              </a:rPr>
              <a:t>交付和获取</a:t>
            </a:r>
            <a:r>
              <a:rPr lang="en-US" altLang="zh-CN" sz="1400" dirty="0">
                <a:solidFill>
                  <a:schemeClr val="bg1"/>
                </a:solidFill>
                <a:latin typeface="SimSun" panose="02010600030101010101" pitchFamily="2" charset="-122"/>
                <a:ea typeface="SimSun" panose="02010600030101010101" pitchFamily="2" charset="-122"/>
              </a:rPr>
              <a:t>IT</a:t>
            </a:r>
            <a:r>
              <a:rPr lang="zh-CN" altLang="en-US" sz="1400" dirty="0">
                <a:solidFill>
                  <a:schemeClr val="bg1"/>
                </a:solidFill>
                <a:latin typeface="SimSun" panose="02010600030101010101" pitchFamily="2" charset="-122"/>
                <a:ea typeface="SimSun" panose="02010600030101010101" pitchFamily="2" charset="-122"/>
              </a:rPr>
              <a:t>服务</a:t>
            </a:r>
            <a:r>
              <a:rPr lang="zh-CN" altLang="en-US" sz="1400" dirty="0" smtClean="0">
                <a:solidFill>
                  <a:schemeClr val="bg1"/>
                </a:solidFill>
                <a:latin typeface="SimSun" panose="02010600030101010101" pitchFamily="2" charset="-122"/>
                <a:ea typeface="SimSun" panose="02010600030101010101" pitchFamily="2" charset="-122"/>
              </a:rPr>
              <a:t>的一种新兴商业与技术模式</a:t>
            </a:r>
            <a:r>
              <a:rPr lang="en-US" sz="1400" dirty="0" smtClean="0">
                <a:solidFill>
                  <a:schemeClr val="bg1"/>
                </a:solidFill>
                <a:latin typeface="SimSun" panose="02010600030101010101" pitchFamily="2" charset="-122"/>
                <a:ea typeface="SimSun" panose="02010600030101010101" pitchFamily="2" charset="-122"/>
              </a:rPr>
              <a:t>.</a:t>
            </a:r>
            <a:endParaRPr lang="en-GB" sz="1400" dirty="0">
              <a:solidFill>
                <a:schemeClr val="bg1"/>
              </a:solidFill>
              <a:latin typeface="SimSun" panose="02010600030101010101" pitchFamily="2" charset="-122"/>
              <a:ea typeface="SimSun" panose="02010600030101010101" pitchFamily="2" charset="-122"/>
            </a:endParaRPr>
          </a:p>
        </p:txBody>
      </p:sp>
      <p:pic>
        <p:nvPicPr>
          <p:cNvPr id="14" name="Picture 5"/>
          <p:cNvPicPr>
            <a:picLocks noChangeAspect="1" noChangeArrowheads="1"/>
          </p:cNvPicPr>
          <p:nvPr/>
        </p:nvPicPr>
        <p:blipFill rotWithShape="1">
          <a:blip r:embed="rId3" cstate="print"/>
          <a:srcRect t="12400" b="10990"/>
          <a:stretch/>
        </p:blipFill>
        <p:spPr bwMode="auto">
          <a:xfrm>
            <a:off x="4750853" y="3146767"/>
            <a:ext cx="1770867" cy="1445547"/>
          </a:xfrm>
          <a:prstGeom prst="rect">
            <a:avLst/>
          </a:prstGeom>
          <a:solidFill>
            <a:srgbClr val="CBCCCC"/>
          </a:solidFill>
          <a:ln>
            <a:noFill/>
          </a:ln>
        </p:spPr>
      </p:pic>
      <p:pic>
        <p:nvPicPr>
          <p:cNvPr id="17" name="Picture 4" descr="http://upload.wikimedia.org/wikipedia/commons/thumb/b/b5/Cloud_computing.svg/300px-Cloud_computing.svg.png">
            <a:hlinkClick r:id="rId4" tooltip="Cloud computing overview"/>
          </p:cNvPr>
          <p:cNvPicPr>
            <a:picLocks noChangeAspect="1" noChangeArrowheads="1"/>
          </p:cNvPicPr>
          <p:nvPr/>
        </p:nvPicPr>
        <p:blipFill rotWithShape="1">
          <a:blip r:embed="rId5" cstate="print"/>
          <a:srcRect l="805"/>
          <a:stretch/>
        </p:blipFill>
        <p:spPr bwMode="auto">
          <a:xfrm>
            <a:off x="2654300" y="3146767"/>
            <a:ext cx="1777654" cy="1445547"/>
          </a:xfrm>
          <a:prstGeom prst="rect">
            <a:avLst/>
          </a:prstGeom>
          <a:solidFill>
            <a:srgbClr val="CBCCCC"/>
          </a:solidFill>
          <a:ln>
            <a:noFill/>
          </a:ln>
        </p:spPr>
      </p:pic>
      <p:sp>
        <p:nvSpPr>
          <p:cNvPr id="8" name="TextBox 7"/>
          <p:cNvSpPr txBox="1"/>
          <p:nvPr/>
        </p:nvSpPr>
        <p:spPr>
          <a:xfrm>
            <a:off x="470693" y="1798636"/>
            <a:ext cx="1944000" cy="2874964"/>
          </a:xfrm>
          <a:prstGeom prst="rect">
            <a:avLst/>
          </a:prstGeom>
          <a:noFill/>
          <a:ln w="28575">
            <a:solidFill>
              <a:schemeClr val="accent2"/>
            </a:solidFill>
          </a:ln>
        </p:spPr>
        <p:txBody>
          <a:bodyPr wrap="square" rtlCol="0">
            <a:noAutofit/>
          </a:bodyPr>
          <a:lstStyle/>
          <a:p>
            <a:pPr>
              <a:spcAft>
                <a:spcPts val="600"/>
              </a:spcAft>
            </a:pPr>
            <a:r>
              <a:rPr lang="ja-JP" alt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rPr>
              <a:t>虚拟化技术</a:t>
            </a:r>
            <a:endParaRPr lang="en-US" altLang="ja-JP"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endParaRPr>
          </a:p>
          <a:p>
            <a:pPr>
              <a:spcAft>
                <a:spcPts val="600"/>
              </a:spcAft>
            </a:pPr>
            <a:r>
              <a:rPr lang="zh-CN" altLang="en-US" sz="1200" dirty="0">
                <a:latin typeface="SimSun" panose="02010600030101010101" pitchFamily="2" charset="-122"/>
                <a:ea typeface="SimSun" panose="02010600030101010101" pitchFamily="2" charset="-122"/>
                <a:cs typeface="Arial" panose="020B0604020202020204" pitchFamily="34" charset="0"/>
              </a:rPr>
              <a:t>一台计算机扮演多台计算机的</a:t>
            </a:r>
            <a:r>
              <a:rPr lang="zh-CN" altLang="en-US" sz="1200" dirty="0" smtClean="0">
                <a:latin typeface="SimSun" panose="02010600030101010101" pitchFamily="2" charset="-122"/>
                <a:ea typeface="SimSun" panose="02010600030101010101" pitchFamily="2" charset="-122"/>
                <a:cs typeface="Arial" panose="020B0604020202020204" pitchFamily="34" charset="0"/>
              </a:rPr>
              <a:t>角色</a:t>
            </a:r>
            <a:endParaRPr lang="en-US" sz="1200" dirty="0">
              <a:latin typeface="SimSun" panose="02010600030101010101" pitchFamily="2" charset="-122"/>
              <a:ea typeface="SimSun" panose="02010600030101010101" pitchFamily="2" charset="-122"/>
              <a:cs typeface="Arial" panose="020B0604020202020204" pitchFamily="34" charset="0"/>
            </a:endParaRPr>
          </a:p>
        </p:txBody>
      </p:sp>
      <p:sp>
        <p:nvSpPr>
          <p:cNvPr id="11" name="TextBox 10"/>
          <p:cNvSpPr txBox="1"/>
          <p:nvPr/>
        </p:nvSpPr>
        <p:spPr>
          <a:xfrm>
            <a:off x="4656667" y="1798635"/>
            <a:ext cx="1944000" cy="2874964"/>
          </a:xfrm>
          <a:prstGeom prst="rect">
            <a:avLst/>
          </a:prstGeom>
          <a:noFill/>
          <a:ln w="28575">
            <a:solidFill>
              <a:schemeClr val="accent2"/>
            </a:solidFill>
          </a:ln>
        </p:spPr>
        <p:txBody>
          <a:bodyPr wrap="square" rtlCol="0">
            <a:noAutofit/>
          </a:bodyPr>
          <a:lstStyle/>
          <a:p>
            <a:pPr>
              <a:spcAft>
                <a:spcPts val="600"/>
              </a:spcAft>
            </a:pPr>
            <a:r>
              <a:rPr lang="zh-CN" alt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rPr>
              <a:t>网格计算</a:t>
            </a:r>
            <a:endParaRPr 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endParaRPr>
          </a:p>
          <a:p>
            <a:r>
              <a:rPr lang="zh-CN" altLang="en-US" sz="1200" dirty="0">
                <a:latin typeface="SimSun" panose="02010600030101010101" pitchFamily="2" charset="-122"/>
                <a:ea typeface="SimSun" panose="02010600030101010101" pitchFamily="2" charset="-122"/>
                <a:cs typeface="Arial" panose="020B0604020202020204" pitchFamily="34" charset="0"/>
              </a:rPr>
              <a:t>多台计算机扮演一台计算机的角色</a:t>
            </a:r>
          </a:p>
        </p:txBody>
      </p:sp>
      <p:sp>
        <p:nvSpPr>
          <p:cNvPr id="16" name="TextBox 15"/>
          <p:cNvSpPr txBox="1"/>
          <p:nvPr/>
        </p:nvSpPr>
        <p:spPr>
          <a:xfrm>
            <a:off x="2563680" y="1798636"/>
            <a:ext cx="1944000" cy="2874964"/>
          </a:xfrm>
          <a:prstGeom prst="rect">
            <a:avLst/>
          </a:prstGeom>
          <a:noFill/>
          <a:ln w="28575">
            <a:solidFill>
              <a:schemeClr val="accent2"/>
            </a:solidFill>
          </a:ln>
        </p:spPr>
        <p:txBody>
          <a:bodyPr wrap="square" rtlCol="0">
            <a:noAutofit/>
          </a:bodyPr>
          <a:lstStyle/>
          <a:p>
            <a:pPr>
              <a:spcAft>
                <a:spcPts val="600"/>
              </a:spcAft>
            </a:pPr>
            <a:r>
              <a:rPr lang="zh-CN" alt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rPr>
              <a:t>云计算</a:t>
            </a:r>
            <a:endParaRPr 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endParaRPr>
          </a:p>
          <a:p>
            <a:r>
              <a:rPr lang="zh-CN" altLang="en-US" sz="1200" dirty="0" smtClean="0">
                <a:latin typeface="SimSun" panose="02010600030101010101" pitchFamily="2" charset="-122"/>
                <a:ea typeface="SimSun" panose="02010600030101010101" pitchFamily="2" charset="-122"/>
                <a:cs typeface="Arial" panose="020B0604020202020204" pitchFamily="34" charset="0"/>
              </a:rPr>
              <a:t>虚拟化技术和网格技术的组合</a:t>
            </a:r>
            <a:r>
              <a:rPr lang="en-US" sz="1200" dirty="0" smtClean="0">
                <a:latin typeface="SimSun" panose="02010600030101010101" pitchFamily="2" charset="-122"/>
                <a:ea typeface="SimSun" panose="02010600030101010101" pitchFamily="2" charset="-122"/>
                <a:cs typeface="Arial" panose="020B0604020202020204" pitchFamily="34" charset="0"/>
              </a:rPr>
              <a:t>,</a:t>
            </a:r>
            <a:r>
              <a:rPr lang="zh-CN" altLang="en-US" sz="1200" dirty="0" smtClean="0">
                <a:latin typeface="SimSun" panose="02010600030101010101" pitchFamily="2" charset="-122"/>
                <a:ea typeface="SimSun" panose="02010600030101010101" pitchFamily="2" charset="-122"/>
                <a:cs typeface="Arial" panose="020B0604020202020204" pitchFamily="34" charset="0"/>
              </a:rPr>
              <a:t>但终端用户不必关心底层架构</a:t>
            </a:r>
            <a:r>
              <a:rPr lang="en-US" sz="1200" dirty="0" smtClean="0">
                <a:latin typeface="SimSun" panose="02010600030101010101" pitchFamily="2" charset="-122"/>
                <a:ea typeface="SimSun" panose="02010600030101010101" pitchFamily="2" charset="-122"/>
                <a:cs typeface="Arial" panose="020B0604020202020204" pitchFamily="34" charset="0"/>
              </a:rPr>
              <a:t>. </a:t>
            </a:r>
          </a:p>
          <a:p>
            <a:r>
              <a:rPr lang="en-US" altLang="ja-JP" sz="1000" dirty="0" smtClean="0">
                <a:latin typeface="SimSun" panose="02010600030101010101" pitchFamily="2" charset="-122"/>
                <a:ea typeface="SimSun" panose="02010600030101010101" pitchFamily="2" charset="-122"/>
                <a:cs typeface="Arial" panose="020B0604020202020204" pitchFamily="34" charset="0"/>
              </a:rPr>
              <a:t>※</a:t>
            </a:r>
            <a:r>
              <a:rPr lang="ja-JP" altLang="en-US" sz="1000" dirty="0">
                <a:latin typeface="SimSun" panose="02010600030101010101" pitchFamily="2" charset="-122"/>
                <a:ea typeface="SimSun" panose="02010600030101010101" pitchFamily="2" charset="-122"/>
                <a:cs typeface="Arial" panose="020B0604020202020204" pitchFamily="34" charset="0"/>
              </a:rPr>
              <a:t>网</a:t>
            </a:r>
            <a:r>
              <a:rPr lang="ja-JP" altLang="en-US" sz="1000" dirty="0" smtClean="0">
                <a:latin typeface="SimSun" panose="02010600030101010101" pitchFamily="2" charset="-122"/>
                <a:ea typeface="SimSun" panose="02010600030101010101" pitchFamily="2" charset="-122"/>
                <a:cs typeface="Arial" panose="020B0604020202020204" pitchFamily="34" charset="0"/>
              </a:rPr>
              <a:t>格</a:t>
            </a:r>
            <a:r>
              <a:rPr lang="zh-CN" altLang="en-US" sz="1000" dirty="0" smtClean="0">
                <a:latin typeface="SimSun" panose="02010600030101010101" pitchFamily="2" charset="-122"/>
                <a:ea typeface="SimSun" panose="02010600030101010101" pitchFamily="2" charset="-122"/>
                <a:cs typeface="Arial" panose="020B0604020202020204" pitchFamily="34" charset="0"/>
              </a:rPr>
              <a:t>（</a:t>
            </a:r>
            <a:r>
              <a:rPr lang="en-US" altLang="zh-CN" sz="1000" dirty="0" smtClean="0">
                <a:latin typeface="SimSun" panose="02010600030101010101" pitchFamily="2" charset="-122"/>
                <a:ea typeface="SimSun" panose="02010600030101010101" pitchFamily="2" charset="-122"/>
                <a:cs typeface="Arial" panose="020B0604020202020204" pitchFamily="34" charset="0"/>
              </a:rPr>
              <a:t>GRID</a:t>
            </a:r>
            <a:r>
              <a:rPr lang="zh-CN" altLang="en-US" sz="1000" dirty="0" smtClean="0">
                <a:latin typeface="SimSun" panose="02010600030101010101" pitchFamily="2" charset="-122"/>
                <a:ea typeface="SimSun" panose="02010600030101010101" pitchFamily="2" charset="-122"/>
                <a:cs typeface="Arial" panose="020B0604020202020204" pitchFamily="34" charset="0"/>
              </a:rPr>
              <a:t>）</a:t>
            </a:r>
            <a:r>
              <a:rPr lang="ja-JP" altLang="en-US" sz="1000" dirty="0" smtClean="0">
                <a:latin typeface="SimSun" panose="02010600030101010101" pitchFamily="2" charset="-122"/>
                <a:ea typeface="SimSun" panose="02010600030101010101" pitchFamily="2" charset="-122"/>
                <a:cs typeface="Arial" panose="020B0604020202020204" pitchFamily="34" charset="0"/>
              </a:rPr>
              <a:t>技术</a:t>
            </a:r>
            <a:r>
              <a:rPr lang="zh-CN" altLang="en-US" sz="1000" dirty="0" smtClean="0">
                <a:latin typeface="SimSun" panose="02010600030101010101" pitchFamily="2" charset="-122"/>
                <a:ea typeface="SimSun" panose="02010600030101010101" pitchFamily="2" charset="-122"/>
                <a:cs typeface="Arial" panose="020B0604020202020204" pitchFamily="34" charset="0"/>
              </a:rPr>
              <a:t>：分布式资源管理模式的一种新兴技术</a:t>
            </a:r>
            <a:endParaRPr lang="en-US" sz="1000" dirty="0">
              <a:latin typeface="SimSun" panose="02010600030101010101" pitchFamily="2" charset="-122"/>
              <a:ea typeface="SimSun" panose="02010600030101010101" pitchFamily="2" charset="-122"/>
              <a:cs typeface="Arial" panose="020B0604020202020204" pitchFamily="34" charset="0"/>
            </a:endParaRPr>
          </a:p>
        </p:txBody>
      </p:sp>
      <p:sp>
        <p:nvSpPr>
          <p:cNvPr id="18" name="TextBox 17"/>
          <p:cNvSpPr txBox="1"/>
          <p:nvPr/>
        </p:nvSpPr>
        <p:spPr>
          <a:xfrm>
            <a:off x="6749653" y="1798635"/>
            <a:ext cx="1944000" cy="2874964"/>
          </a:xfrm>
          <a:prstGeom prst="rect">
            <a:avLst/>
          </a:prstGeom>
          <a:noFill/>
          <a:ln w="28575">
            <a:solidFill>
              <a:schemeClr val="accent2"/>
            </a:solidFill>
          </a:ln>
        </p:spPr>
        <p:txBody>
          <a:bodyPr wrap="square" rtlCol="0">
            <a:noAutofit/>
          </a:bodyPr>
          <a:lstStyle/>
          <a:p>
            <a:pPr>
              <a:spcAft>
                <a:spcPts val="600"/>
              </a:spcAft>
            </a:pPr>
            <a:r>
              <a:rPr lang="zh-CN" alt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rPr>
              <a:t>效用计算</a:t>
            </a:r>
            <a:endParaRPr lang="en-US" sz="1600" dirty="0" smtClean="0">
              <a:solidFill>
                <a:schemeClr val="accent2"/>
              </a:solidFill>
              <a:latin typeface="SimSun" panose="02010600030101010101" pitchFamily="2" charset="-122"/>
              <a:ea typeface="SimSun" panose="02010600030101010101" pitchFamily="2" charset="-122"/>
              <a:cs typeface="Arial" panose="020B0604020202020204" pitchFamily="34" charset="0"/>
            </a:endParaRPr>
          </a:p>
          <a:p>
            <a:pPr>
              <a:spcAft>
                <a:spcPts val="600"/>
              </a:spcAft>
            </a:pPr>
            <a:r>
              <a:rPr lang="zh-CN" altLang="en-US" sz="1200" dirty="0" smtClean="0">
                <a:latin typeface="SimSun" panose="02010600030101010101" pitchFamily="2" charset="-122"/>
                <a:ea typeface="SimSun" panose="02010600030101010101" pitchFamily="2" charset="-122"/>
                <a:cs typeface="Arial" panose="020B0604020202020204" pitchFamily="34" charset="0"/>
              </a:rPr>
              <a:t>效用计算是一种提供服务的模型，在这个模型里面服务供应商根据客户的需要提供计算资源和基础设施管理，并且根据实际的使用状况来收费，而不是按统一价格收费。</a:t>
            </a:r>
            <a:endParaRPr lang="en-US" sz="1200" dirty="0">
              <a:latin typeface="SimSun" panose="02010600030101010101" pitchFamily="2" charset="-122"/>
              <a:ea typeface="SimSun" panose="02010600030101010101" pitchFamily="2" charset="-122"/>
              <a:cs typeface="Arial" panose="020B0604020202020204" pitchFamily="34" charset="0"/>
            </a:endParaRPr>
          </a:p>
        </p:txBody>
      </p:sp>
      <p:pic>
        <p:nvPicPr>
          <p:cNvPr id="9" name="Picture 6"/>
          <p:cNvPicPr>
            <a:picLocks noChangeAspect="1" noChangeArrowheads="1"/>
          </p:cNvPicPr>
          <p:nvPr/>
        </p:nvPicPr>
        <p:blipFill rotWithShape="1">
          <a:blip r:embed="rId6" cstate="print"/>
          <a:srcRect l="4243" t="5905" r="4585" b="2164"/>
          <a:stretch/>
        </p:blipFill>
        <p:spPr bwMode="auto">
          <a:xfrm>
            <a:off x="557260" y="3146767"/>
            <a:ext cx="1770866" cy="1464989"/>
          </a:xfrm>
          <a:prstGeom prst="rect">
            <a:avLst/>
          </a:prstGeom>
          <a:solidFill>
            <a:srgbClr val="CBCCCC"/>
          </a:solidFill>
          <a:ln>
            <a:noFill/>
          </a:ln>
        </p:spPr>
      </p:pic>
    </p:spTree>
    <p:extLst>
      <p:ext uri="{BB962C8B-B14F-4D97-AF65-F5344CB8AC3E}">
        <p14:creationId xmlns:p14="http://schemas.microsoft.com/office/powerpoint/2010/main" val="22918849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855099" y="3503434"/>
            <a:ext cx="1899485" cy="723631"/>
            <a:chOff x="2855099" y="3367966"/>
            <a:chExt cx="1899485" cy="723631"/>
          </a:xfrm>
        </p:grpSpPr>
        <p:sp>
          <p:nvSpPr>
            <p:cNvPr id="140" name="Title 3"/>
            <p:cNvSpPr txBox="1">
              <a:spLocks/>
            </p:cNvSpPr>
            <p:nvPr/>
          </p:nvSpPr>
          <p:spPr>
            <a:xfrm>
              <a:off x="2893415" y="3952416"/>
              <a:ext cx="301483" cy="139181"/>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8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想法</a:t>
              </a:r>
              <a:endParaRPr lang="en-GB" sz="8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141" name="Title 3"/>
            <p:cNvSpPr txBox="1">
              <a:spLocks/>
            </p:cNvSpPr>
            <p:nvPr/>
          </p:nvSpPr>
          <p:spPr>
            <a:xfrm>
              <a:off x="4453101" y="3952416"/>
              <a:ext cx="301483" cy="139181"/>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8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价值</a:t>
              </a:r>
              <a:endParaRPr lang="en-GB" sz="8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142" name="Freeform 18"/>
            <p:cNvSpPr>
              <a:spLocks noEditPoints="1"/>
            </p:cNvSpPr>
            <p:nvPr/>
          </p:nvSpPr>
          <p:spPr bwMode="auto">
            <a:xfrm>
              <a:off x="2855099" y="3367966"/>
              <a:ext cx="378115" cy="413112"/>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144" name="Title 3"/>
            <p:cNvSpPr txBox="1">
              <a:spLocks/>
            </p:cNvSpPr>
            <p:nvPr/>
          </p:nvSpPr>
          <p:spPr>
            <a:xfrm>
              <a:off x="3258865" y="3524608"/>
              <a:ext cx="711183" cy="91056"/>
            </a:xfrm>
            <a:prstGeom prst="rect">
              <a:avLst/>
            </a:prstGeom>
            <a:solidFill>
              <a:schemeClr val="accent4"/>
            </a:solidFill>
            <a:ln>
              <a:solidFill>
                <a:schemeClr val="tx1"/>
              </a:solidFill>
              <a:tailEnd type="arrow"/>
            </a:ln>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800" b="1" dirty="0">
                  <a:solidFill>
                    <a:schemeClr val="accent2"/>
                  </a:solidFill>
                  <a:latin typeface="SimSun" panose="02010600030101010101" pitchFamily="2" charset="-122"/>
                  <a:ea typeface="SimSun" panose="02010600030101010101" pitchFamily="2" charset="-122"/>
                  <a:cs typeface="MV Boli" panose="02000500030200090000" pitchFamily="2" charset="0"/>
                </a:rPr>
                <a:t>转化为价值</a:t>
              </a:r>
            </a:p>
          </p:txBody>
        </p:sp>
        <p:cxnSp>
          <p:nvCxnSpPr>
            <p:cNvPr id="145" name="Straight Connector 144"/>
            <p:cNvCxnSpPr/>
            <p:nvPr/>
          </p:nvCxnSpPr>
          <p:spPr>
            <a:xfrm>
              <a:off x="3312100" y="3753880"/>
              <a:ext cx="604712" cy="0"/>
            </a:xfrm>
            <a:prstGeom prst="line">
              <a:avLst/>
            </a:prstGeom>
            <a:solidFill>
              <a:schemeClr val="accent4"/>
            </a:solidFill>
            <a:ln w="28575">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552634" y="4613822"/>
            <a:ext cx="1947857" cy="1044460"/>
            <a:chOff x="3721446" y="4101372"/>
            <a:chExt cx="2484304" cy="1332108"/>
          </a:xfrm>
        </p:grpSpPr>
        <p:sp>
          <p:nvSpPr>
            <p:cNvPr id="109" name="Rectangle 108"/>
            <p:cNvSpPr/>
            <p:nvPr/>
          </p:nvSpPr>
          <p:spPr>
            <a:xfrm>
              <a:off x="3721446" y="4101372"/>
              <a:ext cx="2484304" cy="1332108"/>
            </a:xfrm>
            <a:prstGeom prst="rect">
              <a:avLst/>
            </a:prstGeom>
            <a:no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latin typeface="SimSun" panose="02010600030101010101" pitchFamily="2" charset="-122"/>
                <a:ea typeface="SimSun" panose="02010600030101010101" pitchFamily="2" charset="-122"/>
              </a:endParaRPr>
            </a:p>
          </p:txBody>
        </p:sp>
        <p:sp>
          <p:nvSpPr>
            <p:cNvPr id="110" name="Title 3"/>
            <p:cNvSpPr txBox="1">
              <a:spLocks/>
            </p:cNvSpPr>
            <p:nvPr/>
          </p:nvSpPr>
          <p:spPr>
            <a:xfrm>
              <a:off x="4055358" y="5051374"/>
              <a:ext cx="384513" cy="1775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8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想法</a:t>
              </a:r>
              <a:endParaRPr lang="en-GB" sz="8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111" name="Title 3"/>
            <p:cNvSpPr txBox="1">
              <a:spLocks/>
            </p:cNvSpPr>
            <p:nvPr/>
          </p:nvSpPr>
          <p:spPr>
            <a:xfrm>
              <a:off x="5462984" y="5051374"/>
              <a:ext cx="384513" cy="1775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8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价值</a:t>
              </a:r>
              <a:endParaRPr lang="en-GB" sz="8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113" name="Freeform 18"/>
            <p:cNvSpPr>
              <a:spLocks noEditPoints="1"/>
            </p:cNvSpPr>
            <p:nvPr/>
          </p:nvSpPr>
          <p:spPr bwMode="auto">
            <a:xfrm>
              <a:off x="4006490" y="4305965"/>
              <a:ext cx="482249" cy="526885"/>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grpSp>
          <p:nvGrpSpPr>
            <p:cNvPr id="8" name="Group 7"/>
            <p:cNvGrpSpPr/>
            <p:nvPr/>
          </p:nvGrpSpPr>
          <p:grpSpPr>
            <a:xfrm>
              <a:off x="5506605" y="4396251"/>
              <a:ext cx="288947" cy="466121"/>
              <a:chOff x="5506605" y="4396251"/>
              <a:chExt cx="288947" cy="466121"/>
            </a:xfrm>
          </p:grpSpPr>
          <p:sp>
            <p:nvSpPr>
              <p:cNvPr id="117" name="Freeform 8"/>
              <p:cNvSpPr>
                <a:spLocks noEditPoints="1"/>
              </p:cNvSpPr>
              <p:nvPr/>
            </p:nvSpPr>
            <p:spPr bwMode="auto">
              <a:xfrm>
                <a:off x="5510767" y="4765462"/>
                <a:ext cx="279434" cy="96910"/>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118" name="Freeform 9"/>
              <p:cNvSpPr>
                <a:spLocks noEditPoints="1"/>
              </p:cNvSpPr>
              <p:nvPr/>
            </p:nvSpPr>
            <p:spPr bwMode="auto">
              <a:xfrm>
                <a:off x="5514929" y="4698278"/>
                <a:ext cx="280623" cy="99883"/>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119" name="Freeform 10"/>
              <p:cNvSpPr>
                <a:spLocks noEditPoints="1"/>
              </p:cNvSpPr>
              <p:nvPr/>
            </p:nvSpPr>
            <p:spPr bwMode="auto">
              <a:xfrm>
                <a:off x="5506605" y="4637635"/>
                <a:ext cx="279434" cy="9572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120" name="Freeform 11"/>
              <p:cNvSpPr>
                <a:spLocks noEditPoints="1"/>
              </p:cNvSpPr>
              <p:nvPr/>
            </p:nvSpPr>
            <p:spPr bwMode="auto">
              <a:xfrm>
                <a:off x="5510767" y="4573425"/>
                <a:ext cx="279434" cy="96910"/>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121" name="Freeform 12"/>
              <p:cNvSpPr>
                <a:spLocks noEditPoints="1"/>
              </p:cNvSpPr>
              <p:nvPr/>
            </p:nvSpPr>
            <p:spPr bwMode="auto">
              <a:xfrm>
                <a:off x="5514929" y="4511592"/>
                <a:ext cx="280623" cy="9393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122" name="Freeform 13"/>
              <p:cNvSpPr>
                <a:spLocks noEditPoints="1"/>
              </p:cNvSpPr>
              <p:nvPr/>
            </p:nvSpPr>
            <p:spPr bwMode="auto">
              <a:xfrm>
                <a:off x="5510767" y="4396251"/>
                <a:ext cx="279434" cy="144474"/>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grpSp>
        <p:sp>
          <p:nvSpPr>
            <p:cNvPr id="115" name="Title 3"/>
            <p:cNvSpPr txBox="1">
              <a:spLocks/>
            </p:cNvSpPr>
            <p:nvPr/>
          </p:nvSpPr>
          <p:spPr>
            <a:xfrm>
              <a:off x="4521454" y="4505746"/>
              <a:ext cx="907045" cy="116133"/>
            </a:xfrm>
            <a:prstGeom prst="rect">
              <a:avLst/>
            </a:prstGeom>
            <a:solidFill>
              <a:schemeClr val="accent4"/>
            </a:solidFill>
            <a:ln>
              <a:solidFill>
                <a:schemeClr val="tx1"/>
              </a:solidFill>
              <a:tailEnd type="arrow"/>
            </a:ln>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800" b="1" dirty="0">
                  <a:solidFill>
                    <a:schemeClr val="accent2"/>
                  </a:solidFill>
                  <a:latin typeface="SimSun" panose="02010600030101010101" pitchFamily="2" charset="-122"/>
                  <a:ea typeface="SimSun" panose="02010600030101010101" pitchFamily="2" charset="-122"/>
                  <a:cs typeface="MV Boli" panose="02000500030200090000" pitchFamily="2" charset="0"/>
                </a:rPr>
                <a:t>转化为价值</a:t>
              </a:r>
            </a:p>
          </p:txBody>
        </p:sp>
        <p:cxnSp>
          <p:nvCxnSpPr>
            <p:cNvPr id="116" name="Straight Connector 115"/>
            <p:cNvCxnSpPr/>
            <p:nvPr/>
          </p:nvCxnSpPr>
          <p:spPr>
            <a:xfrm>
              <a:off x="4589351" y="4798161"/>
              <a:ext cx="771252" cy="0"/>
            </a:xfrm>
            <a:prstGeom prst="line">
              <a:avLst/>
            </a:prstGeom>
            <a:solidFill>
              <a:schemeClr val="accent4"/>
            </a:solidFill>
            <a:ln w="28575">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grpSp>
        <p:nvGrpSpPr>
          <p:cNvPr id="414" name="Group 413"/>
          <p:cNvGrpSpPr/>
          <p:nvPr/>
        </p:nvGrpSpPr>
        <p:grpSpPr>
          <a:xfrm>
            <a:off x="5440328" y="2098152"/>
            <a:ext cx="2237437" cy="1044460"/>
            <a:chOff x="3721446" y="4101372"/>
            <a:chExt cx="2853634" cy="1332108"/>
          </a:xfrm>
        </p:grpSpPr>
        <p:sp>
          <p:nvSpPr>
            <p:cNvPr id="415" name="Rectangle 414"/>
            <p:cNvSpPr/>
            <p:nvPr/>
          </p:nvSpPr>
          <p:spPr>
            <a:xfrm>
              <a:off x="3721446" y="4101372"/>
              <a:ext cx="2484304" cy="1332108"/>
            </a:xfrm>
            <a:prstGeom prst="rect">
              <a:avLst/>
            </a:prstGeom>
            <a:no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latin typeface="SimSun" panose="02010600030101010101" pitchFamily="2" charset="-122"/>
                <a:ea typeface="SimSun" panose="02010600030101010101" pitchFamily="2" charset="-122"/>
              </a:endParaRPr>
            </a:p>
          </p:txBody>
        </p:sp>
        <p:sp>
          <p:nvSpPr>
            <p:cNvPr id="416" name="Title 3"/>
            <p:cNvSpPr txBox="1">
              <a:spLocks/>
            </p:cNvSpPr>
            <p:nvPr/>
          </p:nvSpPr>
          <p:spPr>
            <a:xfrm>
              <a:off x="4055358" y="5051374"/>
              <a:ext cx="384513" cy="1775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8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想法</a:t>
              </a:r>
              <a:endParaRPr lang="en-GB" sz="8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417" name="Title 3"/>
            <p:cNvSpPr txBox="1">
              <a:spLocks/>
            </p:cNvSpPr>
            <p:nvPr/>
          </p:nvSpPr>
          <p:spPr>
            <a:xfrm>
              <a:off x="6190568" y="5051374"/>
              <a:ext cx="384512" cy="1775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800" b="1" dirty="0" smtClean="0">
                  <a:solidFill>
                    <a:srgbClr val="000000"/>
                  </a:solidFill>
                  <a:latin typeface="SimSun" panose="02010600030101010101" pitchFamily="2" charset="-122"/>
                  <a:ea typeface="SimSun" panose="02010600030101010101" pitchFamily="2" charset="-122"/>
                  <a:cs typeface="MV Boli" panose="02000500030200090000" pitchFamily="2" charset="0"/>
                </a:rPr>
                <a:t>价值</a:t>
              </a:r>
              <a:endParaRPr lang="en-GB" sz="800" b="1" dirty="0">
                <a:solidFill>
                  <a:srgbClr val="000000"/>
                </a:solidFill>
                <a:latin typeface="SimSun" panose="02010600030101010101" pitchFamily="2" charset="-122"/>
                <a:ea typeface="SimSun" panose="02010600030101010101" pitchFamily="2" charset="-122"/>
                <a:cs typeface="MV Boli" panose="02000500030200090000" pitchFamily="2" charset="0"/>
              </a:endParaRPr>
            </a:p>
          </p:txBody>
        </p:sp>
        <p:sp>
          <p:nvSpPr>
            <p:cNvPr id="418" name="Freeform 18"/>
            <p:cNvSpPr>
              <a:spLocks noEditPoints="1"/>
            </p:cNvSpPr>
            <p:nvPr/>
          </p:nvSpPr>
          <p:spPr bwMode="auto">
            <a:xfrm>
              <a:off x="4006490" y="4305965"/>
              <a:ext cx="482249" cy="526885"/>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sz="1050">
                <a:latin typeface="SimSun" panose="02010600030101010101" pitchFamily="2" charset="-122"/>
                <a:ea typeface="SimSun" panose="02010600030101010101" pitchFamily="2" charset="-122"/>
              </a:endParaRPr>
            </a:p>
          </p:txBody>
        </p:sp>
        <p:sp>
          <p:nvSpPr>
            <p:cNvPr id="420" name="Title 3"/>
            <p:cNvSpPr txBox="1">
              <a:spLocks/>
            </p:cNvSpPr>
            <p:nvPr/>
          </p:nvSpPr>
          <p:spPr>
            <a:xfrm>
              <a:off x="4521454" y="4505746"/>
              <a:ext cx="907045" cy="116133"/>
            </a:xfrm>
            <a:prstGeom prst="rect">
              <a:avLst/>
            </a:prstGeom>
            <a:solidFill>
              <a:schemeClr val="accent4"/>
            </a:solidFill>
            <a:ln>
              <a:solidFill>
                <a:schemeClr val="tx1"/>
              </a:solidFill>
              <a:tailEnd type="arrow"/>
            </a:ln>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800" b="1" dirty="0">
                  <a:solidFill>
                    <a:schemeClr val="accent2"/>
                  </a:solidFill>
                  <a:latin typeface="SimSun" panose="02010600030101010101" pitchFamily="2" charset="-122"/>
                  <a:ea typeface="SimSun" panose="02010600030101010101" pitchFamily="2" charset="-122"/>
                  <a:cs typeface="MV Boli" panose="02000500030200090000" pitchFamily="2" charset="0"/>
                </a:rPr>
                <a:t>转化为价值</a:t>
              </a:r>
            </a:p>
          </p:txBody>
        </p:sp>
        <p:cxnSp>
          <p:nvCxnSpPr>
            <p:cNvPr id="421" name="Straight Connector 420"/>
            <p:cNvCxnSpPr/>
            <p:nvPr/>
          </p:nvCxnSpPr>
          <p:spPr>
            <a:xfrm>
              <a:off x="4589351" y="4798161"/>
              <a:ext cx="771252" cy="0"/>
            </a:xfrm>
            <a:prstGeom prst="line">
              <a:avLst/>
            </a:prstGeom>
            <a:solidFill>
              <a:schemeClr val="accent4"/>
            </a:solidFill>
            <a:ln w="28575">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7227545" y="1403616"/>
            <a:ext cx="219155" cy="1292263"/>
            <a:chOff x="7324726" y="360936"/>
            <a:chExt cx="219155" cy="1292263"/>
          </a:xfrm>
        </p:grpSpPr>
        <p:grpSp>
          <p:nvGrpSpPr>
            <p:cNvPr id="358" name="Group 357"/>
            <p:cNvGrpSpPr>
              <a:grpSpLocks noChangeAspect="1"/>
            </p:cNvGrpSpPr>
            <p:nvPr/>
          </p:nvGrpSpPr>
          <p:grpSpPr bwMode="auto">
            <a:xfrm>
              <a:off x="7324726" y="360936"/>
              <a:ext cx="219155" cy="353535"/>
              <a:chOff x="6599" y="1623"/>
              <a:chExt cx="486" cy="784"/>
            </a:xfrm>
            <a:solidFill>
              <a:schemeClr val="accent4"/>
            </a:solidFill>
          </p:grpSpPr>
          <p:sp>
            <p:nvSpPr>
              <p:cNvPr id="373"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4"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5"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6"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7"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8"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59" name="Group 358"/>
            <p:cNvGrpSpPr>
              <a:grpSpLocks noChangeAspect="1"/>
            </p:cNvGrpSpPr>
            <p:nvPr/>
          </p:nvGrpSpPr>
          <p:grpSpPr bwMode="auto">
            <a:xfrm>
              <a:off x="7324726" y="830300"/>
              <a:ext cx="219155" cy="353535"/>
              <a:chOff x="6599" y="1623"/>
              <a:chExt cx="486" cy="784"/>
            </a:xfrm>
            <a:solidFill>
              <a:schemeClr val="accent4"/>
            </a:solidFill>
          </p:grpSpPr>
          <p:sp>
            <p:nvSpPr>
              <p:cNvPr id="36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60" name="Group 359"/>
            <p:cNvGrpSpPr>
              <a:grpSpLocks noChangeAspect="1"/>
            </p:cNvGrpSpPr>
            <p:nvPr/>
          </p:nvGrpSpPr>
          <p:grpSpPr bwMode="auto">
            <a:xfrm>
              <a:off x="7324726" y="1299664"/>
              <a:ext cx="219155" cy="353535"/>
              <a:chOff x="6599" y="1623"/>
              <a:chExt cx="486" cy="784"/>
            </a:xfrm>
            <a:solidFill>
              <a:schemeClr val="accent4"/>
            </a:solidFill>
          </p:grpSpPr>
          <p:sp>
            <p:nvSpPr>
              <p:cNvPr id="361"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2"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3"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4"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5"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66"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grpSp>
        <p:nvGrpSpPr>
          <p:cNvPr id="13" name="Group 12"/>
          <p:cNvGrpSpPr/>
          <p:nvPr/>
        </p:nvGrpSpPr>
        <p:grpSpPr>
          <a:xfrm>
            <a:off x="7605413" y="1403616"/>
            <a:ext cx="219155" cy="1292263"/>
            <a:chOff x="7702594" y="360936"/>
            <a:chExt cx="219155" cy="1292263"/>
          </a:xfrm>
        </p:grpSpPr>
        <p:grpSp>
          <p:nvGrpSpPr>
            <p:cNvPr id="330" name="Group 329"/>
            <p:cNvGrpSpPr>
              <a:grpSpLocks noChangeAspect="1"/>
            </p:cNvGrpSpPr>
            <p:nvPr/>
          </p:nvGrpSpPr>
          <p:grpSpPr bwMode="auto">
            <a:xfrm>
              <a:off x="7702594" y="360936"/>
              <a:ext cx="219155" cy="353535"/>
              <a:chOff x="6599" y="1623"/>
              <a:chExt cx="486" cy="784"/>
            </a:xfrm>
            <a:solidFill>
              <a:schemeClr val="accent4"/>
            </a:solidFill>
          </p:grpSpPr>
          <p:sp>
            <p:nvSpPr>
              <p:cNvPr id="345"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6"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7"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8"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9"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50"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31" name="Group 330"/>
            <p:cNvGrpSpPr>
              <a:grpSpLocks noChangeAspect="1"/>
            </p:cNvGrpSpPr>
            <p:nvPr/>
          </p:nvGrpSpPr>
          <p:grpSpPr bwMode="auto">
            <a:xfrm>
              <a:off x="7702594" y="830300"/>
              <a:ext cx="219155" cy="353535"/>
              <a:chOff x="6599" y="1623"/>
              <a:chExt cx="486" cy="784"/>
            </a:xfrm>
            <a:solidFill>
              <a:schemeClr val="accent4"/>
            </a:solidFill>
          </p:grpSpPr>
          <p:sp>
            <p:nvSpPr>
              <p:cNvPr id="339"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0"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1"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2"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3"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44"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32" name="Group 331"/>
            <p:cNvGrpSpPr>
              <a:grpSpLocks noChangeAspect="1"/>
            </p:cNvGrpSpPr>
            <p:nvPr/>
          </p:nvGrpSpPr>
          <p:grpSpPr bwMode="auto">
            <a:xfrm>
              <a:off x="7702594" y="1299664"/>
              <a:ext cx="219155" cy="353535"/>
              <a:chOff x="6599" y="1623"/>
              <a:chExt cx="486" cy="784"/>
            </a:xfrm>
            <a:solidFill>
              <a:schemeClr val="accent4"/>
            </a:solidFill>
          </p:grpSpPr>
          <p:sp>
            <p:nvSpPr>
              <p:cNvPr id="333"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4"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5"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6"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7"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38"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grpSp>
        <p:nvGrpSpPr>
          <p:cNvPr id="14" name="Group 13"/>
          <p:cNvGrpSpPr/>
          <p:nvPr/>
        </p:nvGrpSpPr>
        <p:grpSpPr>
          <a:xfrm>
            <a:off x="7983281" y="1403616"/>
            <a:ext cx="219155" cy="1292263"/>
            <a:chOff x="8080462" y="360936"/>
            <a:chExt cx="219155" cy="1292263"/>
          </a:xfrm>
        </p:grpSpPr>
        <p:grpSp>
          <p:nvGrpSpPr>
            <p:cNvPr id="302" name="Group 301"/>
            <p:cNvGrpSpPr>
              <a:grpSpLocks noChangeAspect="1"/>
            </p:cNvGrpSpPr>
            <p:nvPr/>
          </p:nvGrpSpPr>
          <p:grpSpPr bwMode="auto">
            <a:xfrm>
              <a:off x="8080462" y="360936"/>
              <a:ext cx="219155" cy="353535"/>
              <a:chOff x="6599" y="1623"/>
              <a:chExt cx="486" cy="784"/>
            </a:xfrm>
            <a:solidFill>
              <a:schemeClr val="accent4"/>
            </a:solidFill>
          </p:grpSpPr>
          <p:sp>
            <p:nvSpPr>
              <p:cNvPr id="31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2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03" name="Group 302"/>
            <p:cNvGrpSpPr>
              <a:grpSpLocks noChangeAspect="1"/>
            </p:cNvGrpSpPr>
            <p:nvPr/>
          </p:nvGrpSpPr>
          <p:grpSpPr bwMode="auto">
            <a:xfrm>
              <a:off x="8080462" y="830300"/>
              <a:ext cx="219155" cy="353535"/>
              <a:chOff x="6599" y="1623"/>
              <a:chExt cx="486" cy="784"/>
            </a:xfrm>
            <a:solidFill>
              <a:schemeClr val="accent4"/>
            </a:solidFill>
          </p:grpSpPr>
          <p:sp>
            <p:nvSpPr>
              <p:cNvPr id="311"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2"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3"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4"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5"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6"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04" name="Group 303"/>
            <p:cNvGrpSpPr>
              <a:grpSpLocks noChangeAspect="1"/>
            </p:cNvGrpSpPr>
            <p:nvPr/>
          </p:nvGrpSpPr>
          <p:grpSpPr bwMode="auto">
            <a:xfrm>
              <a:off x="8080462" y="1299664"/>
              <a:ext cx="219155" cy="353535"/>
              <a:chOff x="6599" y="1623"/>
              <a:chExt cx="486" cy="784"/>
            </a:xfrm>
            <a:solidFill>
              <a:schemeClr val="accent4"/>
            </a:solidFill>
          </p:grpSpPr>
          <p:sp>
            <p:nvSpPr>
              <p:cNvPr id="305"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6"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7"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8"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09"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10"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grpSp>
        <p:nvGrpSpPr>
          <p:cNvPr id="11" name="Group 10"/>
          <p:cNvGrpSpPr/>
          <p:nvPr/>
        </p:nvGrpSpPr>
        <p:grpSpPr>
          <a:xfrm>
            <a:off x="6846464" y="1403616"/>
            <a:ext cx="219155" cy="1292263"/>
            <a:chOff x="6943645" y="360936"/>
            <a:chExt cx="219155" cy="1292263"/>
          </a:xfrm>
        </p:grpSpPr>
        <p:grpSp>
          <p:nvGrpSpPr>
            <p:cNvPr id="387" name="Group 386"/>
            <p:cNvGrpSpPr>
              <a:grpSpLocks noChangeAspect="1"/>
            </p:cNvGrpSpPr>
            <p:nvPr/>
          </p:nvGrpSpPr>
          <p:grpSpPr bwMode="auto">
            <a:xfrm>
              <a:off x="6943645" y="360936"/>
              <a:ext cx="219155" cy="353535"/>
              <a:chOff x="6599" y="1623"/>
              <a:chExt cx="486" cy="784"/>
            </a:xfrm>
            <a:solidFill>
              <a:schemeClr val="accent4"/>
            </a:solidFill>
          </p:grpSpPr>
          <p:sp>
            <p:nvSpPr>
              <p:cNvPr id="402"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3"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4"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5"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6"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7"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88" name="Group 387"/>
            <p:cNvGrpSpPr>
              <a:grpSpLocks noChangeAspect="1"/>
            </p:cNvGrpSpPr>
            <p:nvPr/>
          </p:nvGrpSpPr>
          <p:grpSpPr bwMode="auto">
            <a:xfrm>
              <a:off x="6943645" y="830300"/>
              <a:ext cx="219155" cy="353535"/>
              <a:chOff x="6599" y="1623"/>
              <a:chExt cx="486" cy="784"/>
            </a:xfrm>
            <a:solidFill>
              <a:schemeClr val="accent4"/>
            </a:solidFill>
          </p:grpSpPr>
          <p:sp>
            <p:nvSpPr>
              <p:cNvPr id="39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8"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9"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0"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1"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nvGrpSpPr>
            <p:cNvPr id="389" name="Group 388"/>
            <p:cNvGrpSpPr>
              <a:grpSpLocks noChangeAspect="1"/>
            </p:cNvGrpSpPr>
            <p:nvPr/>
          </p:nvGrpSpPr>
          <p:grpSpPr bwMode="auto">
            <a:xfrm>
              <a:off x="6943645" y="1299664"/>
              <a:ext cx="219155" cy="353535"/>
              <a:chOff x="6599" y="1623"/>
              <a:chExt cx="486" cy="784"/>
            </a:xfrm>
            <a:solidFill>
              <a:schemeClr val="accent4"/>
            </a:solidFill>
          </p:grpSpPr>
          <p:sp>
            <p:nvSpPr>
              <p:cNvPr id="390"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1"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2"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3"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4"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5"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grpSp>
      <p:cxnSp>
        <p:nvCxnSpPr>
          <p:cNvPr id="92" name="Straight Connector 91"/>
          <p:cNvCxnSpPr/>
          <p:nvPr/>
        </p:nvCxnSpPr>
        <p:spPr>
          <a:xfrm>
            <a:off x="482468" y="5731575"/>
            <a:ext cx="2097468"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itle 3"/>
          <p:cNvSpPr txBox="1">
            <a:spLocks/>
          </p:cNvSpPr>
          <p:nvPr/>
        </p:nvSpPr>
        <p:spPr>
          <a:xfrm>
            <a:off x="746447" y="1884178"/>
            <a:ext cx="2448451" cy="300135"/>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交付</a:t>
            </a:r>
            <a:r>
              <a:rPr lang="zh-CN" altLang="en-US" sz="2400" b="1" dirty="0">
                <a:solidFill>
                  <a:srgbClr val="00B0F0"/>
                </a:solidFill>
                <a:latin typeface="SimSun" panose="02010600030101010101" pitchFamily="2" charset="-122"/>
                <a:ea typeface="SimSun" panose="02010600030101010101" pitchFamily="2" charset="-122"/>
                <a:cs typeface="MV Boli" panose="02000500030200090000" pitchFamily="2" charset="0"/>
              </a:rPr>
              <a:t>的</a:t>
            </a:r>
            <a:r>
              <a:rPr lang="zh-CN" altLang="en-US"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价值</a:t>
            </a:r>
            <a:endParaRPr lang="en-GB" sz="24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cxnSp>
        <p:nvCxnSpPr>
          <p:cNvPr id="50" name="Straight Connector 49"/>
          <p:cNvCxnSpPr/>
          <p:nvPr/>
        </p:nvCxnSpPr>
        <p:spPr>
          <a:xfrm flipV="1">
            <a:off x="466515" y="1601410"/>
            <a:ext cx="1" cy="4266551"/>
          </a:xfrm>
          <a:prstGeom prst="line">
            <a:avLst/>
          </a:prstGeom>
          <a:ln w="38100" cap="flat">
            <a:solidFill>
              <a:schemeClr val="bg1"/>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9263" y="5850709"/>
            <a:ext cx="8231186" cy="0"/>
          </a:xfrm>
          <a:prstGeom prst="line">
            <a:avLst/>
          </a:prstGeom>
          <a:ln w="38100" cap="flat">
            <a:solidFill>
              <a:schemeClr val="bg1"/>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sp>
        <p:nvSpPr>
          <p:cNvPr id="96" name="Title 3"/>
          <p:cNvSpPr txBox="1">
            <a:spLocks/>
          </p:cNvSpPr>
          <p:nvPr/>
        </p:nvSpPr>
        <p:spPr>
          <a:xfrm>
            <a:off x="7655247" y="5991170"/>
            <a:ext cx="822777" cy="357465"/>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24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时间</a:t>
            </a:r>
            <a:endParaRPr lang="en-GB" sz="24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grpSp>
        <p:nvGrpSpPr>
          <p:cNvPr id="5" name="Group 4"/>
          <p:cNvGrpSpPr/>
          <p:nvPr/>
        </p:nvGrpSpPr>
        <p:grpSpPr>
          <a:xfrm>
            <a:off x="449263" y="1601410"/>
            <a:ext cx="8231186" cy="4266551"/>
            <a:chOff x="449263" y="1465942"/>
            <a:chExt cx="8231186" cy="4266551"/>
          </a:xfrm>
        </p:grpSpPr>
        <p:cxnSp>
          <p:nvCxnSpPr>
            <p:cNvPr id="55" name="Straight Connector 54"/>
            <p:cNvCxnSpPr/>
            <p:nvPr/>
          </p:nvCxnSpPr>
          <p:spPr>
            <a:xfrm flipV="1">
              <a:off x="466515" y="1465942"/>
              <a:ext cx="1" cy="4266551"/>
            </a:xfrm>
            <a:prstGeom prst="line">
              <a:avLst/>
            </a:prstGeom>
            <a:ln w="38100" cap="flat">
              <a:solidFill>
                <a:srgbClr val="00B0F0"/>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49263" y="5715241"/>
              <a:ext cx="8231186" cy="0"/>
            </a:xfrm>
            <a:prstGeom prst="line">
              <a:avLst/>
            </a:prstGeom>
            <a:ln w="38100" cap="flat">
              <a:solidFill>
                <a:srgbClr val="00B0F0"/>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cxnSp>
        <p:nvCxnSpPr>
          <p:cNvPr id="93" name="Straight Connector 92"/>
          <p:cNvCxnSpPr/>
          <p:nvPr/>
        </p:nvCxnSpPr>
        <p:spPr>
          <a:xfrm flipV="1">
            <a:off x="2560917" y="4458700"/>
            <a:ext cx="0" cy="1270186"/>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2560917" y="4468857"/>
            <a:ext cx="2795285"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Title 3"/>
          <p:cNvSpPr txBox="1">
            <a:spLocks/>
          </p:cNvSpPr>
          <p:nvPr/>
        </p:nvSpPr>
        <p:spPr>
          <a:xfrm>
            <a:off x="916800" y="3630862"/>
            <a:ext cx="758355" cy="184666"/>
          </a:xfrm>
          <a:prstGeom prst="rect">
            <a:avLst/>
          </a:prstGeom>
          <a:noFill/>
          <a:effectLst>
            <a:softEdge rad="317500"/>
          </a:effectLst>
        </p:spPr>
        <p:txBody>
          <a:bodyPr wrap="square" lIns="0" tIns="0" rIns="0" bIns="0" anchor="t">
            <a:sp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chemeClr val="accent6">
                    <a:lumMod val="60000"/>
                    <a:lumOff val="40000"/>
                  </a:schemeClr>
                </a:solidFill>
                <a:latin typeface="SimSun" panose="02010600030101010101" pitchFamily="2" charset="-122"/>
                <a:ea typeface="SimSun" panose="02010600030101010101" pitchFamily="2" charset="-122"/>
                <a:cs typeface="MV Boli" panose="02000500030200090000" pitchFamily="2" charset="0"/>
              </a:rPr>
              <a:t>快速反馈</a:t>
            </a:r>
            <a:endParaRPr lang="en-GB" sz="1200" b="1" dirty="0">
              <a:solidFill>
                <a:schemeClr val="accent6">
                  <a:lumMod val="60000"/>
                  <a:lumOff val="40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98" name="Arc 97"/>
          <p:cNvSpPr/>
          <p:nvPr/>
        </p:nvSpPr>
        <p:spPr>
          <a:xfrm rot="17100000">
            <a:off x="1416341" y="3844386"/>
            <a:ext cx="1656391" cy="1656391"/>
          </a:xfrm>
          <a:prstGeom prst="arc">
            <a:avLst/>
          </a:prstGeom>
          <a:noFill/>
          <a:ln w="28575">
            <a:solidFill>
              <a:schemeClr val="accent1">
                <a:lumMod val="60000"/>
                <a:lumOff val="4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900">
              <a:solidFill>
                <a:srgbClr val="0070C0"/>
              </a:solidFill>
            </a:endParaRPr>
          </a:p>
        </p:txBody>
      </p:sp>
      <p:cxnSp>
        <p:nvCxnSpPr>
          <p:cNvPr id="167" name="Straight Connector 166"/>
          <p:cNvCxnSpPr/>
          <p:nvPr/>
        </p:nvCxnSpPr>
        <p:spPr>
          <a:xfrm flipV="1">
            <a:off x="5356202" y="3207629"/>
            <a:ext cx="0" cy="1270186"/>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5341088" y="3207629"/>
            <a:ext cx="3309664" cy="0"/>
          </a:xfrm>
          <a:prstGeom prst="line">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5" name="Title 3"/>
          <p:cNvSpPr txBox="1">
            <a:spLocks/>
          </p:cNvSpPr>
          <p:nvPr/>
        </p:nvSpPr>
        <p:spPr>
          <a:xfrm>
            <a:off x="3725990" y="2333952"/>
            <a:ext cx="758355" cy="184666"/>
          </a:xfrm>
          <a:prstGeom prst="rect">
            <a:avLst/>
          </a:prstGeom>
          <a:noFill/>
          <a:effectLst>
            <a:softEdge rad="317500"/>
          </a:effectLst>
        </p:spPr>
        <p:txBody>
          <a:bodyPr wrap="square" lIns="0" tIns="0" rIns="0" bIns="0" anchor="t">
            <a:sp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chemeClr val="accent6">
                    <a:lumMod val="60000"/>
                    <a:lumOff val="40000"/>
                  </a:schemeClr>
                </a:solidFill>
                <a:latin typeface="SimSun" panose="02010600030101010101" pitchFamily="2" charset="-122"/>
                <a:ea typeface="SimSun" panose="02010600030101010101" pitchFamily="2" charset="-122"/>
                <a:cs typeface="MV Boli" panose="02000500030200090000" pitchFamily="2" charset="0"/>
              </a:rPr>
              <a:t>快速反馈</a:t>
            </a:r>
            <a:endParaRPr lang="en-GB" sz="1200" b="1" dirty="0">
              <a:solidFill>
                <a:schemeClr val="accent6">
                  <a:lumMod val="60000"/>
                  <a:lumOff val="40000"/>
                </a:schemeClr>
              </a:solidFill>
              <a:latin typeface="SimSun" panose="02010600030101010101" pitchFamily="2" charset="-122"/>
              <a:ea typeface="SimSun" panose="02010600030101010101" pitchFamily="2" charset="-122"/>
              <a:cs typeface="MV Boli" panose="02000500030200090000" pitchFamily="2" charset="0"/>
            </a:endParaRPr>
          </a:p>
        </p:txBody>
      </p:sp>
      <p:sp>
        <p:nvSpPr>
          <p:cNvPr id="266" name="Arc 265"/>
          <p:cNvSpPr/>
          <p:nvPr/>
        </p:nvSpPr>
        <p:spPr>
          <a:xfrm rot="17100000">
            <a:off x="4225531" y="2547476"/>
            <a:ext cx="1656391" cy="1656391"/>
          </a:xfrm>
          <a:prstGeom prst="arc">
            <a:avLst/>
          </a:prstGeom>
          <a:ln w="28575">
            <a:solidFill>
              <a:schemeClr val="accent6">
                <a:lumMod val="60000"/>
                <a:lumOff val="4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900">
              <a:solidFill>
                <a:schemeClr val="bg1"/>
              </a:solidFill>
            </a:endParaRPr>
          </a:p>
        </p:txBody>
      </p:sp>
      <p:grpSp>
        <p:nvGrpSpPr>
          <p:cNvPr id="143" name="Group 142"/>
          <p:cNvGrpSpPr/>
          <p:nvPr/>
        </p:nvGrpSpPr>
        <p:grpSpPr>
          <a:xfrm>
            <a:off x="4031288" y="3574224"/>
            <a:ext cx="226553" cy="365469"/>
            <a:chOff x="5506605" y="4396251"/>
            <a:chExt cx="288947" cy="466121"/>
          </a:xfrm>
        </p:grpSpPr>
        <p:sp>
          <p:nvSpPr>
            <p:cNvPr id="146" name="Freeform 8"/>
            <p:cNvSpPr>
              <a:spLocks noEditPoints="1"/>
            </p:cNvSpPr>
            <p:nvPr/>
          </p:nvSpPr>
          <p:spPr bwMode="auto">
            <a:xfrm>
              <a:off x="5510767" y="4765462"/>
              <a:ext cx="279434" cy="96910"/>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147" name="Freeform 9"/>
            <p:cNvSpPr>
              <a:spLocks noEditPoints="1"/>
            </p:cNvSpPr>
            <p:nvPr/>
          </p:nvSpPr>
          <p:spPr bwMode="auto">
            <a:xfrm>
              <a:off x="5514929" y="4698278"/>
              <a:ext cx="280623" cy="99883"/>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148" name="Freeform 10"/>
            <p:cNvSpPr>
              <a:spLocks noEditPoints="1"/>
            </p:cNvSpPr>
            <p:nvPr/>
          </p:nvSpPr>
          <p:spPr bwMode="auto">
            <a:xfrm>
              <a:off x="5506605" y="4637635"/>
              <a:ext cx="279434" cy="9572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149" name="Freeform 11"/>
            <p:cNvSpPr>
              <a:spLocks noEditPoints="1"/>
            </p:cNvSpPr>
            <p:nvPr/>
          </p:nvSpPr>
          <p:spPr bwMode="auto">
            <a:xfrm>
              <a:off x="5510767" y="4573425"/>
              <a:ext cx="279434" cy="96910"/>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150" name="Freeform 12"/>
            <p:cNvSpPr>
              <a:spLocks noEditPoints="1"/>
            </p:cNvSpPr>
            <p:nvPr/>
          </p:nvSpPr>
          <p:spPr bwMode="auto">
            <a:xfrm>
              <a:off x="5514929" y="4511592"/>
              <a:ext cx="280623" cy="9393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151" name="Freeform 13"/>
            <p:cNvSpPr>
              <a:spLocks noEditPoints="1"/>
            </p:cNvSpPr>
            <p:nvPr/>
          </p:nvSpPr>
          <p:spPr bwMode="auto">
            <a:xfrm>
              <a:off x="5510767" y="4396251"/>
              <a:ext cx="279434" cy="144474"/>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grpSp>
      <p:grpSp>
        <p:nvGrpSpPr>
          <p:cNvPr id="428" name="Group 427"/>
          <p:cNvGrpSpPr/>
          <p:nvPr/>
        </p:nvGrpSpPr>
        <p:grpSpPr>
          <a:xfrm>
            <a:off x="4338687" y="3574224"/>
            <a:ext cx="226553" cy="365469"/>
            <a:chOff x="5506605" y="4396251"/>
            <a:chExt cx="288947" cy="466121"/>
          </a:xfrm>
        </p:grpSpPr>
        <p:sp>
          <p:nvSpPr>
            <p:cNvPr id="429" name="Freeform 8"/>
            <p:cNvSpPr>
              <a:spLocks noEditPoints="1"/>
            </p:cNvSpPr>
            <p:nvPr/>
          </p:nvSpPr>
          <p:spPr bwMode="auto">
            <a:xfrm>
              <a:off x="5510767" y="4765462"/>
              <a:ext cx="279434" cy="96910"/>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0" name="Freeform 9"/>
            <p:cNvSpPr>
              <a:spLocks noEditPoints="1"/>
            </p:cNvSpPr>
            <p:nvPr/>
          </p:nvSpPr>
          <p:spPr bwMode="auto">
            <a:xfrm>
              <a:off x="5514929" y="4698278"/>
              <a:ext cx="280623" cy="99883"/>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1" name="Freeform 10"/>
            <p:cNvSpPr>
              <a:spLocks noEditPoints="1"/>
            </p:cNvSpPr>
            <p:nvPr/>
          </p:nvSpPr>
          <p:spPr bwMode="auto">
            <a:xfrm>
              <a:off x="5506605" y="4637635"/>
              <a:ext cx="279434" cy="9572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2" name="Freeform 11"/>
            <p:cNvSpPr>
              <a:spLocks noEditPoints="1"/>
            </p:cNvSpPr>
            <p:nvPr/>
          </p:nvSpPr>
          <p:spPr bwMode="auto">
            <a:xfrm>
              <a:off x="5510767" y="4573425"/>
              <a:ext cx="279434" cy="96910"/>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3" name="Freeform 12"/>
            <p:cNvSpPr>
              <a:spLocks noEditPoints="1"/>
            </p:cNvSpPr>
            <p:nvPr/>
          </p:nvSpPr>
          <p:spPr bwMode="auto">
            <a:xfrm>
              <a:off x="5514929" y="4511592"/>
              <a:ext cx="280623" cy="9393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4" name="Freeform 13"/>
            <p:cNvSpPr>
              <a:spLocks noEditPoints="1"/>
            </p:cNvSpPr>
            <p:nvPr/>
          </p:nvSpPr>
          <p:spPr bwMode="auto">
            <a:xfrm>
              <a:off x="5510767" y="4396251"/>
              <a:ext cx="279434" cy="144474"/>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grpSp>
      <p:grpSp>
        <p:nvGrpSpPr>
          <p:cNvPr id="435" name="Group 434"/>
          <p:cNvGrpSpPr/>
          <p:nvPr/>
        </p:nvGrpSpPr>
        <p:grpSpPr>
          <a:xfrm>
            <a:off x="4644804" y="3574224"/>
            <a:ext cx="226553" cy="365469"/>
            <a:chOff x="5506605" y="4396251"/>
            <a:chExt cx="288947" cy="466121"/>
          </a:xfrm>
        </p:grpSpPr>
        <p:sp>
          <p:nvSpPr>
            <p:cNvPr id="436" name="Freeform 8"/>
            <p:cNvSpPr>
              <a:spLocks noEditPoints="1"/>
            </p:cNvSpPr>
            <p:nvPr/>
          </p:nvSpPr>
          <p:spPr bwMode="auto">
            <a:xfrm>
              <a:off x="5510767" y="4765462"/>
              <a:ext cx="279434" cy="96910"/>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7" name="Freeform 9"/>
            <p:cNvSpPr>
              <a:spLocks noEditPoints="1"/>
            </p:cNvSpPr>
            <p:nvPr/>
          </p:nvSpPr>
          <p:spPr bwMode="auto">
            <a:xfrm>
              <a:off x="5514929" y="4698278"/>
              <a:ext cx="280623" cy="99883"/>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8" name="Freeform 10"/>
            <p:cNvSpPr>
              <a:spLocks noEditPoints="1"/>
            </p:cNvSpPr>
            <p:nvPr/>
          </p:nvSpPr>
          <p:spPr bwMode="auto">
            <a:xfrm>
              <a:off x="5506605" y="4637635"/>
              <a:ext cx="279434" cy="9572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39" name="Freeform 11"/>
            <p:cNvSpPr>
              <a:spLocks noEditPoints="1"/>
            </p:cNvSpPr>
            <p:nvPr/>
          </p:nvSpPr>
          <p:spPr bwMode="auto">
            <a:xfrm>
              <a:off x="5510767" y="4573425"/>
              <a:ext cx="279434" cy="96910"/>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0" name="Freeform 12"/>
            <p:cNvSpPr>
              <a:spLocks noEditPoints="1"/>
            </p:cNvSpPr>
            <p:nvPr/>
          </p:nvSpPr>
          <p:spPr bwMode="auto">
            <a:xfrm>
              <a:off x="5514929" y="4511592"/>
              <a:ext cx="280623" cy="9393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1" name="Freeform 13"/>
            <p:cNvSpPr>
              <a:spLocks noEditPoints="1"/>
            </p:cNvSpPr>
            <p:nvPr/>
          </p:nvSpPr>
          <p:spPr bwMode="auto">
            <a:xfrm>
              <a:off x="5510767" y="4396251"/>
              <a:ext cx="279434" cy="144474"/>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grpSp>
      <p:grpSp>
        <p:nvGrpSpPr>
          <p:cNvPr id="442" name="Group 441"/>
          <p:cNvGrpSpPr/>
          <p:nvPr/>
        </p:nvGrpSpPr>
        <p:grpSpPr>
          <a:xfrm>
            <a:off x="4949844" y="3574224"/>
            <a:ext cx="226553" cy="365469"/>
            <a:chOff x="5506605" y="4396251"/>
            <a:chExt cx="288947" cy="466121"/>
          </a:xfrm>
        </p:grpSpPr>
        <p:sp>
          <p:nvSpPr>
            <p:cNvPr id="443" name="Freeform 8"/>
            <p:cNvSpPr>
              <a:spLocks noEditPoints="1"/>
            </p:cNvSpPr>
            <p:nvPr/>
          </p:nvSpPr>
          <p:spPr bwMode="auto">
            <a:xfrm>
              <a:off x="5510767" y="4765462"/>
              <a:ext cx="279434" cy="96910"/>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4" name="Freeform 9"/>
            <p:cNvSpPr>
              <a:spLocks noEditPoints="1"/>
            </p:cNvSpPr>
            <p:nvPr/>
          </p:nvSpPr>
          <p:spPr bwMode="auto">
            <a:xfrm>
              <a:off x="5514929" y="4698278"/>
              <a:ext cx="280623" cy="99883"/>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5" name="Freeform 10"/>
            <p:cNvSpPr>
              <a:spLocks noEditPoints="1"/>
            </p:cNvSpPr>
            <p:nvPr/>
          </p:nvSpPr>
          <p:spPr bwMode="auto">
            <a:xfrm>
              <a:off x="5506605" y="4637635"/>
              <a:ext cx="279434" cy="9572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6" name="Freeform 11"/>
            <p:cNvSpPr>
              <a:spLocks noEditPoints="1"/>
            </p:cNvSpPr>
            <p:nvPr/>
          </p:nvSpPr>
          <p:spPr bwMode="auto">
            <a:xfrm>
              <a:off x="5510767" y="4573425"/>
              <a:ext cx="279434" cy="96910"/>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7" name="Freeform 12"/>
            <p:cNvSpPr>
              <a:spLocks noEditPoints="1"/>
            </p:cNvSpPr>
            <p:nvPr/>
          </p:nvSpPr>
          <p:spPr bwMode="auto">
            <a:xfrm>
              <a:off x="5514929" y="4511592"/>
              <a:ext cx="280623" cy="9393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sp>
          <p:nvSpPr>
            <p:cNvPr id="448" name="Freeform 13"/>
            <p:cNvSpPr>
              <a:spLocks noEditPoints="1"/>
            </p:cNvSpPr>
            <p:nvPr/>
          </p:nvSpPr>
          <p:spPr bwMode="auto">
            <a:xfrm>
              <a:off x="5510767" y="4396251"/>
              <a:ext cx="279434" cy="144474"/>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AU" sz="1050"/>
            </a:p>
          </p:txBody>
        </p:sp>
      </p:grpSp>
      <p:sp>
        <p:nvSpPr>
          <p:cNvPr id="3" name="Footer Placeholder 2"/>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163" name="Rectangle 162"/>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2260626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50"/>
                                        <p:tgtEl>
                                          <p:spTgt spid="50"/>
                                        </p:tgtEl>
                                      </p:cBhvr>
                                    </p:animEffect>
                                  </p:childTnLst>
                                </p:cTn>
                              </p:par>
                              <p:par>
                                <p:cTn id="8" presetID="42" presetClass="path" presetSubtype="0" decel="100000" fill="hold" nodeType="withEffect">
                                  <p:stCondLst>
                                    <p:cond delay="0"/>
                                  </p:stCondLst>
                                  <p:childTnLst>
                                    <p:animMotion origin="layout" path="M -1.11111E-6 2.02715E-6 L -1.11111E-6 0.14378 " pathEditMode="relative" rAng="0" ptsTypes="AA">
                                      <p:cBhvr>
                                        <p:cTn id="9" dur="500" spd="-100000" fill="hold"/>
                                        <p:tgtEl>
                                          <p:spTgt spid="50"/>
                                        </p:tgtEl>
                                        <p:attrNameLst>
                                          <p:attrName>ppt_x</p:attrName>
                                          <p:attrName>ppt_y</p:attrName>
                                        </p:attrNameLst>
                                      </p:cBhvr>
                                      <p:rCtr x="0" y="7189"/>
                                    </p:animMotion>
                                  </p:childTnLst>
                                </p:cTn>
                              </p:par>
                              <p:par>
                                <p:cTn id="10" presetID="10" presetClass="exit" presetSubtype="0" fill="hold" nodeType="withEffect">
                                  <p:stCondLst>
                                    <p:cond delay="750"/>
                                  </p:stCondLst>
                                  <p:childTnLst>
                                    <p:animEffect transition="out" filter="fade">
                                      <p:cBhvr>
                                        <p:cTn id="11" dur="750"/>
                                        <p:tgtEl>
                                          <p:spTgt spid="50"/>
                                        </p:tgtEl>
                                      </p:cBhvr>
                                    </p:animEffect>
                                    <p:set>
                                      <p:cBhvr>
                                        <p:cTn id="12" dur="1" fill="hold">
                                          <p:stCondLst>
                                            <p:cond delay="749"/>
                                          </p:stCondLst>
                                        </p:cTn>
                                        <p:tgtEl>
                                          <p:spTgt spid="50"/>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250"/>
                                        <p:tgtEl>
                                          <p:spTgt spid="51"/>
                                        </p:tgtEl>
                                      </p:cBhvr>
                                    </p:animEffect>
                                  </p:childTnLst>
                                </p:cTn>
                              </p:par>
                              <p:par>
                                <p:cTn id="16" presetID="63" presetClass="path" presetSubtype="0" decel="100000" fill="hold" nodeType="withEffect">
                                  <p:stCondLst>
                                    <p:cond delay="0"/>
                                  </p:stCondLst>
                                  <p:childTnLst>
                                    <p:animMotion origin="layout" path="M -0.08924 -4.47701E-6 L 4.16667E-6 -4.47701E-6 " pathEditMode="relative" rAng="0" ptsTypes="AA">
                                      <p:cBhvr>
                                        <p:cTn id="17" dur="500" fill="hold"/>
                                        <p:tgtEl>
                                          <p:spTgt spid="51"/>
                                        </p:tgtEl>
                                        <p:attrNameLst>
                                          <p:attrName>ppt_x</p:attrName>
                                          <p:attrName>ppt_y</p:attrName>
                                        </p:attrNameLst>
                                      </p:cBhvr>
                                      <p:rCtr x="4462" y="0"/>
                                    </p:animMotion>
                                  </p:childTnLst>
                                </p:cTn>
                              </p:par>
                              <p:par>
                                <p:cTn id="18" presetID="10" presetClass="exit" presetSubtype="0" fill="hold" nodeType="withEffect">
                                  <p:stCondLst>
                                    <p:cond delay="750"/>
                                  </p:stCondLst>
                                  <p:childTnLst>
                                    <p:animEffect transition="out" filter="fade">
                                      <p:cBhvr>
                                        <p:cTn id="19" dur="750"/>
                                        <p:tgtEl>
                                          <p:spTgt spid="51"/>
                                        </p:tgtEl>
                                      </p:cBhvr>
                                    </p:animEffect>
                                    <p:set>
                                      <p:cBhvr>
                                        <p:cTn id="20" dur="1" fill="hold">
                                          <p:stCondLst>
                                            <p:cond delay="749"/>
                                          </p:stCondLst>
                                        </p:cTn>
                                        <p:tgtEl>
                                          <p:spTgt spid="51"/>
                                        </p:tgtEl>
                                        <p:attrNameLst>
                                          <p:attrName>style.visibility</p:attrName>
                                        </p:attrNameLst>
                                      </p:cBhvr>
                                      <p:to>
                                        <p:strVal val="hidden"/>
                                      </p:to>
                                    </p:set>
                                  </p:childTnLst>
                                </p:cTn>
                              </p:par>
                              <p:par>
                                <p:cTn id="21" presetID="10" presetClass="entr" presetSubtype="0" fill="hold" nodeType="withEffect">
                                  <p:stCondLst>
                                    <p:cond delay="75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
                                        <p:tgtEl>
                                          <p:spTgt spid="5"/>
                                        </p:tgtEl>
                                      </p:cBhvr>
                                    </p:animEffect>
                                  </p:childTnLst>
                                </p:cTn>
                              </p:par>
                              <p:par>
                                <p:cTn id="24" presetID="53" presetClass="entr" presetSubtype="16" fill="hold" grpId="0" nodeType="withEffect">
                                  <p:stCondLst>
                                    <p:cond delay="250"/>
                                  </p:stCondLst>
                                  <p:childTnLst>
                                    <p:set>
                                      <p:cBhvr>
                                        <p:cTn id="25" dur="1" fill="hold">
                                          <p:stCondLst>
                                            <p:cond delay="0"/>
                                          </p:stCondLst>
                                        </p:cTn>
                                        <p:tgtEl>
                                          <p:spTgt spid="48"/>
                                        </p:tgtEl>
                                        <p:attrNameLst>
                                          <p:attrName>style.visibility</p:attrName>
                                        </p:attrNameLst>
                                      </p:cBhvr>
                                      <p:to>
                                        <p:strVal val="visible"/>
                                      </p:to>
                                    </p:set>
                                    <p:anim calcmode="lin" valueType="num">
                                      <p:cBhvr>
                                        <p:cTn id="26" dur="250" fill="hold"/>
                                        <p:tgtEl>
                                          <p:spTgt spid="48"/>
                                        </p:tgtEl>
                                        <p:attrNameLst>
                                          <p:attrName>ppt_w</p:attrName>
                                        </p:attrNameLst>
                                      </p:cBhvr>
                                      <p:tavLst>
                                        <p:tav tm="0">
                                          <p:val>
                                            <p:fltVal val="0"/>
                                          </p:val>
                                        </p:tav>
                                        <p:tav tm="100000">
                                          <p:val>
                                            <p:strVal val="#ppt_w"/>
                                          </p:val>
                                        </p:tav>
                                      </p:tavLst>
                                    </p:anim>
                                    <p:anim calcmode="lin" valueType="num">
                                      <p:cBhvr>
                                        <p:cTn id="27" dur="250" fill="hold"/>
                                        <p:tgtEl>
                                          <p:spTgt spid="48"/>
                                        </p:tgtEl>
                                        <p:attrNameLst>
                                          <p:attrName>ppt_h</p:attrName>
                                        </p:attrNameLst>
                                      </p:cBhvr>
                                      <p:tavLst>
                                        <p:tav tm="0">
                                          <p:val>
                                            <p:fltVal val="0"/>
                                          </p:val>
                                        </p:tav>
                                        <p:tav tm="100000">
                                          <p:val>
                                            <p:strVal val="#ppt_h"/>
                                          </p:val>
                                        </p:tav>
                                      </p:tavLst>
                                    </p:anim>
                                    <p:animEffect transition="in" filter="fade">
                                      <p:cBhvr>
                                        <p:cTn id="28" dur="250"/>
                                        <p:tgtEl>
                                          <p:spTgt spid="48"/>
                                        </p:tgtEl>
                                      </p:cBhvr>
                                    </p:animEffect>
                                  </p:childTnLst>
                                </p:cTn>
                              </p:par>
                              <p:par>
                                <p:cTn id="29" presetID="6" presetClass="emph" presetSubtype="0" autoRev="1" fill="hold" grpId="1" nodeType="withEffect">
                                  <p:stCondLst>
                                    <p:cond delay="500"/>
                                  </p:stCondLst>
                                  <p:childTnLst>
                                    <p:animScale>
                                      <p:cBhvr>
                                        <p:cTn id="30" dur="100" fill="hold"/>
                                        <p:tgtEl>
                                          <p:spTgt spid="48"/>
                                        </p:tgtEl>
                                      </p:cBhvr>
                                      <p:by x="110000" y="110000"/>
                                    </p:animScale>
                                  </p:childTnLst>
                                </p:cTn>
                              </p:par>
                              <p:par>
                                <p:cTn id="31" presetID="53" presetClass="entr" presetSubtype="16" fill="hold" grpId="0" nodeType="withEffect">
                                  <p:stCondLst>
                                    <p:cond delay="250"/>
                                  </p:stCondLst>
                                  <p:childTnLst>
                                    <p:set>
                                      <p:cBhvr>
                                        <p:cTn id="32" dur="1" fill="hold">
                                          <p:stCondLst>
                                            <p:cond delay="0"/>
                                          </p:stCondLst>
                                        </p:cTn>
                                        <p:tgtEl>
                                          <p:spTgt spid="96"/>
                                        </p:tgtEl>
                                        <p:attrNameLst>
                                          <p:attrName>style.visibility</p:attrName>
                                        </p:attrNameLst>
                                      </p:cBhvr>
                                      <p:to>
                                        <p:strVal val="visible"/>
                                      </p:to>
                                    </p:set>
                                    <p:anim calcmode="lin" valueType="num">
                                      <p:cBhvr>
                                        <p:cTn id="33" dur="250" fill="hold"/>
                                        <p:tgtEl>
                                          <p:spTgt spid="96"/>
                                        </p:tgtEl>
                                        <p:attrNameLst>
                                          <p:attrName>ppt_w</p:attrName>
                                        </p:attrNameLst>
                                      </p:cBhvr>
                                      <p:tavLst>
                                        <p:tav tm="0">
                                          <p:val>
                                            <p:fltVal val="0"/>
                                          </p:val>
                                        </p:tav>
                                        <p:tav tm="100000">
                                          <p:val>
                                            <p:strVal val="#ppt_w"/>
                                          </p:val>
                                        </p:tav>
                                      </p:tavLst>
                                    </p:anim>
                                    <p:anim calcmode="lin" valueType="num">
                                      <p:cBhvr>
                                        <p:cTn id="34" dur="250" fill="hold"/>
                                        <p:tgtEl>
                                          <p:spTgt spid="96"/>
                                        </p:tgtEl>
                                        <p:attrNameLst>
                                          <p:attrName>ppt_h</p:attrName>
                                        </p:attrNameLst>
                                      </p:cBhvr>
                                      <p:tavLst>
                                        <p:tav tm="0">
                                          <p:val>
                                            <p:fltVal val="0"/>
                                          </p:val>
                                        </p:tav>
                                        <p:tav tm="100000">
                                          <p:val>
                                            <p:strVal val="#ppt_h"/>
                                          </p:val>
                                        </p:tav>
                                      </p:tavLst>
                                    </p:anim>
                                    <p:animEffect transition="in" filter="fade">
                                      <p:cBhvr>
                                        <p:cTn id="35" dur="250"/>
                                        <p:tgtEl>
                                          <p:spTgt spid="96"/>
                                        </p:tgtEl>
                                      </p:cBhvr>
                                    </p:animEffect>
                                  </p:childTnLst>
                                </p:cTn>
                              </p:par>
                              <p:par>
                                <p:cTn id="36" presetID="6" presetClass="emph" presetSubtype="0" autoRev="1" fill="hold" grpId="1" nodeType="withEffect">
                                  <p:stCondLst>
                                    <p:cond delay="500"/>
                                  </p:stCondLst>
                                  <p:childTnLst>
                                    <p:animScale>
                                      <p:cBhvr>
                                        <p:cTn id="37" dur="100" fill="hold"/>
                                        <p:tgtEl>
                                          <p:spTgt spid="96"/>
                                        </p:tgtEl>
                                      </p:cBhvr>
                                      <p:by x="110000" y="110000"/>
                                    </p:animScale>
                                  </p:childTnLst>
                                </p:cTn>
                              </p:par>
                              <p:par>
                                <p:cTn id="38" presetID="22" presetClass="entr" presetSubtype="8" fill="hold" nodeType="withEffect">
                                  <p:stCondLst>
                                    <p:cond delay="1250"/>
                                  </p:stCondLst>
                                  <p:childTnLst>
                                    <p:set>
                                      <p:cBhvr>
                                        <p:cTn id="39" dur="1" fill="hold">
                                          <p:stCondLst>
                                            <p:cond delay="0"/>
                                          </p:stCondLst>
                                        </p:cTn>
                                        <p:tgtEl>
                                          <p:spTgt spid="92"/>
                                        </p:tgtEl>
                                        <p:attrNameLst>
                                          <p:attrName>style.visibility</p:attrName>
                                        </p:attrNameLst>
                                      </p:cBhvr>
                                      <p:to>
                                        <p:strVal val="visible"/>
                                      </p:to>
                                    </p:set>
                                    <p:animEffect transition="in" filter="wipe(left)">
                                      <p:cBhvr>
                                        <p:cTn id="40" dur="250"/>
                                        <p:tgtEl>
                                          <p:spTgt spid="92"/>
                                        </p:tgtEl>
                                      </p:cBhvr>
                                    </p:animEffect>
                                  </p:childTnLst>
                                </p:cTn>
                              </p:par>
                            </p:childTnLst>
                          </p:cTn>
                        </p:par>
                        <p:par>
                          <p:cTn id="41" fill="hold">
                            <p:stCondLst>
                              <p:cond delay="1500"/>
                            </p:stCondLst>
                            <p:childTnLst>
                              <p:par>
                                <p:cTn id="42" presetID="22" presetClass="entr" presetSubtype="4" fill="hold" nodeType="after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wipe(down)">
                                      <p:cBhvr>
                                        <p:cTn id="44" dur="250"/>
                                        <p:tgtEl>
                                          <p:spTgt spid="93"/>
                                        </p:tgtEl>
                                      </p:cBhvr>
                                    </p:animEffect>
                                  </p:childTnLst>
                                </p:cTn>
                              </p:par>
                            </p:childTnLst>
                          </p:cTn>
                        </p:par>
                        <p:par>
                          <p:cTn id="45" fill="hold">
                            <p:stCondLst>
                              <p:cond delay="1750"/>
                            </p:stCondLst>
                            <p:childTnLst>
                              <p:par>
                                <p:cTn id="46" presetID="22" presetClass="entr" presetSubtype="8" fill="hold" nodeType="afterEffect">
                                  <p:stCondLst>
                                    <p:cond delay="0"/>
                                  </p:stCondLst>
                                  <p:childTnLst>
                                    <p:set>
                                      <p:cBhvr>
                                        <p:cTn id="47" dur="1" fill="hold">
                                          <p:stCondLst>
                                            <p:cond delay="0"/>
                                          </p:stCondLst>
                                        </p:cTn>
                                        <p:tgtEl>
                                          <p:spTgt spid="94"/>
                                        </p:tgtEl>
                                        <p:attrNameLst>
                                          <p:attrName>style.visibility</p:attrName>
                                        </p:attrNameLst>
                                      </p:cBhvr>
                                      <p:to>
                                        <p:strVal val="visible"/>
                                      </p:to>
                                    </p:set>
                                    <p:animEffect transition="in" filter="wipe(left)">
                                      <p:cBhvr>
                                        <p:cTn id="48" dur="250"/>
                                        <p:tgtEl>
                                          <p:spTgt spid="94"/>
                                        </p:tgtEl>
                                      </p:cBhvr>
                                    </p:animEffect>
                                  </p:childTnLst>
                                </p:cTn>
                              </p:par>
                            </p:childTnLst>
                          </p:cTn>
                        </p:par>
                        <p:par>
                          <p:cTn id="49" fill="hold">
                            <p:stCondLst>
                              <p:cond delay="2000"/>
                            </p:stCondLst>
                            <p:childTnLst>
                              <p:par>
                                <p:cTn id="50" presetID="22" presetClass="entr" presetSubtype="4" fill="hold" nodeType="afterEffect">
                                  <p:stCondLst>
                                    <p:cond delay="0"/>
                                  </p:stCondLst>
                                  <p:childTnLst>
                                    <p:set>
                                      <p:cBhvr>
                                        <p:cTn id="51" dur="1" fill="hold">
                                          <p:stCondLst>
                                            <p:cond delay="0"/>
                                          </p:stCondLst>
                                        </p:cTn>
                                        <p:tgtEl>
                                          <p:spTgt spid="167"/>
                                        </p:tgtEl>
                                        <p:attrNameLst>
                                          <p:attrName>style.visibility</p:attrName>
                                        </p:attrNameLst>
                                      </p:cBhvr>
                                      <p:to>
                                        <p:strVal val="visible"/>
                                      </p:to>
                                    </p:set>
                                    <p:animEffect transition="in" filter="wipe(down)">
                                      <p:cBhvr>
                                        <p:cTn id="52" dur="250"/>
                                        <p:tgtEl>
                                          <p:spTgt spid="167"/>
                                        </p:tgtEl>
                                      </p:cBhvr>
                                    </p:animEffect>
                                  </p:childTnLst>
                                </p:cTn>
                              </p:par>
                            </p:childTnLst>
                          </p:cTn>
                        </p:par>
                        <p:par>
                          <p:cTn id="53" fill="hold">
                            <p:stCondLst>
                              <p:cond delay="2250"/>
                            </p:stCondLst>
                            <p:childTnLst>
                              <p:par>
                                <p:cTn id="54" presetID="22" presetClass="entr" presetSubtype="8" fill="hold" nodeType="afterEffect">
                                  <p:stCondLst>
                                    <p:cond delay="0"/>
                                  </p:stCondLst>
                                  <p:childTnLst>
                                    <p:set>
                                      <p:cBhvr>
                                        <p:cTn id="55" dur="1" fill="hold">
                                          <p:stCondLst>
                                            <p:cond delay="0"/>
                                          </p:stCondLst>
                                        </p:cTn>
                                        <p:tgtEl>
                                          <p:spTgt spid="168"/>
                                        </p:tgtEl>
                                        <p:attrNameLst>
                                          <p:attrName>style.visibility</p:attrName>
                                        </p:attrNameLst>
                                      </p:cBhvr>
                                      <p:to>
                                        <p:strVal val="visible"/>
                                      </p:to>
                                    </p:set>
                                    <p:animEffect transition="in" filter="wipe(left)">
                                      <p:cBhvr>
                                        <p:cTn id="56" dur="250"/>
                                        <p:tgtEl>
                                          <p:spTgt spid="168"/>
                                        </p:tgtEl>
                                      </p:cBhvr>
                                    </p:animEffect>
                                  </p:childTnLst>
                                </p:cTn>
                              </p:par>
                              <p:par>
                                <p:cTn id="57" presetID="10" presetClass="entr" presetSubtype="0" fill="hold" nodeType="with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500"/>
                                        <p:tgtEl>
                                          <p:spTgt spid="9"/>
                                        </p:tgtEl>
                                      </p:cBhvr>
                                    </p:animEffect>
                                  </p:childTnLst>
                                </p:cTn>
                              </p:par>
                            </p:childTnLst>
                          </p:cTn>
                        </p:par>
                        <p:par>
                          <p:cTn id="60" fill="hold">
                            <p:stCondLst>
                              <p:cond delay="2750"/>
                            </p:stCondLst>
                            <p:childTnLst>
                              <p:par>
                                <p:cTn id="61" presetID="22" presetClass="entr" presetSubtype="4" fill="hold" grpId="0" nodeType="afterEffect">
                                  <p:stCondLst>
                                    <p:cond delay="0"/>
                                  </p:stCondLst>
                                  <p:childTnLst>
                                    <p:set>
                                      <p:cBhvr>
                                        <p:cTn id="62" dur="1" fill="hold">
                                          <p:stCondLst>
                                            <p:cond delay="0"/>
                                          </p:stCondLst>
                                        </p:cTn>
                                        <p:tgtEl>
                                          <p:spTgt spid="98"/>
                                        </p:tgtEl>
                                        <p:attrNameLst>
                                          <p:attrName>style.visibility</p:attrName>
                                        </p:attrNameLst>
                                      </p:cBhvr>
                                      <p:to>
                                        <p:strVal val="visible"/>
                                      </p:to>
                                    </p:set>
                                    <p:animEffect transition="in" filter="wipe(down)">
                                      <p:cBhvr>
                                        <p:cTn id="63" dur="250"/>
                                        <p:tgtEl>
                                          <p:spTgt spid="9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7"/>
                                        </p:tgtEl>
                                        <p:attrNameLst>
                                          <p:attrName>style.visibility</p:attrName>
                                        </p:attrNameLst>
                                      </p:cBhvr>
                                      <p:to>
                                        <p:strVal val="visible"/>
                                      </p:to>
                                    </p:set>
                                    <p:animEffect transition="in" filter="fade">
                                      <p:cBhvr>
                                        <p:cTn id="66" dur="500"/>
                                        <p:tgtEl>
                                          <p:spTgt spid="97"/>
                                        </p:tgtEl>
                                      </p:cBhvr>
                                    </p:animEffect>
                                  </p:childTnLst>
                                </p:cTn>
                              </p:par>
                              <p:par>
                                <p:cTn id="67" presetID="10" presetClass="entr" presetSubtype="0" fill="hold"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500"/>
                                        <p:tgtEl>
                                          <p:spTgt spid="22"/>
                                        </p:tgtEl>
                                      </p:cBhvr>
                                    </p:animEffect>
                                  </p:childTnLst>
                                </p:cTn>
                              </p:par>
                              <p:par>
                                <p:cTn id="70" presetID="10" presetClass="entr" presetSubtype="0" fill="hold" nodeType="withEffect">
                                  <p:stCondLst>
                                    <p:cond delay="0"/>
                                  </p:stCondLst>
                                  <p:childTnLst>
                                    <p:set>
                                      <p:cBhvr>
                                        <p:cTn id="71" dur="1" fill="hold">
                                          <p:stCondLst>
                                            <p:cond delay="0"/>
                                          </p:stCondLst>
                                        </p:cTn>
                                        <p:tgtEl>
                                          <p:spTgt spid="143"/>
                                        </p:tgtEl>
                                        <p:attrNameLst>
                                          <p:attrName>style.visibility</p:attrName>
                                        </p:attrNameLst>
                                      </p:cBhvr>
                                      <p:to>
                                        <p:strVal val="visible"/>
                                      </p:to>
                                    </p:set>
                                    <p:animEffect transition="in" filter="fade">
                                      <p:cBhvr>
                                        <p:cTn id="72" dur="500"/>
                                        <p:tgtEl>
                                          <p:spTgt spid="143"/>
                                        </p:tgtEl>
                                      </p:cBhvr>
                                    </p:animEffect>
                                  </p:childTnLst>
                                </p:cTn>
                              </p:par>
                              <p:par>
                                <p:cTn id="73" presetID="42" presetClass="path" presetSubtype="0" decel="100000" fill="hold" nodeType="withEffect">
                                  <p:stCondLst>
                                    <p:cond delay="0"/>
                                  </p:stCondLst>
                                  <p:childTnLst>
                                    <p:animMotion origin="layout" path="M -1.11111E-6 2.02715E-6 L -1.11111E-6 0.14378 " pathEditMode="relative" rAng="0" ptsTypes="AA">
                                      <p:cBhvr>
                                        <p:cTn id="74" dur="750" spd="-100000" fill="hold"/>
                                        <p:tgtEl>
                                          <p:spTgt spid="143"/>
                                        </p:tgtEl>
                                        <p:attrNameLst>
                                          <p:attrName>ppt_x</p:attrName>
                                          <p:attrName>ppt_y</p:attrName>
                                        </p:attrNameLst>
                                      </p:cBhvr>
                                      <p:rCtr x="0" y="7189"/>
                                    </p:animMotion>
                                  </p:childTnLst>
                                </p:cTn>
                              </p:par>
                              <p:par>
                                <p:cTn id="75" presetID="10" presetClass="entr" presetSubtype="0" fill="hold" nodeType="withEffect">
                                  <p:stCondLst>
                                    <p:cond delay="100"/>
                                  </p:stCondLst>
                                  <p:childTnLst>
                                    <p:set>
                                      <p:cBhvr>
                                        <p:cTn id="76" dur="1" fill="hold">
                                          <p:stCondLst>
                                            <p:cond delay="0"/>
                                          </p:stCondLst>
                                        </p:cTn>
                                        <p:tgtEl>
                                          <p:spTgt spid="428"/>
                                        </p:tgtEl>
                                        <p:attrNameLst>
                                          <p:attrName>style.visibility</p:attrName>
                                        </p:attrNameLst>
                                      </p:cBhvr>
                                      <p:to>
                                        <p:strVal val="visible"/>
                                      </p:to>
                                    </p:set>
                                    <p:animEffect transition="in" filter="fade">
                                      <p:cBhvr>
                                        <p:cTn id="77" dur="500"/>
                                        <p:tgtEl>
                                          <p:spTgt spid="428"/>
                                        </p:tgtEl>
                                      </p:cBhvr>
                                    </p:animEffect>
                                  </p:childTnLst>
                                </p:cTn>
                              </p:par>
                              <p:par>
                                <p:cTn id="78" presetID="42" presetClass="path" presetSubtype="0" decel="100000" fill="hold" nodeType="withEffect">
                                  <p:stCondLst>
                                    <p:cond delay="100"/>
                                  </p:stCondLst>
                                  <p:childTnLst>
                                    <p:animMotion origin="layout" path="M -1.11111E-6 2.02715E-6 L -1.11111E-6 0.14378 " pathEditMode="relative" rAng="0" ptsTypes="AA">
                                      <p:cBhvr>
                                        <p:cTn id="79" dur="750" spd="-100000" fill="hold"/>
                                        <p:tgtEl>
                                          <p:spTgt spid="428"/>
                                        </p:tgtEl>
                                        <p:attrNameLst>
                                          <p:attrName>ppt_x</p:attrName>
                                          <p:attrName>ppt_y</p:attrName>
                                        </p:attrNameLst>
                                      </p:cBhvr>
                                      <p:rCtr x="0" y="7189"/>
                                    </p:animMotion>
                                  </p:childTnLst>
                                </p:cTn>
                              </p:par>
                              <p:par>
                                <p:cTn id="80" presetID="10" presetClass="entr" presetSubtype="0" fill="hold" nodeType="withEffect">
                                  <p:stCondLst>
                                    <p:cond delay="200"/>
                                  </p:stCondLst>
                                  <p:childTnLst>
                                    <p:set>
                                      <p:cBhvr>
                                        <p:cTn id="81" dur="1" fill="hold">
                                          <p:stCondLst>
                                            <p:cond delay="0"/>
                                          </p:stCondLst>
                                        </p:cTn>
                                        <p:tgtEl>
                                          <p:spTgt spid="435"/>
                                        </p:tgtEl>
                                        <p:attrNameLst>
                                          <p:attrName>style.visibility</p:attrName>
                                        </p:attrNameLst>
                                      </p:cBhvr>
                                      <p:to>
                                        <p:strVal val="visible"/>
                                      </p:to>
                                    </p:set>
                                    <p:animEffect transition="in" filter="fade">
                                      <p:cBhvr>
                                        <p:cTn id="82" dur="500"/>
                                        <p:tgtEl>
                                          <p:spTgt spid="435"/>
                                        </p:tgtEl>
                                      </p:cBhvr>
                                    </p:animEffect>
                                  </p:childTnLst>
                                </p:cTn>
                              </p:par>
                              <p:par>
                                <p:cTn id="83" presetID="42" presetClass="path" presetSubtype="0" decel="100000" fill="hold" nodeType="withEffect">
                                  <p:stCondLst>
                                    <p:cond delay="200"/>
                                  </p:stCondLst>
                                  <p:childTnLst>
                                    <p:animMotion origin="layout" path="M -1.11111E-6 2.02715E-6 L -1.11111E-6 0.14378 " pathEditMode="relative" rAng="0" ptsTypes="AA">
                                      <p:cBhvr>
                                        <p:cTn id="84" dur="750" spd="-100000" fill="hold"/>
                                        <p:tgtEl>
                                          <p:spTgt spid="435"/>
                                        </p:tgtEl>
                                        <p:attrNameLst>
                                          <p:attrName>ppt_x</p:attrName>
                                          <p:attrName>ppt_y</p:attrName>
                                        </p:attrNameLst>
                                      </p:cBhvr>
                                      <p:rCtr x="0" y="7189"/>
                                    </p:animMotion>
                                  </p:childTnLst>
                                </p:cTn>
                              </p:par>
                              <p:par>
                                <p:cTn id="85" presetID="10" presetClass="entr" presetSubtype="0" fill="hold" nodeType="withEffect">
                                  <p:stCondLst>
                                    <p:cond delay="300"/>
                                  </p:stCondLst>
                                  <p:childTnLst>
                                    <p:set>
                                      <p:cBhvr>
                                        <p:cTn id="86" dur="1" fill="hold">
                                          <p:stCondLst>
                                            <p:cond delay="0"/>
                                          </p:stCondLst>
                                        </p:cTn>
                                        <p:tgtEl>
                                          <p:spTgt spid="442"/>
                                        </p:tgtEl>
                                        <p:attrNameLst>
                                          <p:attrName>style.visibility</p:attrName>
                                        </p:attrNameLst>
                                      </p:cBhvr>
                                      <p:to>
                                        <p:strVal val="visible"/>
                                      </p:to>
                                    </p:set>
                                    <p:animEffect transition="in" filter="fade">
                                      <p:cBhvr>
                                        <p:cTn id="87" dur="500"/>
                                        <p:tgtEl>
                                          <p:spTgt spid="442"/>
                                        </p:tgtEl>
                                      </p:cBhvr>
                                    </p:animEffect>
                                  </p:childTnLst>
                                </p:cTn>
                              </p:par>
                              <p:par>
                                <p:cTn id="88" presetID="42" presetClass="path" presetSubtype="0" decel="100000" fill="hold" nodeType="withEffect">
                                  <p:stCondLst>
                                    <p:cond delay="300"/>
                                  </p:stCondLst>
                                  <p:childTnLst>
                                    <p:animMotion origin="layout" path="M -1.11111E-6 2.02715E-6 L -1.11111E-6 0.14378 " pathEditMode="relative" rAng="0" ptsTypes="AA">
                                      <p:cBhvr>
                                        <p:cTn id="89" dur="750" spd="-100000" fill="hold"/>
                                        <p:tgtEl>
                                          <p:spTgt spid="442"/>
                                        </p:tgtEl>
                                        <p:attrNameLst>
                                          <p:attrName>ppt_x</p:attrName>
                                          <p:attrName>ppt_y</p:attrName>
                                        </p:attrNameLst>
                                      </p:cBhvr>
                                      <p:rCtr x="0" y="7189"/>
                                    </p:animMotion>
                                  </p:childTnLst>
                                </p:cTn>
                              </p:par>
                            </p:childTnLst>
                          </p:cTn>
                        </p:par>
                        <p:par>
                          <p:cTn id="90" fill="hold">
                            <p:stCondLst>
                              <p:cond delay="3800"/>
                            </p:stCondLst>
                            <p:childTnLst>
                              <p:par>
                                <p:cTn id="91" presetID="22" presetClass="entr" presetSubtype="4" fill="hold" grpId="0" nodeType="afterEffect">
                                  <p:stCondLst>
                                    <p:cond delay="0"/>
                                  </p:stCondLst>
                                  <p:childTnLst>
                                    <p:set>
                                      <p:cBhvr>
                                        <p:cTn id="92" dur="1" fill="hold">
                                          <p:stCondLst>
                                            <p:cond delay="0"/>
                                          </p:stCondLst>
                                        </p:cTn>
                                        <p:tgtEl>
                                          <p:spTgt spid="266"/>
                                        </p:tgtEl>
                                        <p:attrNameLst>
                                          <p:attrName>style.visibility</p:attrName>
                                        </p:attrNameLst>
                                      </p:cBhvr>
                                      <p:to>
                                        <p:strVal val="visible"/>
                                      </p:to>
                                    </p:set>
                                    <p:animEffect transition="in" filter="wipe(down)">
                                      <p:cBhvr>
                                        <p:cTn id="93" dur="250"/>
                                        <p:tgtEl>
                                          <p:spTgt spid="26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65"/>
                                        </p:tgtEl>
                                        <p:attrNameLst>
                                          <p:attrName>style.visibility</p:attrName>
                                        </p:attrNameLst>
                                      </p:cBhvr>
                                      <p:to>
                                        <p:strVal val="visible"/>
                                      </p:to>
                                    </p:set>
                                    <p:animEffect transition="in" filter="fade">
                                      <p:cBhvr>
                                        <p:cTn id="96" dur="500"/>
                                        <p:tgtEl>
                                          <p:spTgt spid="265"/>
                                        </p:tgtEl>
                                      </p:cBhvr>
                                    </p:animEffect>
                                  </p:childTnLst>
                                </p:cTn>
                              </p:par>
                              <p:par>
                                <p:cTn id="97" presetID="10" presetClass="entr" presetSubtype="0" fill="hold" nodeType="withEffect">
                                  <p:stCondLst>
                                    <p:cond delay="0"/>
                                  </p:stCondLst>
                                  <p:childTnLst>
                                    <p:set>
                                      <p:cBhvr>
                                        <p:cTn id="98" dur="1" fill="hold">
                                          <p:stCondLst>
                                            <p:cond delay="0"/>
                                          </p:stCondLst>
                                        </p:cTn>
                                        <p:tgtEl>
                                          <p:spTgt spid="414"/>
                                        </p:tgtEl>
                                        <p:attrNameLst>
                                          <p:attrName>style.visibility</p:attrName>
                                        </p:attrNameLst>
                                      </p:cBhvr>
                                      <p:to>
                                        <p:strVal val="visible"/>
                                      </p:to>
                                    </p:set>
                                    <p:animEffect transition="in" filter="fade">
                                      <p:cBhvr>
                                        <p:cTn id="99" dur="500"/>
                                        <p:tgtEl>
                                          <p:spTgt spid="414"/>
                                        </p:tgtEl>
                                      </p:cBhvr>
                                    </p:animEffect>
                                  </p:childTnLst>
                                </p:cTn>
                              </p:par>
                            </p:childTnLst>
                          </p:cTn>
                        </p:par>
                        <p:par>
                          <p:cTn id="100" fill="hold">
                            <p:stCondLst>
                              <p:cond delay="4300"/>
                            </p:stCondLst>
                            <p:childTnLst>
                              <p:par>
                                <p:cTn id="101" presetID="10" presetClass="entr" presetSubtype="0" fill="hold" nodeType="afterEffect">
                                  <p:stCondLst>
                                    <p:cond delay="0"/>
                                  </p:stCondLst>
                                  <p:childTnLst>
                                    <p:set>
                                      <p:cBhvr>
                                        <p:cTn id="102" dur="1" fill="hold">
                                          <p:stCondLst>
                                            <p:cond delay="0"/>
                                          </p:stCondLst>
                                        </p:cTn>
                                        <p:tgtEl>
                                          <p:spTgt spid="11"/>
                                        </p:tgtEl>
                                        <p:attrNameLst>
                                          <p:attrName>style.visibility</p:attrName>
                                        </p:attrNameLst>
                                      </p:cBhvr>
                                      <p:to>
                                        <p:strVal val="visible"/>
                                      </p:to>
                                    </p:set>
                                    <p:animEffect transition="in" filter="fade">
                                      <p:cBhvr>
                                        <p:cTn id="103" dur="500"/>
                                        <p:tgtEl>
                                          <p:spTgt spid="11"/>
                                        </p:tgtEl>
                                      </p:cBhvr>
                                    </p:animEffect>
                                  </p:childTnLst>
                                </p:cTn>
                              </p:par>
                              <p:par>
                                <p:cTn id="104" presetID="42" presetClass="path" presetSubtype="0" decel="100000" fill="hold" nodeType="withEffect">
                                  <p:stCondLst>
                                    <p:cond delay="0"/>
                                  </p:stCondLst>
                                  <p:childTnLst>
                                    <p:animMotion origin="layout" path="M -1.11111E-6 2.02715E-6 L -1.11111E-6 0.14378 " pathEditMode="relative" rAng="0" ptsTypes="AA">
                                      <p:cBhvr>
                                        <p:cTn id="105" dur="750" spd="-100000" fill="hold"/>
                                        <p:tgtEl>
                                          <p:spTgt spid="11"/>
                                        </p:tgtEl>
                                        <p:attrNameLst>
                                          <p:attrName>ppt_x</p:attrName>
                                          <p:attrName>ppt_y</p:attrName>
                                        </p:attrNameLst>
                                      </p:cBhvr>
                                      <p:rCtr x="0" y="7189"/>
                                    </p:animMotion>
                                  </p:childTnLst>
                                </p:cTn>
                              </p:par>
                              <p:par>
                                <p:cTn id="106" presetID="10" presetClass="entr" presetSubtype="0" fill="hold" nodeType="withEffect">
                                  <p:stCondLst>
                                    <p:cond delay="100"/>
                                  </p:stCondLst>
                                  <p:childTnLst>
                                    <p:set>
                                      <p:cBhvr>
                                        <p:cTn id="107" dur="1" fill="hold">
                                          <p:stCondLst>
                                            <p:cond delay="0"/>
                                          </p:stCondLst>
                                        </p:cTn>
                                        <p:tgtEl>
                                          <p:spTgt spid="12"/>
                                        </p:tgtEl>
                                        <p:attrNameLst>
                                          <p:attrName>style.visibility</p:attrName>
                                        </p:attrNameLst>
                                      </p:cBhvr>
                                      <p:to>
                                        <p:strVal val="visible"/>
                                      </p:to>
                                    </p:set>
                                    <p:animEffect transition="in" filter="fade">
                                      <p:cBhvr>
                                        <p:cTn id="108" dur="500"/>
                                        <p:tgtEl>
                                          <p:spTgt spid="12"/>
                                        </p:tgtEl>
                                      </p:cBhvr>
                                    </p:animEffect>
                                  </p:childTnLst>
                                </p:cTn>
                              </p:par>
                              <p:par>
                                <p:cTn id="109" presetID="42" presetClass="path" presetSubtype="0" decel="100000" fill="hold" nodeType="withEffect">
                                  <p:stCondLst>
                                    <p:cond delay="100"/>
                                  </p:stCondLst>
                                  <p:childTnLst>
                                    <p:animMotion origin="layout" path="M -1.11111E-6 2.02715E-6 L -1.11111E-6 0.14378 " pathEditMode="relative" rAng="0" ptsTypes="AA">
                                      <p:cBhvr>
                                        <p:cTn id="110" dur="750" spd="-100000" fill="hold"/>
                                        <p:tgtEl>
                                          <p:spTgt spid="12"/>
                                        </p:tgtEl>
                                        <p:attrNameLst>
                                          <p:attrName>ppt_x</p:attrName>
                                          <p:attrName>ppt_y</p:attrName>
                                        </p:attrNameLst>
                                      </p:cBhvr>
                                      <p:rCtr x="0" y="7189"/>
                                    </p:animMotion>
                                  </p:childTnLst>
                                </p:cTn>
                              </p:par>
                              <p:par>
                                <p:cTn id="111" presetID="10" presetClass="entr" presetSubtype="0" fill="hold" nodeType="withEffect">
                                  <p:stCondLst>
                                    <p:cond delay="200"/>
                                  </p:stCondLst>
                                  <p:childTnLst>
                                    <p:set>
                                      <p:cBhvr>
                                        <p:cTn id="112" dur="1" fill="hold">
                                          <p:stCondLst>
                                            <p:cond delay="0"/>
                                          </p:stCondLst>
                                        </p:cTn>
                                        <p:tgtEl>
                                          <p:spTgt spid="13"/>
                                        </p:tgtEl>
                                        <p:attrNameLst>
                                          <p:attrName>style.visibility</p:attrName>
                                        </p:attrNameLst>
                                      </p:cBhvr>
                                      <p:to>
                                        <p:strVal val="visible"/>
                                      </p:to>
                                    </p:set>
                                    <p:animEffect transition="in" filter="fade">
                                      <p:cBhvr>
                                        <p:cTn id="113" dur="500"/>
                                        <p:tgtEl>
                                          <p:spTgt spid="13"/>
                                        </p:tgtEl>
                                      </p:cBhvr>
                                    </p:animEffect>
                                  </p:childTnLst>
                                </p:cTn>
                              </p:par>
                              <p:par>
                                <p:cTn id="114" presetID="42" presetClass="path" presetSubtype="0" decel="100000" fill="hold" nodeType="withEffect">
                                  <p:stCondLst>
                                    <p:cond delay="200"/>
                                  </p:stCondLst>
                                  <p:childTnLst>
                                    <p:animMotion origin="layout" path="M -1.11111E-6 2.02715E-6 L -1.11111E-6 0.14378 " pathEditMode="relative" rAng="0" ptsTypes="AA">
                                      <p:cBhvr>
                                        <p:cTn id="115" dur="750" spd="-100000" fill="hold"/>
                                        <p:tgtEl>
                                          <p:spTgt spid="13"/>
                                        </p:tgtEl>
                                        <p:attrNameLst>
                                          <p:attrName>ppt_x</p:attrName>
                                          <p:attrName>ppt_y</p:attrName>
                                        </p:attrNameLst>
                                      </p:cBhvr>
                                      <p:rCtr x="0" y="7189"/>
                                    </p:animMotion>
                                  </p:childTnLst>
                                </p:cTn>
                              </p:par>
                              <p:par>
                                <p:cTn id="116" presetID="10" presetClass="entr" presetSubtype="0" fill="hold" nodeType="withEffect">
                                  <p:stCondLst>
                                    <p:cond delay="300"/>
                                  </p:stCondLst>
                                  <p:childTnLst>
                                    <p:set>
                                      <p:cBhvr>
                                        <p:cTn id="117" dur="1" fill="hold">
                                          <p:stCondLst>
                                            <p:cond delay="0"/>
                                          </p:stCondLst>
                                        </p:cTn>
                                        <p:tgtEl>
                                          <p:spTgt spid="14"/>
                                        </p:tgtEl>
                                        <p:attrNameLst>
                                          <p:attrName>style.visibility</p:attrName>
                                        </p:attrNameLst>
                                      </p:cBhvr>
                                      <p:to>
                                        <p:strVal val="visible"/>
                                      </p:to>
                                    </p:set>
                                    <p:animEffect transition="in" filter="fade">
                                      <p:cBhvr>
                                        <p:cTn id="118" dur="500"/>
                                        <p:tgtEl>
                                          <p:spTgt spid="14"/>
                                        </p:tgtEl>
                                      </p:cBhvr>
                                    </p:animEffect>
                                  </p:childTnLst>
                                </p:cTn>
                              </p:par>
                              <p:par>
                                <p:cTn id="119" presetID="42" presetClass="path" presetSubtype="0" decel="100000" fill="hold" nodeType="withEffect">
                                  <p:stCondLst>
                                    <p:cond delay="300"/>
                                  </p:stCondLst>
                                  <p:childTnLst>
                                    <p:animMotion origin="layout" path="M -1.11111E-6 2.02715E-6 L -1.11111E-6 0.14378 " pathEditMode="relative" rAng="0" ptsTypes="AA">
                                      <p:cBhvr>
                                        <p:cTn id="120" dur="750" spd="-100000" fill="hold"/>
                                        <p:tgtEl>
                                          <p:spTgt spid="14"/>
                                        </p:tgtEl>
                                        <p:attrNameLst>
                                          <p:attrName>ppt_x</p:attrName>
                                          <p:attrName>ppt_y</p:attrName>
                                        </p:attrNameLst>
                                      </p:cBhvr>
                                      <p:rCtr x="0" y="718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P spid="96" grpId="0"/>
      <p:bldP spid="96" grpId="1"/>
      <p:bldP spid="97" grpId="0"/>
      <p:bldP spid="98" grpId="0" animBg="1"/>
      <p:bldP spid="265" grpId="0"/>
      <p:bldP spid="266"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42914" y="1371176"/>
            <a:ext cx="4003811" cy="2075335"/>
            <a:chOff x="442914" y="1055084"/>
            <a:chExt cx="4003811" cy="2075335"/>
          </a:xfrm>
        </p:grpSpPr>
        <p:cxnSp>
          <p:nvCxnSpPr>
            <p:cNvPr id="65" name="Straight Connector 64"/>
            <p:cNvCxnSpPr/>
            <p:nvPr/>
          </p:nvCxnSpPr>
          <p:spPr>
            <a:xfrm flipV="1">
              <a:off x="442914" y="1055084"/>
              <a:ext cx="0" cy="2075335"/>
            </a:xfrm>
            <a:prstGeom prst="line">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42914" y="3122176"/>
              <a:ext cx="4003811" cy="0"/>
            </a:xfrm>
            <a:prstGeom prst="line">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69" name="Straight Connector 68"/>
          <p:cNvCxnSpPr/>
          <p:nvPr/>
        </p:nvCxnSpPr>
        <p:spPr>
          <a:xfrm>
            <a:off x="1405510" y="2875795"/>
            <a:ext cx="142835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1409721" y="1885914"/>
            <a:ext cx="0" cy="994396"/>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584029" y="1891376"/>
            <a:ext cx="83099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2831754" y="2872569"/>
            <a:ext cx="0" cy="420047"/>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31612" y="3279603"/>
            <a:ext cx="142835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3054317" y="3939538"/>
            <a:ext cx="4003811" cy="2075335"/>
            <a:chOff x="4690902" y="1055084"/>
            <a:chExt cx="4003811" cy="2075335"/>
          </a:xfrm>
        </p:grpSpPr>
        <p:cxnSp>
          <p:nvCxnSpPr>
            <p:cNvPr id="108" name="Straight Connector 107"/>
            <p:cNvCxnSpPr/>
            <p:nvPr/>
          </p:nvCxnSpPr>
          <p:spPr>
            <a:xfrm flipV="1">
              <a:off x="4690902" y="1055084"/>
              <a:ext cx="0" cy="2075335"/>
            </a:xfrm>
            <a:prstGeom prst="line">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690902" y="3122176"/>
              <a:ext cx="4003811" cy="0"/>
            </a:xfrm>
            <a:prstGeom prst="line">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112" name="Straight Connector 111"/>
          <p:cNvCxnSpPr/>
          <p:nvPr/>
        </p:nvCxnSpPr>
        <p:spPr>
          <a:xfrm>
            <a:off x="4029613" y="5443660"/>
            <a:ext cx="142835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4030125" y="4454276"/>
            <a:ext cx="0" cy="994395"/>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3208132" y="4458137"/>
            <a:ext cx="83099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5455857" y="5437283"/>
            <a:ext cx="0" cy="420047"/>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5447542" y="5852491"/>
            <a:ext cx="142835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801211" y="1370407"/>
            <a:ext cx="4003811" cy="2075335"/>
            <a:chOff x="442914" y="3762439"/>
            <a:chExt cx="4003811" cy="2075335"/>
          </a:xfrm>
        </p:grpSpPr>
        <p:cxnSp>
          <p:nvCxnSpPr>
            <p:cNvPr id="141" name="Straight Connector 140"/>
            <p:cNvCxnSpPr/>
            <p:nvPr/>
          </p:nvCxnSpPr>
          <p:spPr>
            <a:xfrm flipV="1">
              <a:off x="442914" y="3762439"/>
              <a:ext cx="0" cy="2075335"/>
            </a:xfrm>
            <a:prstGeom prst="line">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42914" y="5823181"/>
              <a:ext cx="4003811" cy="0"/>
            </a:xfrm>
            <a:prstGeom prst="line">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596729" y="1502370"/>
            <a:ext cx="3760792" cy="2171600"/>
            <a:chOff x="596729" y="1186278"/>
            <a:chExt cx="3760792" cy="2171600"/>
          </a:xfrm>
        </p:grpSpPr>
        <p:sp>
          <p:nvSpPr>
            <p:cNvPr id="63" name="Title 3"/>
            <p:cNvSpPr txBox="1">
              <a:spLocks/>
            </p:cNvSpPr>
            <p:nvPr/>
          </p:nvSpPr>
          <p:spPr>
            <a:xfrm>
              <a:off x="596729" y="1186278"/>
              <a:ext cx="1543941" cy="145991"/>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变更的量</a:t>
              </a:r>
              <a:endParaRPr lang="en-GB" sz="12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sp>
          <p:nvSpPr>
            <p:cNvPr id="67" name="Title 3"/>
            <p:cNvSpPr txBox="1">
              <a:spLocks/>
            </p:cNvSpPr>
            <p:nvPr/>
          </p:nvSpPr>
          <p:spPr>
            <a:xfrm>
              <a:off x="3957306" y="3184000"/>
              <a:ext cx="400215" cy="173878"/>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时间</a:t>
              </a:r>
              <a:endParaRPr lang="en-GB" sz="12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grpSp>
      <p:grpSp>
        <p:nvGrpSpPr>
          <p:cNvPr id="14" name="Group 13"/>
          <p:cNvGrpSpPr/>
          <p:nvPr/>
        </p:nvGrpSpPr>
        <p:grpSpPr>
          <a:xfrm>
            <a:off x="3208132" y="4070732"/>
            <a:ext cx="3760791" cy="2171600"/>
            <a:chOff x="4844717" y="1186278"/>
            <a:chExt cx="3760791" cy="2171600"/>
          </a:xfrm>
        </p:grpSpPr>
        <p:sp>
          <p:nvSpPr>
            <p:cNvPr id="91" name="Title 3"/>
            <p:cNvSpPr txBox="1">
              <a:spLocks/>
            </p:cNvSpPr>
            <p:nvPr/>
          </p:nvSpPr>
          <p:spPr>
            <a:xfrm>
              <a:off x="4844717" y="1186278"/>
              <a:ext cx="1543941" cy="145991"/>
            </a:xfrm>
            <a:prstGeom prst="rect">
              <a:avLst/>
            </a:prstGeom>
            <a:noFill/>
            <a:ln w="19050">
              <a:solidFill>
                <a:schemeClr val="tx1"/>
              </a:solidFill>
            </a:ln>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交付中风险</a:t>
              </a:r>
              <a:endParaRPr lang="en-GB" sz="12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sp>
          <p:nvSpPr>
            <p:cNvPr id="110" name="Title 3"/>
            <p:cNvSpPr txBox="1">
              <a:spLocks/>
            </p:cNvSpPr>
            <p:nvPr/>
          </p:nvSpPr>
          <p:spPr>
            <a:xfrm>
              <a:off x="8205293" y="3184000"/>
              <a:ext cx="400215" cy="173878"/>
            </a:xfrm>
            <a:prstGeom prst="rect">
              <a:avLst/>
            </a:prstGeom>
            <a:noFill/>
            <a:ln w="19050">
              <a:solidFill>
                <a:schemeClr val="tx1"/>
              </a:solidFill>
            </a:ln>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时间</a:t>
              </a:r>
              <a:endParaRPr lang="en-GB" sz="12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grpSp>
      <p:grpSp>
        <p:nvGrpSpPr>
          <p:cNvPr id="15" name="Group 14"/>
          <p:cNvGrpSpPr/>
          <p:nvPr/>
        </p:nvGrpSpPr>
        <p:grpSpPr>
          <a:xfrm>
            <a:off x="4955026" y="1495251"/>
            <a:ext cx="3760792" cy="2171600"/>
            <a:chOff x="596729" y="3887283"/>
            <a:chExt cx="3760792" cy="2171600"/>
          </a:xfrm>
        </p:grpSpPr>
        <p:sp>
          <p:nvSpPr>
            <p:cNvPr id="139" name="Title 3"/>
            <p:cNvSpPr txBox="1">
              <a:spLocks/>
            </p:cNvSpPr>
            <p:nvPr/>
          </p:nvSpPr>
          <p:spPr>
            <a:xfrm>
              <a:off x="596729" y="3887283"/>
              <a:ext cx="1543941" cy="145991"/>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浪费</a:t>
              </a:r>
              <a:endParaRPr lang="en-GB" sz="12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sp>
          <p:nvSpPr>
            <p:cNvPr id="143" name="Title 3"/>
            <p:cNvSpPr txBox="1">
              <a:spLocks/>
            </p:cNvSpPr>
            <p:nvPr/>
          </p:nvSpPr>
          <p:spPr>
            <a:xfrm>
              <a:off x="3957306" y="5885005"/>
              <a:ext cx="400215" cy="173878"/>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zh-CN" altLang="en-US" sz="1200" b="1" dirty="0" smtClean="0">
                  <a:solidFill>
                    <a:srgbClr val="00B0F0"/>
                  </a:solidFill>
                  <a:latin typeface="SimSun" panose="02010600030101010101" pitchFamily="2" charset="-122"/>
                  <a:ea typeface="SimSun" panose="02010600030101010101" pitchFamily="2" charset="-122"/>
                  <a:cs typeface="MV Boli" panose="02000500030200090000" pitchFamily="2" charset="0"/>
                </a:rPr>
                <a:t>时间</a:t>
              </a:r>
              <a:endParaRPr lang="en-GB" sz="1200" b="1" dirty="0">
                <a:solidFill>
                  <a:srgbClr val="00B0F0"/>
                </a:solidFill>
                <a:latin typeface="SimSun" panose="02010600030101010101" pitchFamily="2" charset="-122"/>
                <a:ea typeface="SimSun" panose="02010600030101010101" pitchFamily="2" charset="-122"/>
                <a:cs typeface="MV Boli" panose="02000500030200090000" pitchFamily="2" charset="0"/>
              </a:endParaRPr>
            </a:p>
          </p:txBody>
        </p:sp>
      </p:grpSp>
      <p:cxnSp>
        <p:nvCxnSpPr>
          <p:cNvPr id="145" name="Straight Connector 144"/>
          <p:cNvCxnSpPr/>
          <p:nvPr/>
        </p:nvCxnSpPr>
        <p:spPr>
          <a:xfrm>
            <a:off x="5763807" y="2868676"/>
            <a:ext cx="142835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V="1">
            <a:off x="5768018" y="1878795"/>
            <a:ext cx="0" cy="994396"/>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4943372" y="1878795"/>
            <a:ext cx="83099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V="1">
            <a:off x="7190051" y="2859100"/>
            <a:ext cx="0" cy="420047"/>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7189909" y="3272484"/>
            <a:ext cx="142835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3830146" y="4318251"/>
            <a:ext cx="338494" cy="295674"/>
            <a:chOff x="6785894" y="2241002"/>
            <a:chExt cx="1607975" cy="1404564"/>
          </a:xfrm>
        </p:grpSpPr>
        <p:sp>
          <p:nvSpPr>
            <p:cNvPr id="50" name="Freeform 49"/>
            <p:cNvSpPr/>
            <p:nvPr/>
          </p:nvSpPr>
          <p:spPr>
            <a:xfrm>
              <a:off x="6874669" y="2307431"/>
              <a:ext cx="1421606" cy="1252538"/>
            </a:xfrm>
            <a:custGeom>
              <a:avLst/>
              <a:gdLst>
                <a:gd name="connsiteX0" fmla="*/ 250031 w 1421606"/>
                <a:gd name="connsiteY0" fmla="*/ 554832 h 1252538"/>
                <a:gd name="connsiteX1" fmla="*/ 250031 w 1421606"/>
                <a:gd name="connsiteY1" fmla="*/ 554832 h 1252538"/>
                <a:gd name="connsiteX2" fmla="*/ 157162 w 1421606"/>
                <a:gd name="connsiteY2" fmla="*/ 180975 h 1252538"/>
                <a:gd name="connsiteX3" fmla="*/ 442912 w 1421606"/>
                <a:gd name="connsiteY3" fmla="*/ 297657 h 1252538"/>
                <a:gd name="connsiteX4" fmla="*/ 538162 w 1421606"/>
                <a:gd name="connsiteY4" fmla="*/ 83344 h 1252538"/>
                <a:gd name="connsiteX5" fmla="*/ 742950 w 1421606"/>
                <a:gd name="connsiteY5" fmla="*/ 204788 h 1252538"/>
                <a:gd name="connsiteX6" fmla="*/ 983456 w 1421606"/>
                <a:gd name="connsiteY6" fmla="*/ 0 h 1252538"/>
                <a:gd name="connsiteX7" fmla="*/ 1000125 w 1421606"/>
                <a:gd name="connsiteY7" fmla="*/ 309563 h 1252538"/>
                <a:gd name="connsiteX8" fmla="*/ 1421606 w 1421606"/>
                <a:gd name="connsiteY8" fmla="*/ 235744 h 1252538"/>
                <a:gd name="connsiteX9" fmla="*/ 1107281 w 1421606"/>
                <a:gd name="connsiteY9" fmla="*/ 519113 h 1252538"/>
                <a:gd name="connsiteX10" fmla="*/ 1259681 w 1421606"/>
                <a:gd name="connsiteY10" fmla="*/ 631032 h 1252538"/>
                <a:gd name="connsiteX11" fmla="*/ 1092994 w 1421606"/>
                <a:gd name="connsiteY11" fmla="*/ 747713 h 1252538"/>
                <a:gd name="connsiteX12" fmla="*/ 1221581 w 1421606"/>
                <a:gd name="connsiteY12" fmla="*/ 1007269 h 1252538"/>
                <a:gd name="connsiteX13" fmla="*/ 904875 w 1421606"/>
                <a:gd name="connsiteY13" fmla="*/ 904875 h 1252538"/>
                <a:gd name="connsiteX14" fmla="*/ 878681 w 1421606"/>
                <a:gd name="connsiteY14" fmla="*/ 1054894 h 1252538"/>
                <a:gd name="connsiteX15" fmla="*/ 785812 w 1421606"/>
                <a:gd name="connsiteY15" fmla="*/ 1007269 h 1252538"/>
                <a:gd name="connsiteX16" fmla="*/ 721519 w 1421606"/>
                <a:gd name="connsiteY16" fmla="*/ 1209675 h 1252538"/>
                <a:gd name="connsiteX17" fmla="*/ 592931 w 1421606"/>
                <a:gd name="connsiteY17" fmla="*/ 1047750 h 1252538"/>
                <a:gd name="connsiteX18" fmla="*/ 326231 w 1421606"/>
                <a:gd name="connsiteY18" fmla="*/ 1252538 h 1252538"/>
                <a:gd name="connsiteX19" fmla="*/ 328612 w 1421606"/>
                <a:gd name="connsiteY19" fmla="*/ 985838 h 1252538"/>
                <a:gd name="connsiteX20" fmla="*/ 0 w 1421606"/>
                <a:gd name="connsiteY20" fmla="*/ 969169 h 1252538"/>
                <a:gd name="connsiteX21" fmla="*/ 207169 w 1421606"/>
                <a:gd name="connsiteY21" fmla="*/ 745332 h 1252538"/>
                <a:gd name="connsiteX22" fmla="*/ 59531 w 1421606"/>
                <a:gd name="connsiteY22" fmla="*/ 640557 h 1252538"/>
                <a:gd name="connsiteX23" fmla="*/ 250031 w 1421606"/>
                <a:gd name="connsiteY23" fmla="*/ 554832 h 12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21606" h="1252538">
                  <a:moveTo>
                    <a:pt x="250031" y="554832"/>
                  </a:moveTo>
                  <a:lnTo>
                    <a:pt x="250031" y="554832"/>
                  </a:lnTo>
                  <a:lnTo>
                    <a:pt x="157162" y="180975"/>
                  </a:lnTo>
                  <a:lnTo>
                    <a:pt x="442912" y="297657"/>
                  </a:lnTo>
                  <a:lnTo>
                    <a:pt x="538162" y="83344"/>
                  </a:lnTo>
                  <a:lnTo>
                    <a:pt x="742950" y="204788"/>
                  </a:lnTo>
                  <a:lnTo>
                    <a:pt x="983456" y="0"/>
                  </a:lnTo>
                  <a:lnTo>
                    <a:pt x="1000125" y="309563"/>
                  </a:lnTo>
                  <a:lnTo>
                    <a:pt x="1421606" y="235744"/>
                  </a:lnTo>
                  <a:lnTo>
                    <a:pt x="1107281" y="519113"/>
                  </a:lnTo>
                  <a:lnTo>
                    <a:pt x="1259681" y="631032"/>
                  </a:lnTo>
                  <a:lnTo>
                    <a:pt x="1092994" y="747713"/>
                  </a:lnTo>
                  <a:lnTo>
                    <a:pt x="1221581" y="1007269"/>
                  </a:lnTo>
                  <a:lnTo>
                    <a:pt x="904875" y="904875"/>
                  </a:lnTo>
                  <a:lnTo>
                    <a:pt x="878681" y="1054894"/>
                  </a:lnTo>
                  <a:lnTo>
                    <a:pt x="785812" y="1007269"/>
                  </a:lnTo>
                  <a:lnTo>
                    <a:pt x="721519" y="1209675"/>
                  </a:lnTo>
                  <a:lnTo>
                    <a:pt x="592931" y="1047750"/>
                  </a:lnTo>
                  <a:lnTo>
                    <a:pt x="326231" y="1252538"/>
                  </a:lnTo>
                  <a:cubicBezTo>
                    <a:pt x="327025" y="1163638"/>
                    <a:pt x="327818" y="1074738"/>
                    <a:pt x="328612" y="985838"/>
                  </a:cubicBezTo>
                  <a:lnTo>
                    <a:pt x="0" y="969169"/>
                  </a:lnTo>
                  <a:lnTo>
                    <a:pt x="207169" y="745332"/>
                  </a:lnTo>
                  <a:lnTo>
                    <a:pt x="59531" y="640557"/>
                  </a:lnTo>
                  <a:lnTo>
                    <a:pt x="250031" y="554832"/>
                  </a:lnTo>
                  <a:close/>
                </a:path>
              </a:pathLst>
            </a:custGeom>
            <a:solidFill>
              <a:srgbClr val="FFFF00"/>
            </a:solid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grpSp>
          <p:nvGrpSpPr>
            <p:cNvPr id="51" name="Group 5"/>
            <p:cNvGrpSpPr>
              <a:grpSpLocks noChangeAspect="1"/>
            </p:cNvGrpSpPr>
            <p:nvPr/>
          </p:nvGrpSpPr>
          <p:grpSpPr bwMode="auto">
            <a:xfrm>
              <a:off x="6785894" y="2241002"/>
              <a:ext cx="1607975" cy="1404564"/>
              <a:chOff x="2256" y="1614"/>
              <a:chExt cx="1249" cy="1091"/>
            </a:xfrm>
          </p:grpSpPr>
          <p:sp>
            <p:nvSpPr>
              <p:cNvPr id="52" name="Freeform 6"/>
              <p:cNvSpPr>
                <a:spLocks noEditPoints="1"/>
              </p:cNvSpPr>
              <p:nvPr/>
            </p:nvSpPr>
            <p:spPr bwMode="auto">
              <a:xfrm>
                <a:off x="2256" y="1614"/>
                <a:ext cx="1249" cy="1091"/>
              </a:xfrm>
              <a:custGeom>
                <a:avLst/>
                <a:gdLst>
                  <a:gd name="T0" fmla="*/ 124 w 529"/>
                  <a:gd name="T1" fmla="*/ 461 h 462"/>
                  <a:gd name="T2" fmla="*/ 122 w 529"/>
                  <a:gd name="T3" fmla="*/ 353 h 462"/>
                  <a:gd name="T4" fmla="*/ 2 w 529"/>
                  <a:gd name="T5" fmla="*/ 355 h 462"/>
                  <a:gd name="T6" fmla="*/ 75 w 529"/>
                  <a:gd name="T7" fmla="*/ 272 h 462"/>
                  <a:gd name="T8" fmla="*/ 21 w 529"/>
                  <a:gd name="T9" fmla="*/ 231 h 462"/>
                  <a:gd name="T10" fmla="*/ 95 w 529"/>
                  <a:gd name="T11" fmla="*/ 196 h 462"/>
                  <a:gd name="T12" fmla="*/ 73 w 529"/>
                  <a:gd name="T13" fmla="*/ 69 h 462"/>
                  <a:gd name="T14" fmla="*/ 167 w 529"/>
                  <a:gd name="T15" fmla="*/ 105 h 462"/>
                  <a:gd name="T16" fmla="*/ 197 w 529"/>
                  <a:gd name="T17" fmla="*/ 35 h 462"/>
                  <a:gd name="T18" fmla="*/ 268 w 529"/>
                  <a:gd name="T19" fmla="*/ 70 h 462"/>
                  <a:gd name="T20" fmla="*/ 361 w 529"/>
                  <a:gd name="T21" fmla="*/ 2 h 462"/>
                  <a:gd name="T22" fmla="*/ 371 w 529"/>
                  <a:gd name="T23" fmla="*/ 100 h 462"/>
                  <a:gd name="T24" fmla="*/ 527 w 529"/>
                  <a:gd name="T25" fmla="*/ 92 h 462"/>
                  <a:gd name="T26" fmla="*/ 413 w 529"/>
                  <a:gd name="T27" fmla="*/ 192 h 462"/>
                  <a:gd name="T28" fmla="*/ 465 w 529"/>
                  <a:gd name="T29" fmla="*/ 230 h 462"/>
                  <a:gd name="T30" fmla="*/ 400 w 529"/>
                  <a:gd name="T31" fmla="*/ 274 h 462"/>
                  <a:gd name="T32" fmla="*/ 444 w 529"/>
                  <a:gd name="T33" fmla="*/ 369 h 462"/>
                  <a:gd name="T34" fmla="*/ 341 w 529"/>
                  <a:gd name="T35" fmla="*/ 336 h 462"/>
                  <a:gd name="T36" fmla="*/ 328 w 529"/>
                  <a:gd name="T37" fmla="*/ 387 h 462"/>
                  <a:gd name="T38" fmla="*/ 294 w 529"/>
                  <a:gd name="T39" fmla="*/ 373 h 462"/>
                  <a:gd name="T40" fmla="*/ 272 w 529"/>
                  <a:gd name="T41" fmla="*/ 447 h 462"/>
                  <a:gd name="T42" fmla="*/ 221 w 529"/>
                  <a:gd name="T43" fmla="*/ 383 h 462"/>
                  <a:gd name="T44" fmla="*/ 130 w 529"/>
                  <a:gd name="T45" fmla="*/ 462 h 462"/>
                  <a:gd name="T46" fmla="*/ 147 w 529"/>
                  <a:gd name="T47" fmla="*/ 328 h 462"/>
                  <a:gd name="T48" fmla="*/ 147 w 529"/>
                  <a:gd name="T49" fmla="*/ 414 h 462"/>
                  <a:gd name="T50" fmla="*/ 226 w 529"/>
                  <a:gd name="T51" fmla="*/ 347 h 462"/>
                  <a:gd name="T52" fmla="*/ 262 w 529"/>
                  <a:gd name="T53" fmla="*/ 395 h 462"/>
                  <a:gd name="T54" fmla="*/ 278 w 529"/>
                  <a:gd name="T55" fmla="*/ 336 h 462"/>
                  <a:gd name="T56" fmla="*/ 311 w 529"/>
                  <a:gd name="T57" fmla="*/ 350 h 462"/>
                  <a:gd name="T58" fmla="*/ 324 w 529"/>
                  <a:gd name="T59" fmla="*/ 306 h 462"/>
                  <a:gd name="T60" fmla="*/ 369 w 529"/>
                  <a:gd name="T61" fmla="*/ 276 h 462"/>
                  <a:gd name="T62" fmla="*/ 374 w 529"/>
                  <a:gd name="T63" fmla="*/ 257 h 462"/>
                  <a:gd name="T64" fmla="*/ 381 w 529"/>
                  <a:gd name="T65" fmla="*/ 206 h 462"/>
                  <a:gd name="T66" fmla="*/ 379 w 529"/>
                  <a:gd name="T67" fmla="*/ 183 h 462"/>
                  <a:gd name="T68" fmla="*/ 358 w 529"/>
                  <a:gd name="T69" fmla="*/ 130 h 462"/>
                  <a:gd name="T70" fmla="*/ 343 w 529"/>
                  <a:gd name="T71" fmla="*/ 116 h 462"/>
                  <a:gd name="T72" fmla="*/ 279 w 529"/>
                  <a:gd name="T73" fmla="*/ 98 h 462"/>
                  <a:gd name="T74" fmla="*/ 210 w 529"/>
                  <a:gd name="T75" fmla="*/ 69 h 462"/>
                  <a:gd name="T76" fmla="*/ 180 w 529"/>
                  <a:gd name="T77" fmla="*/ 137 h 462"/>
                  <a:gd name="T78" fmla="*/ 102 w 529"/>
                  <a:gd name="T79" fmla="*/ 105 h 462"/>
                  <a:gd name="T80" fmla="*/ 117 w 529"/>
                  <a:gd name="T81" fmla="*/ 219 h 462"/>
                  <a:gd name="T82" fmla="*/ 106 w 529"/>
                  <a:gd name="T83" fmla="*/ 257 h 462"/>
                  <a:gd name="T84" fmla="*/ 108 w 529"/>
                  <a:gd name="T85" fmla="*/ 279 h 462"/>
                  <a:gd name="T86" fmla="*/ 136 w 529"/>
                  <a:gd name="T87" fmla="*/ 32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9" h="462">
                    <a:moveTo>
                      <a:pt x="130" y="462"/>
                    </a:moveTo>
                    <a:cubicBezTo>
                      <a:pt x="128" y="462"/>
                      <a:pt x="126" y="462"/>
                      <a:pt x="124" y="461"/>
                    </a:cubicBezTo>
                    <a:cubicBezTo>
                      <a:pt x="119" y="458"/>
                      <a:pt x="116" y="453"/>
                      <a:pt x="117" y="447"/>
                    </a:cubicBezTo>
                    <a:cubicBezTo>
                      <a:pt x="122" y="353"/>
                      <a:pt x="122" y="353"/>
                      <a:pt x="122" y="353"/>
                    </a:cubicBezTo>
                    <a:cubicBezTo>
                      <a:pt x="16" y="363"/>
                      <a:pt x="16" y="363"/>
                      <a:pt x="16" y="363"/>
                    </a:cubicBezTo>
                    <a:cubicBezTo>
                      <a:pt x="10" y="363"/>
                      <a:pt x="4" y="360"/>
                      <a:pt x="2" y="355"/>
                    </a:cubicBezTo>
                    <a:cubicBezTo>
                      <a:pt x="0" y="349"/>
                      <a:pt x="1" y="343"/>
                      <a:pt x="5" y="339"/>
                    </a:cubicBezTo>
                    <a:cubicBezTo>
                      <a:pt x="75" y="272"/>
                      <a:pt x="75" y="272"/>
                      <a:pt x="75" y="272"/>
                    </a:cubicBezTo>
                    <a:cubicBezTo>
                      <a:pt x="28" y="245"/>
                      <a:pt x="28" y="245"/>
                      <a:pt x="28" y="245"/>
                    </a:cubicBezTo>
                    <a:cubicBezTo>
                      <a:pt x="23" y="242"/>
                      <a:pt x="21" y="237"/>
                      <a:pt x="21" y="231"/>
                    </a:cubicBezTo>
                    <a:cubicBezTo>
                      <a:pt x="22" y="226"/>
                      <a:pt x="25" y="221"/>
                      <a:pt x="30" y="220"/>
                    </a:cubicBezTo>
                    <a:cubicBezTo>
                      <a:pt x="95" y="196"/>
                      <a:pt x="95" y="196"/>
                      <a:pt x="95" y="196"/>
                    </a:cubicBezTo>
                    <a:cubicBezTo>
                      <a:pt x="68" y="83"/>
                      <a:pt x="68" y="83"/>
                      <a:pt x="68" y="83"/>
                    </a:cubicBezTo>
                    <a:cubicBezTo>
                      <a:pt x="67" y="78"/>
                      <a:pt x="69" y="72"/>
                      <a:pt x="73" y="69"/>
                    </a:cubicBezTo>
                    <a:cubicBezTo>
                      <a:pt x="77" y="66"/>
                      <a:pt x="83" y="65"/>
                      <a:pt x="88" y="67"/>
                    </a:cubicBezTo>
                    <a:cubicBezTo>
                      <a:pt x="167" y="105"/>
                      <a:pt x="167" y="105"/>
                      <a:pt x="167" y="105"/>
                    </a:cubicBezTo>
                    <a:cubicBezTo>
                      <a:pt x="189" y="44"/>
                      <a:pt x="189" y="44"/>
                      <a:pt x="189" y="44"/>
                    </a:cubicBezTo>
                    <a:cubicBezTo>
                      <a:pt x="190" y="40"/>
                      <a:pt x="193" y="37"/>
                      <a:pt x="197" y="35"/>
                    </a:cubicBezTo>
                    <a:cubicBezTo>
                      <a:pt x="201" y="34"/>
                      <a:pt x="206" y="34"/>
                      <a:pt x="209" y="36"/>
                    </a:cubicBezTo>
                    <a:cubicBezTo>
                      <a:pt x="268" y="70"/>
                      <a:pt x="268" y="70"/>
                      <a:pt x="268" y="70"/>
                    </a:cubicBezTo>
                    <a:cubicBezTo>
                      <a:pt x="347" y="4"/>
                      <a:pt x="347" y="4"/>
                      <a:pt x="347" y="4"/>
                    </a:cubicBezTo>
                    <a:cubicBezTo>
                      <a:pt x="351" y="1"/>
                      <a:pt x="356" y="0"/>
                      <a:pt x="361" y="2"/>
                    </a:cubicBezTo>
                    <a:cubicBezTo>
                      <a:pt x="366" y="4"/>
                      <a:pt x="370" y="9"/>
                      <a:pt x="370" y="15"/>
                    </a:cubicBezTo>
                    <a:cubicBezTo>
                      <a:pt x="371" y="100"/>
                      <a:pt x="371" y="100"/>
                      <a:pt x="371" y="100"/>
                    </a:cubicBezTo>
                    <a:cubicBezTo>
                      <a:pt x="512" y="83"/>
                      <a:pt x="512" y="83"/>
                      <a:pt x="512" y="83"/>
                    </a:cubicBezTo>
                    <a:cubicBezTo>
                      <a:pt x="518" y="82"/>
                      <a:pt x="524" y="86"/>
                      <a:pt x="527" y="92"/>
                    </a:cubicBezTo>
                    <a:cubicBezTo>
                      <a:pt x="529" y="98"/>
                      <a:pt x="527" y="104"/>
                      <a:pt x="522" y="108"/>
                    </a:cubicBezTo>
                    <a:cubicBezTo>
                      <a:pt x="413" y="192"/>
                      <a:pt x="413" y="192"/>
                      <a:pt x="413" y="192"/>
                    </a:cubicBezTo>
                    <a:cubicBezTo>
                      <a:pt x="458" y="218"/>
                      <a:pt x="458" y="218"/>
                      <a:pt x="458" y="218"/>
                    </a:cubicBezTo>
                    <a:cubicBezTo>
                      <a:pt x="462" y="221"/>
                      <a:pt x="465" y="225"/>
                      <a:pt x="465" y="230"/>
                    </a:cubicBezTo>
                    <a:cubicBezTo>
                      <a:pt x="465" y="235"/>
                      <a:pt x="462" y="240"/>
                      <a:pt x="458" y="243"/>
                    </a:cubicBezTo>
                    <a:cubicBezTo>
                      <a:pt x="400" y="274"/>
                      <a:pt x="400" y="274"/>
                      <a:pt x="400" y="274"/>
                    </a:cubicBezTo>
                    <a:cubicBezTo>
                      <a:pt x="446" y="353"/>
                      <a:pt x="446" y="353"/>
                      <a:pt x="446" y="353"/>
                    </a:cubicBezTo>
                    <a:cubicBezTo>
                      <a:pt x="449" y="358"/>
                      <a:pt x="448" y="365"/>
                      <a:pt x="444" y="369"/>
                    </a:cubicBezTo>
                    <a:cubicBezTo>
                      <a:pt x="440" y="374"/>
                      <a:pt x="434" y="375"/>
                      <a:pt x="428" y="373"/>
                    </a:cubicBezTo>
                    <a:cubicBezTo>
                      <a:pt x="396" y="358"/>
                      <a:pt x="359" y="343"/>
                      <a:pt x="341" y="336"/>
                    </a:cubicBezTo>
                    <a:cubicBezTo>
                      <a:pt x="339" y="347"/>
                      <a:pt x="337" y="362"/>
                      <a:pt x="336" y="376"/>
                    </a:cubicBezTo>
                    <a:cubicBezTo>
                      <a:pt x="335" y="381"/>
                      <a:pt x="332" y="385"/>
                      <a:pt x="328" y="387"/>
                    </a:cubicBezTo>
                    <a:cubicBezTo>
                      <a:pt x="324" y="389"/>
                      <a:pt x="318" y="389"/>
                      <a:pt x="314" y="386"/>
                    </a:cubicBezTo>
                    <a:cubicBezTo>
                      <a:pt x="294" y="373"/>
                      <a:pt x="294" y="373"/>
                      <a:pt x="294" y="373"/>
                    </a:cubicBezTo>
                    <a:cubicBezTo>
                      <a:pt x="284" y="436"/>
                      <a:pt x="284" y="436"/>
                      <a:pt x="284" y="436"/>
                    </a:cubicBezTo>
                    <a:cubicBezTo>
                      <a:pt x="283" y="441"/>
                      <a:pt x="278" y="446"/>
                      <a:pt x="272" y="447"/>
                    </a:cubicBezTo>
                    <a:cubicBezTo>
                      <a:pt x="267" y="448"/>
                      <a:pt x="261" y="446"/>
                      <a:pt x="258" y="441"/>
                    </a:cubicBezTo>
                    <a:cubicBezTo>
                      <a:pt x="221" y="383"/>
                      <a:pt x="221" y="383"/>
                      <a:pt x="221" y="383"/>
                    </a:cubicBezTo>
                    <a:cubicBezTo>
                      <a:pt x="140" y="458"/>
                      <a:pt x="140" y="458"/>
                      <a:pt x="140" y="458"/>
                    </a:cubicBezTo>
                    <a:cubicBezTo>
                      <a:pt x="137" y="461"/>
                      <a:pt x="134" y="462"/>
                      <a:pt x="130" y="462"/>
                    </a:cubicBezTo>
                    <a:close/>
                    <a:moveTo>
                      <a:pt x="137" y="324"/>
                    </a:moveTo>
                    <a:cubicBezTo>
                      <a:pt x="141" y="324"/>
                      <a:pt x="145" y="325"/>
                      <a:pt x="147" y="328"/>
                    </a:cubicBezTo>
                    <a:cubicBezTo>
                      <a:pt x="150" y="331"/>
                      <a:pt x="152" y="335"/>
                      <a:pt x="151" y="339"/>
                    </a:cubicBezTo>
                    <a:cubicBezTo>
                      <a:pt x="147" y="414"/>
                      <a:pt x="147" y="414"/>
                      <a:pt x="147" y="414"/>
                    </a:cubicBezTo>
                    <a:cubicBezTo>
                      <a:pt x="214" y="351"/>
                      <a:pt x="214" y="351"/>
                      <a:pt x="214" y="351"/>
                    </a:cubicBezTo>
                    <a:cubicBezTo>
                      <a:pt x="218" y="348"/>
                      <a:pt x="222" y="347"/>
                      <a:pt x="226" y="347"/>
                    </a:cubicBezTo>
                    <a:cubicBezTo>
                      <a:pt x="230" y="348"/>
                      <a:pt x="234" y="350"/>
                      <a:pt x="236" y="354"/>
                    </a:cubicBezTo>
                    <a:cubicBezTo>
                      <a:pt x="262" y="395"/>
                      <a:pt x="262" y="395"/>
                      <a:pt x="262" y="395"/>
                    </a:cubicBezTo>
                    <a:cubicBezTo>
                      <a:pt x="270" y="347"/>
                      <a:pt x="270" y="347"/>
                      <a:pt x="270" y="347"/>
                    </a:cubicBezTo>
                    <a:cubicBezTo>
                      <a:pt x="271" y="342"/>
                      <a:pt x="274" y="338"/>
                      <a:pt x="278" y="336"/>
                    </a:cubicBezTo>
                    <a:cubicBezTo>
                      <a:pt x="283" y="334"/>
                      <a:pt x="288" y="335"/>
                      <a:pt x="292" y="337"/>
                    </a:cubicBezTo>
                    <a:cubicBezTo>
                      <a:pt x="311" y="350"/>
                      <a:pt x="311" y="350"/>
                      <a:pt x="311" y="350"/>
                    </a:cubicBezTo>
                    <a:cubicBezTo>
                      <a:pt x="313" y="335"/>
                      <a:pt x="315" y="319"/>
                      <a:pt x="316" y="315"/>
                    </a:cubicBezTo>
                    <a:cubicBezTo>
                      <a:pt x="317" y="311"/>
                      <a:pt x="320" y="308"/>
                      <a:pt x="324" y="306"/>
                    </a:cubicBezTo>
                    <a:cubicBezTo>
                      <a:pt x="329" y="304"/>
                      <a:pt x="335" y="302"/>
                      <a:pt x="400" y="330"/>
                    </a:cubicBezTo>
                    <a:cubicBezTo>
                      <a:pt x="369" y="276"/>
                      <a:pt x="369" y="276"/>
                      <a:pt x="369" y="276"/>
                    </a:cubicBezTo>
                    <a:cubicBezTo>
                      <a:pt x="367" y="273"/>
                      <a:pt x="366" y="269"/>
                      <a:pt x="367" y="265"/>
                    </a:cubicBezTo>
                    <a:cubicBezTo>
                      <a:pt x="368" y="261"/>
                      <a:pt x="371" y="258"/>
                      <a:pt x="374" y="257"/>
                    </a:cubicBezTo>
                    <a:cubicBezTo>
                      <a:pt x="422" y="230"/>
                      <a:pt x="422" y="230"/>
                      <a:pt x="422" y="230"/>
                    </a:cubicBezTo>
                    <a:cubicBezTo>
                      <a:pt x="381" y="206"/>
                      <a:pt x="381" y="206"/>
                      <a:pt x="381" y="206"/>
                    </a:cubicBezTo>
                    <a:cubicBezTo>
                      <a:pt x="377" y="204"/>
                      <a:pt x="374" y="199"/>
                      <a:pt x="374" y="195"/>
                    </a:cubicBezTo>
                    <a:cubicBezTo>
                      <a:pt x="373" y="190"/>
                      <a:pt x="375" y="186"/>
                      <a:pt x="379" y="183"/>
                    </a:cubicBezTo>
                    <a:cubicBezTo>
                      <a:pt x="465" y="117"/>
                      <a:pt x="465" y="117"/>
                      <a:pt x="465" y="117"/>
                    </a:cubicBezTo>
                    <a:cubicBezTo>
                      <a:pt x="358" y="130"/>
                      <a:pt x="358" y="130"/>
                      <a:pt x="358" y="130"/>
                    </a:cubicBezTo>
                    <a:cubicBezTo>
                      <a:pt x="354" y="130"/>
                      <a:pt x="350" y="129"/>
                      <a:pt x="348" y="127"/>
                    </a:cubicBezTo>
                    <a:cubicBezTo>
                      <a:pt x="345" y="124"/>
                      <a:pt x="343" y="120"/>
                      <a:pt x="343" y="116"/>
                    </a:cubicBezTo>
                    <a:cubicBezTo>
                      <a:pt x="342" y="45"/>
                      <a:pt x="342" y="45"/>
                      <a:pt x="342" y="45"/>
                    </a:cubicBezTo>
                    <a:cubicBezTo>
                      <a:pt x="279" y="98"/>
                      <a:pt x="279" y="98"/>
                      <a:pt x="279" y="98"/>
                    </a:cubicBezTo>
                    <a:cubicBezTo>
                      <a:pt x="274" y="102"/>
                      <a:pt x="268" y="102"/>
                      <a:pt x="263" y="99"/>
                    </a:cubicBezTo>
                    <a:cubicBezTo>
                      <a:pt x="210" y="69"/>
                      <a:pt x="210" y="69"/>
                      <a:pt x="210" y="69"/>
                    </a:cubicBezTo>
                    <a:cubicBezTo>
                      <a:pt x="188" y="129"/>
                      <a:pt x="188" y="129"/>
                      <a:pt x="188" y="129"/>
                    </a:cubicBezTo>
                    <a:cubicBezTo>
                      <a:pt x="186" y="133"/>
                      <a:pt x="183" y="136"/>
                      <a:pt x="180" y="137"/>
                    </a:cubicBezTo>
                    <a:cubicBezTo>
                      <a:pt x="176" y="139"/>
                      <a:pt x="172" y="138"/>
                      <a:pt x="169" y="137"/>
                    </a:cubicBezTo>
                    <a:cubicBezTo>
                      <a:pt x="102" y="105"/>
                      <a:pt x="102" y="105"/>
                      <a:pt x="102" y="105"/>
                    </a:cubicBezTo>
                    <a:cubicBezTo>
                      <a:pt x="125" y="202"/>
                      <a:pt x="125" y="202"/>
                      <a:pt x="125" y="202"/>
                    </a:cubicBezTo>
                    <a:cubicBezTo>
                      <a:pt x="127" y="209"/>
                      <a:pt x="123" y="216"/>
                      <a:pt x="117" y="219"/>
                    </a:cubicBezTo>
                    <a:cubicBezTo>
                      <a:pt x="68" y="236"/>
                      <a:pt x="68" y="236"/>
                      <a:pt x="68" y="236"/>
                    </a:cubicBezTo>
                    <a:cubicBezTo>
                      <a:pt x="106" y="257"/>
                      <a:pt x="106" y="257"/>
                      <a:pt x="106" y="257"/>
                    </a:cubicBezTo>
                    <a:cubicBezTo>
                      <a:pt x="109" y="259"/>
                      <a:pt x="112" y="263"/>
                      <a:pt x="113" y="268"/>
                    </a:cubicBezTo>
                    <a:cubicBezTo>
                      <a:pt x="113" y="272"/>
                      <a:pt x="112" y="276"/>
                      <a:pt x="108" y="279"/>
                    </a:cubicBezTo>
                    <a:cubicBezTo>
                      <a:pt x="54" y="331"/>
                      <a:pt x="54" y="331"/>
                      <a:pt x="54" y="331"/>
                    </a:cubicBezTo>
                    <a:cubicBezTo>
                      <a:pt x="136" y="324"/>
                      <a:pt x="136" y="324"/>
                      <a:pt x="136" y="324"/>
                    </a:cubicBezTo>
                    <a:cubicBezTo>
                      <a:pt x="137" y="324"/>
                      <a:pt x="137" y="324"/>
                      <a:pt x="137" y="32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53" name="Freeform 7"/>
              <p:cNvSpPr>
                <a:spLocks/>
              </p:cNvSpPr>
              <p:nvPr/>
            </p:nvSpPr>
            <p:spPr bwMode="auto">
              <a:xfrm>
                <a:off x="2584" y="1855"/>
                <a:ext cx="525" cy="556"/>
              </a:xfrm>
              <a:custGeom>
                <a:avLst/>
                <a:gdLst>
                  <a:gd name="T0" fmla="*/ 267 w 473"/>
                  <a:gd name="T1" fmla="*/ 88 h 501"/>
                  <a:gd name="T2" fmla="*/ 381 w 473"/>
                  <a:gd name="T3" fmla="*/ 0 h 501"/>
                  <a:gd name="T4" fmla="*/ 381 w 473"/>
                  <a:gd name="T5" fmla="*/ 139 h 501"/>
                  <a:gd name="T6" fmla="*/ 473 w 473"/>
                  <a:gd name="T7" fmla="*/ 118 h 501"/>
                  <a:gd name="T8" fmla="*/ 352 w 473"/>
                  <a:gd name="T9" fmla="*/ 246 h 501"/>
                  <a:gd name="T10" fmla="*/ 454 w 473"/>
                  <a:gd name="T11" fmla="*/ 385 h 501"/>
                  <a:gd name="T12" fmla="*/ 286 w 473"/>
                  <a:gd name="T13" fmla="*/ 347 h 501"/>
                  <a:gd name="T14" fmla="*/ 267 w 473"/>
                  <a:gd name="T15" fmla="*/ 501 h 501"/>
                  <a:gd name="T16" fmla="*/ 194 w 473"/>
                  <a:gd name="T17" fmla="*/ 399 h 501"/>
                  <a:gd name="T18" fmla="*/ 128 w 473"/>
                  <a:gd name="T19" fmla="*/ 451 h 501"/>
                  <a:gd name="T20" fmla="*/ 128 w 473"/>
                  <a:gd name="T21" fmla="*/ 392 h 501"/>
                  <a:gd name="T22" fmla="*/ 0 w 473"/>
                  <a:gd name="T23" fmla="*/ 387 h 501"/>
                  <a:gd name="T24" fmla="*/ 78 w 473"/>
                  <a:gd name="T25" fmla="*/ 302 h 501"/>
                  <a:gd name="T26" fmla="*/ 24 w 473"/>
                  <a:gd name="T27" fmla="*/ 272 h 501"/>
                  <a:gd name="T28" fmla="*/ 71 w 473"/>
                  <a:gd name="T29" fmla="*/ 220 h 501"/>
                  <a:gd name="T30" fmla="*/ 0 w 473"/>
                  <a:gd name="T31" fmla="*/ 132 h 501"/>
                  <a:gd name="T32" fmla="*/ 144 w 473"/>
                  <a:gd name="T33" fmla="*/ 132 h 501"/>
                  <a:gd name="T34" fmla="*/ 208 w 473"/>
                  <a:gd name="T35" fmla="*/ 0 h 501"/>
                  <a:gd name="T36" fmla="*/ 267 w 473"/>
                  <a:gd name="T37" fmla="*/ 8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01">
                    <a:moveTo>
                      <a:pt x="267" y="88"/>
                    </a:moveTo>
                    <a:lnTo>
                      <a:pt x="381" y="0"/>
                    </a:lnTo>
                    <a:lnTo>
                      <a:pt x="381" y="139"/>
                    </a:lnTo>
                    <a:lnTo>
                      <a:pt x="473" y="118"/>
                    </a:lnTo>
                    <a:lnTo>
                      <a:pt x="352" y="246"/>
                    </a:lnTo>
                    <a:lnTo>
                      <a:pt x="454" y="385"/>
                    </a:lnTo>
                    <a:lnTo>
                      <a:pt x="286" y="347"/>
                    </a:lnTo>
                    <a:lnTo>
                      <a:pt x="267" y="501"/>
                    </a:lnTo>
                    <a:lnTo>
                      <a:pt x="194" y="399"/>
                    </a:lnTo>
                    <a:lnTo>
                      <a:pt x="128" y="451"/>
                    </a:lnTo>
                    <a:lnTo>
                      <a:pt x="128" y="392"/>
                    </a:lnTo>
                    <a:lnTo>
                      <a:pt x="0" y="387"/>
                    </a:lnTo>
                    <a:lnTo>
                      <a:pt x="78" y="302"/>
                    </a:lnTo>
                    <a:lnTo>
                      <a:pt x="24" y="272"/>
                    </a:lnTo>
                    <a:lnTo>
                      <a:pt x="71" y="220"/>
                    </a:lnTo>
                    <a:lnTo>
                      <a:pt x="0" y="132"/>
                    </a:lnTo>
                    <a:lnTo>
                      <a:pt x="144" y="132"/>
                    </a:lnTo>
                    <a:lnTo>
                      <a:pt x="208" y="0"/>
                    </a:lnTo>
                    <a:lnTo>
                      <a:pt x="267" y="88"/>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grpSp>
      <p:grpSp>
        <p:nvGrpSpPr>
          <p:cNvPr id="54" name="Group 53"/>
          <p:cNvGrpSpPr/>
          <p:nvPr/>
        </p:nvGrpSpPr>
        <p:grpSpPr>
          <a:xfrm>
            <a:off x="5278295" y="5300835"/>
            <a:ext cx="338494" cy="295674"/>
            <a:chOff x="6785894" y="2241002"/>
            <a:chExt cx="1607975" cy="1404564"/>
          </a:xfrm>
        </p:grpSpPr>
        <p:sp>
          <p:nvSpPr>
            <p:cNvPr id="55" name="Freeform 54"/>
            <p:cNvSpPr/>
            <p:nvPr/>
          </p:nvSpPr>
          <p:spPr>
            <a:xfrm>
              <a:off x="6874669" y="2307431"/>
              <a:ext cx="1421606" cy="1252538"/>
            </a:xfrm>
            <a:custGeom>
              <a:avLst/>
              <a:gdLst>
                <a:gd name="connsiteX0" fmla="*/ 250031 w 1421606"/>
                <a:gd name="connsiteY0" fmla="*/ 554832 h 1252538"/>
                <a:gd name="connsiteX1" fmla="*/ 250031 w 1421606"/>
                <a:gd name="connsiteY1" fmla="*/ 554832 h 1252538"/>
                <a:gd name="connsiteX2" fmla="*/ 157162 w 1421606"/>
                <a:gd name="connsiteY2" fmla="*/ 180975 h 1252538"/>
                <a:gd name="connsiteX3" fmla="*/ 442912 w 1421606"/>
                <a:gd name="connsiteY3" fmla="*/ 297657 h 1252538"/>
                <a:gd name="connsiteX4" fmla="*/ 538162 w 1421606"/>
                <a:gd name="connsiteY4" fmla="*/ 83344 h 1252538"/>
                <a:gd name="connsiteX5" fmla="*/ 742950 w 1421606"/>
                <a:gd name="connsiteY5" fmla="*/ 204788 h 1252538"/>
                <a:gd name="connsiteX6" fmla="*/ 983456 w 1421606"/>
                <a:gd name="connsiteY6" fmla="*/ 0 h 1252538"/>
                <a:gd name="connsiteX7" fmla="*/ 1000125 w 1421606"/>
                <a:gd name="connsiteY7" fmla="*/ 309563 h 1252538"/>
                <a:gd name="connsiteX8" fmla="*/ 1421606 w 1421606"/>
                <a:gd name="connsiteY8" fmla="*/ 235744 h 1252538"/>
                <a:gd name="connsiteX9" fmla="*/ 1107281 w 1421606"/>
                <a:gd name="connsiteY9" fmla="*/ 519113 h 1252538"/>
                <a:gd name="connsiteX10" fmla="*/ 1259681 w 1421606"/>
                <a:gd name="connsiteY10" fmla="*/ 631032 h 1252538"/>
                <a:gd name="connsiteX11" fmla="*/ 1092994 w 1421606"/>
                <a:gd name="connsiteY11" fmla="*/ 747713 h 1252538"/>
                <a:gd name="connsiteX12" fmla="*/ 1221581 w 1421606"/>
                <a:gd name="connsiteY12" fmla="*/ 1007269 h 1252538"/>
                <a:gd name="connsiteX13" fmla="*/ 904875 w 1421606"/>
                <a:gd name="connsiteY13" fmla="*/ 904875 h 1252538"/>
                <a:gd name="connsiteX14" fmla="*/ 878681 w 1421606"/>
                <a:gd name="connsiteY14" fmla="*/ 1054894 h 1252538"/>
                <a:gd name="connsiteX15" fmla="*/ 785812 w 1421606"/>
                <a:gd name="connsiteY15" fmla="*/ 1007269 h 1252538"/>
                <a:gd name="connsiteX16" fmla="*/ 721519 w 1421606"/>
                <a:gd name="connsiteY16" fmla="*/ 1209675 h 1252538"/>
                <a:gd name="connsiteX17" fmla="*/ 592931 w 1421606"/>
                <a:gd name="connsiteY17" fmla="*/ 1047750 h 1252538"/>
                <a:gd name="connsiteX18" fmla="*/ 326231 w 1421606"/>
                <a:gd name="connsiteY18" fmla="*/ 1252538 h 1252538"/>
                <a:gd name="connsiteX19" fmla="*/ 328612 w 1421606"/>
                <a:gd name="connsiteY19" fmla="*/ 985838 h 1252538"/>
                <a:gd name="connsiteX20" fmla="*/ 0 w 1421606"/>
                <a:gd name="connsiteY20" fmla="*/ 969169 h 1252538"/>
                <a:gd name="connsiteX21" fmla="*/ 207169 w 1421606"/>
                <a:gd name="connsiteY21" fmla="*/ 745332 h 1252538"/>
                <a:gd name="connsiteX22" fmla="*/ 59531 w 1421606"/>
                <a:gd name="connsiteY22" fmla="*/ 640557 h 1252538"/>
                <a:gd name="connsiteX23" fmla="*/ 250031 w 1421606"/>
                <a:gd name="connsiteY23" fmla="*/ 554832 h 12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21606" h="1252538">
                  <a:moveTo>
                    <a:pt x="250031" y="554832"/>
                  </a:moveTo>
                  <a:lnTo>
                    <a:pt x="250031" y="554832"/>
                  </a:lnTo>
                  <a:lnTo>
                    <a:pt x="157162" y="180975"/>
                  </a:lnTo>
                  <a:lnTo>
                    <a:pt x="442912" y="297657"/>
                  </a:lnTo>
                  <a:lnTo>
                    <a:pt x="538162" y="83344"/>
                  </a:lnTo>
                  <a:lnTo>
                    <a:pt x="742950" y="204788"/>
                  </a:lnTo>
                  <a:lnTo>
                    <a:pt x="983456" y="0"/>
                  </a:lnTo>
                  <a:lnTo>
                    <a:pt x="1000125" y="309563"/>
                  </a:lnTo>
                  <a:lnTo>
                    <a:pt x="1421606" y="235744"/>
                  </a:lnTo>
                  <a:lnTo>
                    <a:pt x="1107281" y="519113"/>
                  </a:lnTo>
                  <a:lnTo>
                    <a:pt x="1259681" y="631032"/>
                  </a:lnTo>
                  <a:lnTo>
                    <a:pt x="1092994" y="747713"/>
                  </a:lnTo>
                  <a:lnTo>
                    <a:pt x="1221581" y="1007269"/>
                  </a:lnTo>
                  <a:lnTo>
                    <a:pt x="904875" y="904875"/>
                  </a:lnTo>
                  <a:lnTo>
                    <a:pt x="878681" y="1054894"/>
                  </a:lnTo>
                  <a:lnTo>
                    <a:pt x="785812" y="1007269"/>
                  </a:lnTo>
                  <a:lnTo>
                    <a:pt x="721519" y="1209675"/>
                  </a:lnTo>
                  <a:lnTo>
                    <a:pt x="592931" y="1047750"/>
                  </a:lnTo>
                  <a:lnTo>
                    <a:pt x="326231" y="1252538"/>
                  </a:lnTo>
                  <a:cubicBezTo>
                    <a:pt x="327025" y="1163638"/>
                    <a:pt x="327818" y="1074738"/>
                    <a:pt x="328612" y="985838"/>
                  </a:cubicBezTo>
                  <a:lnTo>
                    <a:pt x="0" y="969169"/>
                  </a:lnTo>
                  <a:lnTo>
                    <a:pt x="207169" y="745332"/>
                  </a:lnTo>
                  <a:lnTo>
                    <a:pt x="59531" y="640557"/>
                  </a:lnTo>
                  <a:lnTo>
                    <a:pt x="250031" y="554832"/>
                  </a:lnTo>
                  <a:close/>
                </a:path>
              </a:pathLst>
            </a:custGeom>
            <a:solidFill>
              <a:srgbClr val="FFFF00"/>
            </a:solid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grpSp>
          <p:nvGrpSpPr>
            <p:cNvPr id="56" name="Group 5"/>
            <p:cNvGrpSpPr>
              <a:grpSpLocks noChangeAspect="1"/>
            </p:cNvGrpSpPr>
            <p:nvPr/>
          </p:nvGrpSpPr>
          <p:grpSpPr bwMode="auto">
            <a:xfrm>
              <a:off x="6785894" y="2241002"/>
              <a:ext cx="1607975" cy="1404564"/>
              <a:chOff x="2256" y="1614"/>
              <a:chExt cx="1249" cy="1091"/>
            </a:xfrm>
          </p:grpSpPr>
          <p:sp>
            <p:nvSpPr>
              <p:cNvPr id="57" name="Freeform 6"/>
              <p:cNvSpPr>
                <a:spLocks noEditPoints="1"/>
              </p:cNvSpPr>
              <p:nvPr/>
            </p:nvSpPr>
            <p:spPr bwMode="auto">
              <a:xfrm>
                <a:off x="2256" y="1614"/>
                <a:ext cx="1249" cy="1091"/>
              </a:xfrm>
              <a:custGeom>
                <a:avLst/>
                <a:gdLst>
                  <a:gd name="T0" fmla="*/ 124 w 529"/>
                  <a:gd name="T1" fmla="*/ 461 h 462"/>
                  <a:gd name="T2" fmla="*/ 122 w 529"/>
                  <a:gd name="T3" fmla="*/ 353 h 462"/>
                  <a:gd name="T4" fmla="*/ 2 w 529"/>
                  <a:gd name="T5" fmla="*/ 355 h 462"/>
                  <a:gd name="T6" fmla="*/ 75 w 529"/>
                  <a:gd name="T7" fmla="*/ 272 h 462"/>
                  <a:gd name="T8" fmla="*/ 21 w 529"/>
                  <a:gd name="T9" fmla="*/ 231 h 462"/>
                  <a:gd name="T10" fmla="*/ 95 w 529"/>
                  <a:gd name="T11" fmla="*/ 196 h 462"/>
                  <a:gd name="T12" fmla="*/ 73 w 529"/>
                  <a:gd name="T13" fmla="*/ 69 h 462"/>
                  <a:gd name="T14" fmla="*/ 167 w 529"/>
                  <a:gd name="T15" fmla="*/ 105 h 462"/>
                  <a:gd name="T16" fmla="*/ 197 w 529"/>
                  <a:gd name="T17" fmla="*/ 35 h 462"/>
                  <a:gd name="T18" fmla="*/ 268 w 529"/>
                  <a:gd name="T19" fmla="*/ 70 h 462"/>
                  <a:gd name="T20" fmla="*/ 361 w 529"/>
                  <a:gd name="T21" fmla="*/ 2 h 462"/>
                  <a:gd name="T22" fmla="*/ 371 w 529"/>
                  <a:gd name="T23" fmla="*/ 100 h 462"/>
                  <a:gd name="T24" fmla="*/ 527 w 529"/>
                  <a:gd name="T25" fmla="*/ 92 h 462"/>
                  <a:gd name="T26" fmla="*/ 413 w 529"/>
                  <a:gd name="T27" fmla="*/ 192 h 462"/>
                  <a:gd name="T28" fmla="*/ 465 w 529"/>
                  <a:gd name="T29" fmla="*/ 230 h 462"/>
                  <a:gd name="T30" fmla="*/ 400 w 529"/>
                  <a:gd name="T31" fmla="*/ 274 h 462"/>
                  <a:gd name="T32" fmla="*/ 444 w 529"/>
                  <a:gd name="T33" fmla="*/ 369 h 462"/>
                  <a:gd name="T34" fmla="*/ 341 w 529"/>
                  <a:gd name="T35" fmla="*/ 336 h 462"/>
                  <a:gd name="T36" fmla="*/ 328 w 529"/>
                  <a:gd name="T37" fmla="*/ 387 h 462"/>
                  <a:gd name="T38" fmla="*/ 294 w 529"/>
                  <a:gd name="T39" fmla="*/ 373 h 462"/>
                  <a:gd name="T40" fmla="*/ 272 w 529"/>
                  <a:gd name="T41" fmla="*/ 447 h 462"/>
                  <a:gd name="T42" fmla="*/ 221 w 529"/>
                  <a:gd name="T43" fmla="*/ 383 h 462"/>
                  <a:gd name="T44" fmla="*/ 130 w 529"/>
                  <a:gd name="T45" fmla="*/ 462 h 462"/>
                  <a:gd name="T46" fmla="*/ 147 w 529"/>
                  <a:gd name="T47" fmla="*/ 328 h 462"/>
                  <a:gd name="T48" fmla="*/ 147 w 529"/>
                  <a:gd name="T49" fmla="*/ 414 h 462"/>
                  <a:gd name="T50" fmla="*/ 226 w 529"/>
                  <a:gd name="T51" fmla="*/ 347 h 462"/>
                  <a:gd name="T52" fmla="*/ 262 w 529"/>
                  <a:gd name="T53" fmla="*/ 395 h 462"/>
                  <a:gd name="T54" fmla="*/ 278 w 529"/>
                  <a:gd name="T55" fmla="*/ 336 h 462"/>
                  <a:gd name="T56" fmla="*/ 311 w 529"/>
                  <a:gd name="T57" fmla="*/ 350 h 462"/>
                  <a:gd name="T58" fmla="*/ 324 w 529"/>
                  <a:gd name="T59" fmla="*/ 306 h 462"/>
                  <a:gd name="T60" fmla="*/ 369 w 529"/>
                  <a:gd name="T61" fmla="*/ 276 h 462"/>
                  <a:gd name="T62" fmla="*/ 374 w 529"/>
                  <a:gd name="T63" fmla="*/ 257 h 462"/>
                  <a:gd name="T64" fmla="*/ 381 w 529"/>
                  <a:gd name="T65" fmla="*/ 206 h 462"/>
                  <a:gd name="T66" fmla="*/ 379 w 529"/>
                  <a:gd name="T67" fmla="*/ 183 h 462"/>
                  <a:gd name="T68" fmla="*/ 358 w 529"/>
                  <a:gd name="T69" fmla="*/ 130 h 462"/>
                  <a:gd name="T70" fmla="*/ 343 w 529"/>
                  <a:gd name="T71" fmla="*/ 116 h 462"/>
                  <a:gd name="T72" fmla="*/ 279 w 529"/>
                  <a:gd name="T73" fmla="*/ 98 h 462"/>
                  <a:gd name="T74" fmla="*/ 210 w 529"/>
                  <a:gd name="T75" fmla="*/ 69 h 462"/>
                  <a:gd name="T76" fmla="*/ 180 w 529"/>
                  <a:gd name="T77" fmla="*/ 137 h 462"/>
                  <a:gd name="T78" fmla="*/ 102 w 529"/>
                  <a:gd name="T79" fmla="*/ 105 h 462"/>
                  <a:gd name="T80" fmla="*/ 117 w 529"/>
                  <a:gd name="T81" fmla="*/ 219 h 462"/>
                  <a:gd name="T82" fmla="*/ 106 w 529"/>
                  <a:gd name="T83" fmla="*/ 257 h 462"/>
                  <a:gd name="T84" fmla="*/ 108 w 529"/>
                  <a:gd name="T85" fmla="*/ 279 h 462"/>
                  <a:gd name="T86" fmla="*/ 136 w 529"/>
                  <a:gd name="T87" fmla="*/ 32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9" h="462">
                    <a:moveTo>
                      <a:pt x="130" y="462"/>
                    </a:moveTo>
                    <a:cubicBezTo>
                      <a:pt x="128" y="462"/>
                      <a:pt x="126" y="462"/>
                      <a:pt x="124" y="461"/>
                    </a:cubicBezTo>
                    <a:cubicBezTo>
                      <a:pt x="119" y="458"/>
                      <a:pt x="116" y="453"/>
                      <a:pt x="117" y="447"/>
                    </a:cubicBezTo>
                    <a:cubicBezTo>
                      <a:pt x="122" y="353"/>
                      <a:pt x="122" y="353"/>
                      <a:pt x="122" y="353"/>
                    </a:cubicBezTo>
                    <a:cubicBezTo>
                      <a:pt x="16" y="363"/>
                      <a:pt x="16" y="363"/>
                      <a:pt x="16" y="363"/>
                    </a:cubicBezTo>
                    <a:cubicBezTo>
                      <a:pt x="10" y="363"/>
                      <a:pt x="4" y="360"/>
                      <a:pt x="2" y="355"/>
                    </a:cubicBezTo>
                    <a:cubicBezTo>
                      <a:pt x="0" y="349"/>
                      <a:pt x="1" y="343"/>
                      <a:pt x="5" y="339"/>
                    </a:cubicBezTo>
                    <a:cubicBezTo>
                      <a:pt x="75" y="272"/>
                      <a:pt x="75" y="272"/>
                      <a:pt x="75" y="272"/>
                    </a:cubicBezTo>
                    <a:cubicBezTo>
                      <a:pt x="28" y="245"/>
                      <a:pt x="28" y="245"/>
                      <a:pt x="28" y="245"/>
                    </a:cubicBezTo>
                    <a:cubicBezTo>
                      <a:pt x="23" y="242"/>
                      <a:pt x="21" y="237"/>
                      <a:pt x="21" y="231"/>
                    </a:cubicBezTo>
                    <a:cubicBezTo>
                      <a:pt x="22" y="226"/>
                      <a:pt x="25" y="221"/>
                      <a:pt x="30" y="220"/>
                    </a:cubicBezTo>
                    <a:cubicBezTo>
                      <a:pt x="95" y="196"/>
                      <a:pt x="95" y="196"/>
                      <a:pt x="95" y="196"/>
                    </a:cubicBezTo>
                    <a:cubicBezTo>
                      <a:pt x="68" y="83"/>
                      <a:pt x="68" y="83"/>
                      <a:pt x="68" y="83"/>
                    </a:cubicBezTo>
                    <a:cubicBezTo>
                      <a:pt x="67" y="78"/>
                      <a:pt x="69" y="72"/>
                      <a:pt x="73" y="69"/>
                    </a:cubicBezTo>
                    <a:cubicBezTo>
                      <a:pt x="77" y="66"/>
                      <a:pt x="83" y="65"/>
                      <a:pt x="88" y="67"/>
                    </a:cubicBezTo>
                    <a:cubicBezTo>
                      <a:pt x="167" y="105"/>
                      <a:pt x="167" y="105"/>
                      <a:pt x="167" y="105"/>
                    </a:cubicBezTo>
                    <a:cubicBezTo>
                      <a:pt x="189" y="44"/>
                      <a:pt x="189" y="44"/>
                      <a:pt x="189" y="44"/>
                    </a:cubicBezTo>
                    <a:cubicBezTo>
                      <a:pt x="190" y="40"/>
                      <a:pt x="193" y="37"/>
                      <a:pt x="197" y="35"/>
                    </a:cubicBezTo>
                    <a:cubicBezTo>
                      <a:pt x="201" y="34"/>
                      <a:pt x="206" y="34"/>
                      <a:pt x="209" y="36"/>
                    </a:cubicBezTo>
                    <a:cubicBezTo>
                      <a:pt x="268" y="70"/>
                      <a:pt x="268" y="70"/>
                      <a:pt x="268" y="70"/>
                    </a:cubicBezTo>
                    <a:cubicBezTo>
                      <a:pt x="347" y="4"/>
                      <a:pt x="347" y="4"/>
                      <a:pt x="347" y="4"/>
                    </a:cubicBezTo>
                    <a:cubicBezTo>
                      <a:pt x="351" y="1"/>
                      <a:pt x="356" y="0"/>
                      <a:pt x="361" y="2"/>
                    </a:cubicBezTo>
                    <a:cubicBezTo>
                      <a:pt x="366" y="4"/>
                      <a:pt x="370" y="9"/>
                      <a:pt x="370" y="15"/>
                    </a:cubicBezTo>
                    <a:cubicBezTo>
                      <a:pt x="371" y="100"/>
                      <a:pt x="371" y="100"/>
                      <a:pt x="371" y="100"/>
                    </a:cubicBezTo>
                    <a:cubicBezTo>
                      <a:pt x="512" y="83"/>
                      <a:pt x="512" y="83"/>
                      <a:pt x="512" y="83"/>
                    </a:cubicBezTo>
                    <a:cubicBezTo>
                      <a:pt x="518" y="82"/>
                      <a:pt x="524" y="86"/>
                      <a:pt x="527" y="92"/>
                    </a:cubicBezTo>
                    <a:cubicBezTo>
                      <a:pt x="529" y="98"/>
                      <a:pt x="527" y="104"/>
                      <a:pt x="522" y="108"/>
                    </a:cubicBezTo>
                    <a:cubicBezTo>
                      <a:pt x="413" y="192"/>
                      <a:pt x="413" y="192"/>
                      <a:pt x="413" y="192"/>
                    </a:cubicBezTo>
                    <a:cubicBezTo>
                      <a:pt x="458" y="218"/>
                      <a:pt x="458" y="218"/>
                      <a:pt x="458" y="218"/>
                    </a:cubicBezTo>
                    <a:cubicBezTo>
                      <a:pt x="462" y="221"/>
                      <a:pt x="465" y="225"/>
                      <a:pt x="465" y="230"/>
                    </a:cubicBezTo>
                    <a:cubicBezTo>
                      <a:pt x="465" y="235"/>
                      <a:pt x="462" y="240"/>
                      <a:pt x="458" y="243"/>
                    </a:cubicBezTo>
                    <a:cubicBezTo>
                      <a:pt x="400" y="274"/>
                      <a:pt x="400" y="274"/>
                      <a:pt x="400" y="274"/>
                    </a:cubicBezTo>
                    <a:cubicBezTo>
                      <a:pt x="446" y="353"/>
                      <a:pt x="446" y="353"/>
                      <a:pt x="446" y="353"/>
                    </a:cubicBezTo>
                    <a:cubicBezTo>
                      <a:pt x="449" y="358"/>
                      <a:pt x="448" y="365"/>
                      <a:pt x="444" y="369"/>
                    </a:cubicBezTo>
                    <a:cubicBezTo>
                      <a:pt x="440" y="374"/>
                      <a:pt x="434" y="375"/>
                      <a:pt x="428" y="373"/>
                    </a:cubicBezTo>
                    <a:cubicBezTo>
                      <a:pt x="396" y="358"/>
                      <a:pt x="359" y="343"/>
                      <a:pt x="341" y="336"/>
                    </a:cubicBezTo>
                    <a:cubicBezTo>
                      <a:pt x="339" y="347"/>
                      <a:pt x="337" y="362"/>
                      <a:pt x="336" y="376"/>
                    </a:cubicBezTo>
                    <a:cubicBezTo>
                      <a:pt x="335" y="381"/>
                      <a:pt x="332" y="385"/>
                      <a:pt x="328" y="387"/>
                    </a:cubicBezTo>
                    <a:cubicBezTo>
                      <a:pt x="324" y="389"/>
                      <a:pt x="318" y="389"/>
                      <a:pt x="314" y="386"/>
                    </a:cubicBezTo>
                    <a:cubicBezTo>
                      <a:pt x="294" y="373"/>
                      <a:pt x="294" y="373"/>
                      <a:pt x="294" y="373"/>
                    </a:cubicBezTo>
                    <a:cubicBezTo>
                      <a:pt x="284" y="436"/>
                      <a:pt x="284" y="436"/>
                      <a:pt x="284" y="436"/>
                    </a:cubicBezTo>
                    <a:cubicBezTo>
                      <a:pt x="283" y="441"/>
                      <a:pt x="278" y="446"/>
                      <a:pt x="272" y="447"/>
                    </a:cubicBezTo>
                    <a:cubicBezTo>
                      <a:pt x="267" y="448"/>
                      <a:pt x="261" y="446"/>
                      <a:pt x="258" y="441"/>
                    </a:cubicBezTo>
                    <a:cubicBezTo>
                      <a:pt x="221" y="383"/>
                      <a:pt x="221" y="383"/>
                      <a:pt x="221" y="383"/>
                    </a:cubicBezTo>
                    <a:cubicBezTo>
                      <a:pt x="140" y="458"/>
                      <a:pt x="140" y="458"/>
                      <a:pt x="140" y="458"/>
                    </a:cubicBezTo>
                    <a:cubicBezTo>
                      <a:pt x="137" y="461"/>
                      <a:pt x="134" y="462"/>
                      <a:pt x="130" y="462"/>
                    </a:cubicBezTo>
                    <a:close/>
                    <a:moveTo>
                      <a:pt x="137" y="324"/>
                    </a:moveTo>
                    <a:cubicBezTo>
                      <a:pt x="141" y="324"/>
                      <a:pt x="145" y="325"/>
                      <a:pt x="147" y="328"/>
                    </a:cubicBezTo>
                    <a:cubicBezTo>
                      <a:pt x="150" y="331"/>
                      <a:pt x="152" y="335"/>
                      <a:pt x="151" y="339"/>
                    </a:cubicBezTo>
                    <a:cubicBezTo>
                      <a:pt x="147" y="414"/>
                      <a:pt x="147" y="414"/>
                      <a:pt x="147" y="414"/>
                    </a:cubicBezTo>
                    <a:cubicBezTo>
                      <a:pt x="214" y="351"/>
                      <a:pt x="214" y="351"/>
                      <a:pt x="214" y="351"/>
                    </a:cubicBezTo>
                    <a:cubicBezTo>
                      <a:pt x="218" y="348"/>
                      <a:pt x="222" y="347"/>
                      <a:pt x="226" y="347"/>
                    </a:cubicBezTo>
                    <a:cubicBezTo>
                      <a:pt x="230" y="348"/>
                      <a:pt x="234" y="350"/>
                      <a:pt x="236" y="354"/>
                    </a:cubicBezTo>
                    <a:cubicBezTo>
                      <a:pt x="262" y="395"/>
                      <a:pt x="262" y="395"/>
                      <a:pt x="262" y="395"/>
                    </a:cubicBezTo>
                    <a:cubicBezTo>
                      <a:pt x="270" y="347"/>
                      <a:pt x="270" y="347"/>
                      <a:pt x="270" y="347"/>
                    </a:cubicBezTo>
                    <a:cubicBezTo>
                      <a:pt x="271" y="342"/>
                      <a:pt x="274" y="338"/>
                      <a:pt x="278" y="336"/>
                    </a:cubicBezTo>
                    <a:cubicBezTo>
                      <a:pt x="283" y="334"/>
                      <a:pt x="288" y="335"/>
                      <a:pt x="292" y="337"/>
                    </a:cubicBezTo>
                    <a:cubicBezTo>
                      <a:pt x="311" y="350"/>
                      <a:pt x="311" y="350"/>
                      <a:pt x="311" y="350"/>
                    </a:cubicBezTo>
                    <a:cubicBezTo>
                      <a:pt x="313" y="335"/>
                      <a:pt x="315" y="319"/>
                      <a:pt x="316" y="315"/>
                    </a:cubicBezTo>
                    <a:cubicBezTo>
                      <a:pt x="317" y="311"/>
                      <a:pt x="320" y="308"/>
                      <a:pt x="324" y="306"/>
                    </a:cubicBezTo>
                    <a:cubicBezTo>
                      <a:pt x="329" y="304"/>
                      <a:pt x="335" y="302"/>
                      <a:pt x="400" y="330"/>
                    </a:cubicBezTo>
                    <a:cubicBezTo>
                      <a:pt x="369" y="276"/>
                      <a:pt x="369" y="276"/>
                      <a:pt x="369" y="276"/>
                    </a:cubicBezTo>
                    <a:cubicBezTo>
                      <a:pt x="367" y="273"/>
                      <a:pt x="366" y="269"/>
                      <a:pt x="367" y="265"/>
                    </a:cubicBezTo>
                    <a:cubicBezTo>
                      <a:pt x="368" y="261"/>
                      <a:pt x="371" y="258"/>
                      <a:pt x="374" y="257"/>
                    </a:cubicBezTo>
                    <a:cubicBezTo>
                      <a:pt x="422" y="230"/>
                      <a:pt x="422" y="230"/>
                      <a:pt x="422" y="230"/>
                    </a:cubicBezTo>
                    <a:cubicBezTo>
                      <a:pt x="381" y="206"/>
                      <a:pt x="381" y="206"/>
                      <a:pt x="381" y="206"/>
                    </a:cubicBezTo>
                    <a:cubicBezTo>
                      <a:pt x="377" y="204"/>
                      <a:pt x="374" y="199"/>
                      <a:pt x="374" y="195"/>
                    </a:cubicBezTo>
                    <a:cubicBezTo>
                      <a:pt x="373" y="190"/>
                      <a:pt x="375" y="186"/>
                      <a:pt x="379" y="183"/>
                    </a:cubicBezTo>
                    <a:cubicBezTo>
                      <a:pt x="465" y="117"/>
                      <a:pt x="465" y="117"/>
                      <a:pt x="465" y="117"/>
                    </a:cubicBezTo>
                    <a:cubicBezTo>
                      <a:pt x="358" y="130"/>
                      <a:pt x="358" y="130"/>
                      <a:pt x="358" y="130"/>
                    </a:cubicBezTo>
                    <a:cubicBezTo>
                      <a:pt x="354" y="130"/>
                      <a:pt x="350" y="129"/>
                      <a:pt x="348" y="127"/>
                    </a:cubicBezTo>
                    <a:cubicBezTo>
                      <a:pt x="345" y="124"/>
                      <a:pt x="343" y="120"/>
                      <a:pt x="343" y="116"/>
                    </a:cubicBezTo>
                    <a:cubicBezTo>
                      <a:pt x="342" y="45"/>
                      <a:pt x="342" y="45"/>
                      <a:pt x="342" y="45"/>
                    </a:cubicBezTo>
                    <a:cubicBezTo>
                      <a:pt x="279" y="98"/>
                      <a:pt x="279" y="98"/>
                      <a:pt x="279" y="98"/>
                    </a:cubicBezTo>
                    <a:cubicBezTo>
                      <a:pt x="274" y="102"/>
                      <a:pt x="268" y="102"/>
                      <a:pt x="263" y="99"/>
                    </a:cubicBezTo>
                    <a:cubicBezTo>
                      <a:pt x="210" y="69"/>
                      <a:pt x="210" y="69"/>
                      <a:pt x="210" y="69"/>
                    </a:cubicBezTo>
                    <a:cubicBezTo>
                      <a:pt x="188" y="129"/>
                      <a:pt x="188" y="129"/>
                      <a:pt x="188" y="129"/>
                    </a:cubicBezTo>
                    <a:cubicBezTo>
                      <a:pt x="186" y="133"/>
                      <a:pt x="183" y="136"/>
                      <a:pt x="180" y="137"/>
                    </a:cubicBezTo>
                    <a:cubicBezTo>
                      <a:pt x="176" y="139"/>
                      <a:pt x="172" y="138"/>
                      <a:pt x="169" y="137"/>
                    </a:cubicBezTo>
                    <a:cubicBezTo>
                      <a:pt x="102" y="105"/>
                      <a:pt x="102" y="105"/>
                      <a:pt x="102" y="105"/>
                    </a:cubicBezTo>
                    <a:cubicBezTo>
                      <a:pt x="125" y="202"/>
                      <a:pt x="125" y="202"/>
                      <a:pt x="125" y="202"/>
                    </a:cubicBezTo>
                    <a:cubicBezTo>
                      <a:pt x="127" y="209"/>
                      <a:pt x="123" y="216"/>
                      <a:pt x="117" y="219"/>
                    </a:cubicBezTo>
                    <a:cubicBezTo>
                      <a:pt x="68" y="236"/>
                      <a:pt x="68" y="236"/>
                      <a:pt x="68" y="236"/>
                    </a:cubicBezTo>
                    <a:cubicBezTo>
                      <a:pt x="106" y="257"/>
                      <a:pt x="106" y="257"/>
                      <a:pt x="106" y="257"/>
                    </a:cubicBezTo>
                    <a:cubicBezTo>
                      <a:pt x="109" y="259"/>
                      <a:pt x="112" y="263"/>
                      <a:pt x="113" y="268"/>
                    </a:cubicBezTo>
                    <a:cubicBezTo>
                      <a:pt x="113" y="272"/>
                      <a:pt x="112" y="276"/>
                      <a:pt x="108" y="279"/>
                    </a:cubicBezTo>
                    <a:cubicBezTo>
                      <a:pt x="54" y="331"/>
                      <a:pt x="54" y="331"/>
                      <a:pt x="54" y="331"/>
                    </a:cubicBezTo>
                    <a:cubicBezTo>
                      <a:pt x="136" y="324"/>
                      <a:pt x="136" y="324"/>
                      <a:pt x="136" y="324"/>
                    </a:cubicBezTo>
                    <a:cubicBezTo>
                      <a:pt x="137" y="324"/>
                      <a:pt x="137" y="324"/>
                      <a:pt x="137" y="32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58" name="Freeform 7"/>
              <p:cNvSpPr>
                <a:spLocks/>
              </p:cNvSpPr>
              <p:nvPr/>
            </p:nvSpPr>
            <p:spPr bwMode="auto">
              <a:xfrm>
                <a:off x="2584" y="1855"/>
                <a:ext cx="525" cy="556"/>
              </a:xfrm>
              <a:custGeom>
                <a:avLst/>
                <a:gdLst>
                  <a:gd name="T0" fmla="*/ 267 w 473"/>
                  <a:gd name="T1" fmla="*/ 88 h 501"/>
                  <a:gd name="T2" fmla="*/ 381 w 473"/>
                  <a:gd name="T3" fmla="*/ 0 h 501"/>
                  <a:gd name="T4" fmla="*/ 381 w 473"/>
                  <a:gd name="T5" fmla="*/ 139 h 501"/>
                  <a:gd name="T6" fmla="*/ 473 w 473"/>
                  <a:gd name="T7" fmla="*/ 118 h 501"/>
                  <a:gd name="T8" fmla="*/ 352 w 473"/>
                  <a:gd name="T9" fmla="*/ 246 h 501"/>
                  <a:gd name="T10" fmla="*/ 454 w 473"/>
                  <a:gd name="T11" fmla="*/ 385 h 501"/>
                  <a:gd name="T12" fmla="*/ 286 w 473"/>
                  <a:gd name="T13" fmla="*/ 347 h 501"/>
                  <a:gd name="T14" fmla="*/ 267 w 473"/>
                  <a:gd name="T15" fmla="*/ 501 h 501"/>
                  <a:gd name="T16" fmla="*/ 194 w 473"/>
                  <a:gd name="T17" fmla="*/ 399 h 501"/>
                  <a:gd name="T18" fmla="*/ 128 w 473"/>
                  <a:gd name="T19" fmla="*/ 451 h 501"/>
                  <a:gd name="T20" fmla="*/ 128 w 473"/>
                  <a:gd name="T21" fmla="*/ 392 h 501"/>
                  <a:gd name="T22" fmla="*/ 0 w 473"/>
                  <a:gd name="T23" fmla="*/ 387 h 501"/>
                  <a:gd name="T24" fmla="*/ 78 w 473"/>
                  <a:gd name="T25" fmla="*/ 302 h 501"/>
                  <a:gd name="T26" fmla="*/ 24 w 473"/>
                  <a:gd name="T27" fmla="*/ 272 h 501"/>
                  <a:gd name="T28" fmla="*/ 71 w 473"/>
                  <a:gd name="T29" fmla="*/ 220 h 501"/>
                  <a:gd name="T30" fmla="*/ 0 w 473"/>
                  <a:gd name="T31" fmla="*/ 132 h 501"/>
                  <a:gd name="T32" fmla="*/ 144 w 473"/>
                  <a:gd name="T33" fmla="*/ 132 h 501"/>
                  <a:gd name="T34" fmla="*/ 208 w 473"/>
                  <a:gd name="T35" fmla="*/ 0 h 501"/>
                  <a:gd name="T36" fmla="*/ 267 w 473"/>
                  <a:gd name="T37" fmla="*/ 8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01">
                    <a:moveTo>
                      <a:pt x="267" y="88"/>
                    </a:moveTo>
                    <a:lnTo>
                      <a:pt x="381" y="0"/>
                    </a:lnTo>
                    <a:lnTo>
                      <a:pt x="381" y="139"/>
                    </a:lnTo>
                    <a:lnTo>
                      <a:pt x="473" y="118"/>
                    </a:lnTo>
                    <a:lnTo>
                      <a:pt x="352" y="246"/>
                    </a:lnTo>
                    <a:lnTo>
                      <a:pt x="454" y="385"/>
                    </a:lnTo>
                    <a:lnTo>
                      <a:pt x="286" y="347"/>
                    </a:lnTo>
                    <a:lnTo>
                      <a:pt x="267" y="501"/>
                    </a:lnTo>
                    <a:lnTo>
                      <a:pt x="194" y="399"/>
                    </a:lnTo>
                    <a:lnTo>
                      <a:pt x="128" y="451"/>
                    </a:lnTo>
                    <a:lnTo>
                      <a:pt x="128" y="392"/>
                    </a:lnTo>
                    <a:lnTo>
                      <a:pt x="0" y="387"/>
                    </a:lnTo>
                    <a:lnTo>
                      <a:pt x="78" y="302"/>
                    </a:lnTo>
                    <a:lnTo>
                      <a:pt x="24" y="272"/>
                    </a:lnTo>
                    <a:lnTo>
                      <a:pt x="71" y="220"/>
                    </a:lnTo>
                    <a:lnTo>
                      <a:pt x="0" y="132"/>
                    </a:lnTo>
                    <a:lnTo>
                      <a:pt x="144" y="132"/>
                    </a:lnTo>
                    <a:lnTo>
                      <a:pt x="208" y="0"/>
                    </a:lnTo>
                    <a:lnTo>
                      <a:pt x="267" y="88"/>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grpSp>
      <p:grpSp>
        <p:nvGrpSpPr>
          <p:cNvPr id="59" name="Group 58"/>
          <p:cNvGrpSpPr/>
          <p:nvPr/>
        </p:nvGrpSpPr>
        <p:grpSpPr>
          <a:xfrm>
            <a:off x="6693185" y="5673279"/>
            <a:ext cx="338494" cy="295674"/>
            <a:chOff x="6785894" y="2241002"/>
            <a:chExt cx="1607975" cy="1404564"/>
          </a:xfrm>
        </p:grpSpPr>
        <p:sp>
          <p:nvSpPr>
            <p:cNvPr id="60" name="Freeform 59"/>
            <p:cNvSpPr/>
            <p:nvPr/>
          </p:nvSpPr>
          <p:spPr>
            <a:xfrm>
              <a:off x="6874669" y="2307431"/>
              <a:ext cx="1421606" cy="1252538"/>
            </a:xfrm>
            <a:custGeom>
              <a:avLst/>
              <a:gdLst>
                <a:gd name="connsiteX0" fmla="*/ 250031 w 1421606"/>
                <a:gd name="connsiteY0" fmla="*/ 554832 h 1252538"/>
                <a:gd name="connsiteX1" fmla="*/ 250031 w 1421606"/>
                <a:gd name="connsiteY1" fmla="*/ 554832 h 1252538"/>
                <a:gd name="connsiteX2" fmla="*/ 157162 w 1421606"/>
                <a:gd name="connsiteY2" fmla="*/ 180975 h 1252538"/>
                <a:gd name="connsiteX3" fmla="*/ 442912 w 1421606"/>
                <a:gd name="connsiteY3" fmla="*/ 297657 h 1252538"/>
                <a:gd name="connsiteX4" fmla="*/ 538162 w 1421606"/>
                <a:gd name="connsiteY4" fmla="*/ 83344 h 1252538"/>
                <a:gd name="connsiteX5" fmla="*/ 742950 w 1421606"/>
                <a:gd name="connsiteY5" fmla="*/ 204788 h 1252538"/>
                <a:gd name="connsiteX6" fmla="*/ 983456 w 1421606"/>
                <a:gd name="connsiteY6" fmla="*/ 0 h 1252538"/>
                <a:gd name="connsiteX7" fmla="*/ 1000125 w 1421606"/>
                <a:gd name="connsiteY7" fmla="*/ 309563 h 1252538"/>
                <a:gd name="connsiteX8" fmla="*/ 1421606 w 1421606"/>
                <a:gd name="connsiteY8" fmla="*/ 235744 h 1252538"/>
                <a:gd name="connsiteX9" fmla="*/ 1107281 w 1421606"/>
                <a:gd name="connsiteY9" fmla="*/ 519113 h 1252538"/>
                <a:gd name="connsiteX10" fmla="*/ 1259681 w 1421606"/>
                <a:gd name="connsiteY10" fmla="*/ 631032 h 1252538"/>
                <a:gd name="connsiteX11" fmla="*/ 1092994 w 1421606"/>
                <a:gd name="connsiteY11" fmla="*/ 747713 h 1252538"/>
                <a:gd name="connsiteX12" fmla="*/ 1221581 w 1421606"/>
                <a:gd name="connsiteY12" fmla="*/ 1007269 h 1252538"/>
                <a:gd name="connsiteX13" fmla="*/ 904875 w 1421606"/>
                <a:gd name="connsiteY13" fmla="*/ 904875 h 1252538"/>
                <a:gd name="connsiteX14" fmla="*/ 878681 w 1421606"/>
                <a:gd name="connsiteY14" fmla="*/ 1054894 h 1252538"/>
                <a:gd name="connsiteX15" fmla="*/ 785812 w 1421606"/>
                <a:gd name="connsiteY15" fmla="*/ 1007269 h 1252538"/>
                <a:gd name="connsiteX16" fmla="*/ 721519 w 1421606"/>
                <a:gd name="connsiteY16" fmla="*/ 1209675 h 1252538"/>
                <a:gd name="connsiteX17" fmla="*/ 592931 w 1421606"/>
                <a:gd name="connsiteY17" fmla="*/ 1047750 h 1252538"/>
                <a:gd name="connsiteX18" fmla="*/ 326231 w 1421606"/>
                <a:gd name="connsiteY18" fmla="*/ 1252538 h 1252538"/>
                <a:gd name="connsiteX19" fmla="*/ 328612 w 1421606"/>
                <a:gd name="connsiteY19" fmla="*/ 985838 h 1252538"/>
                <a:gd name="connsiteX20" fmla="*/ 0 w 1421606"/>
                <a:gd name="connsiteY20" fmla="*/ 969169 h 1252538"/>
                <a:gd name="connsiteX21" fmla="*/ 207169 w 1421606"/>
                <a:gd name="connsiteY21" fmla="*/ 745332 h 1252538"/>
                <a:gd name="connsiteX22" fmla="*/ 59531 w 1421606"/>
                <a:gd name="connsiteY22" fmla="*/ 640557 h 1252538"/>
                <a:gd name="connsiteX23" fmla="*/ 250031 w 1421606"/>
                <a:gd name="connsiteY23" fmla="*/ 554832 h 12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21606" h="1252538">
                  <a:moveTo>
                    <a:pt x="250031" y="554832"/>
                  </a:moveTo>
                  <a:lnTo>
                    <a:pt x="250031" y="554832"/>
                  </a:lnTo>
                  <a:lnTo>
                    <a:pt x="157162" y="180975"/>
                  </a:lnTo>
                  <a:lnTo>
                    <a:pt x="442912" y="297657"/>
                  </a:lnTo>
                  <a:lnTo>
                    <a:pt x="538162" y="83344"/>
                  </a:lnTo>
                  <a:lnTo>
                    <a:pt x="742950" y="204788"/>
                  </a:lnTo>
                  <a:lnTo>
                    <a:pt x="983456" y="0"/>
                  </a:lnTo>
                  <a:lnTo>
                    <a:pt x="1000125" y="309563"/>
                  </a:lnTo>
                  <a:lnTo>
                    <a:pt x="1421606" y="235744"/>
                  </a:lnTo>
                  <a:lnTo>
                    <a:pt x="1107281" y="519113"/>
                  </a:lnTo>
                  <a:lnTo>
                    <a:pt x="1259681" y="631032"/>
                  </a:lnTo>
                  <a:lnTo>
                    <a:pt x="1092994" y="747713"/>
                  </a:lnTo>
                  <a:lnTo>
                    <a:pt x="1221581" y="1007269"/>
                  </a:lnTo>
                  <a:lnTo>
                    <a:pt x="904875" y="904875"/>
                  </a:lnTo>
                  <a:lnTo>
                    <a:pt x="878681" y="1054894"/>
                  </a:lnTo>
                  <a:lnTo>
                    <a:pt x="785812" y="1007269"/>
                  </a:lnTo>
                  <a:lnTo>
                    <a:pt x="721519" y="1209675"/>
                  </a:lnTo>
                  <a:lnTo>
                    <a:pt x="592931" y="1047750"/>
                  </a:lnTo>
                  <a:lnTo>
                    <a:pt x="326231" y="1252538"/>
                  </a:lnTo>
                  <a:cubicBezTo>
                    <a:pt x="327025" y="1163638"/>
                    <a:pt x="327818" y="1074738"/>
                    <a:pt x="328612" y="985838"/>
                  </a:cubicBezTo>
                  <a:lnTo>
                    <a:pt x="0" y="969169"/>
                  </a:lnTo>
                  <a:lnTo>
                    <a:pt x="207169" y="745332"/>
                  </a:lnTo>
                  <a:lnTo>
                    <a:pt x="59531" y="640557"/>
                  </a:lnTo>
                  <a:lnTo>
                    <a:pt x="250031" y="554832"/>
                  </a:lnTo>
                  <a:close/>
                </a:path>
              </a:pathLst>
            </a:custGeom>
            <a:solidFill>
              <a:srgbClr val="FFFF00"/>
            </a:solid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grpSp>
          <p:nvGrpSpPr>
            <p:cNvPr id="61" name="Group 5"/>
            <p:cNvGrpSpPr>
              <a:grpSpLocks noChangeAspect="1"/>
            </p:cNvGrpSpPr>
            <p:nvPr/>
          </p:nvGrpSpPr>
          <p:grpSpPr bwMode="auto">
            <a:xfrm>
              <a:off x="6785894" y="2241002"/>
              <a:ext cx="1607975" cy="1404564"/>
              <a:chOff x="2256" y="1614"/>
              <a:chExt cx="1249" cy="1091"/>
            </a:xfrm>
          </p:grpSpPr>
          <p:sp>
            <p:nvSpPr>
              <p:cNvPr id="62" name="Freeform 6"/>
              <p:cNvSpPr>
                <a:spLocks noEditPoints="1"/>
              </p:cNvSpPr>
              <p:nvPr/>
            </p:nvSpPr>
            <p:spPr bwMode="auto">
              <a:xfrm>
                <a:off x="2256" y="1614"/>
                <a:ext cx="1249" cy="1091"/>
              </a:xfrm>
              <a:custGeom>
                <a:avLst/>
                <a:gdLst>
                  <a:gd name="T0" fmla="*/ 124 w 529"/>
                  <a:gd name="T1" fmla="*/ 461 h 462"/>
                  <a:gd name="T2" fmla="*/ 122 w 529"/>
                  <a:gd name="T3" fmla="*/ 353 h 462"/>
                  <a:gd name="T4" fmla="*/ 2 w 529"/>
                  <a:gd name="T5" fmla="*/ 355 h 462"/>
                  <a:gd name="T6" fmla="*/ 75 w 529"/>
                  <a:gd name="T7" fmla="*/ 272 h 462"/>
                  <a:gd name="T8" fmla="*/ 21 w 529"/>
                  <a:gd name="T9" fmla="*/ 231 h 462"/>
                  <a:gd name="T10" fmla="*/ 95 w 529"/>
                  <a:gd name="T11" fmla="*/ 196 h 462"/>
                  <a:gd name="T12" fmla="*/ 73 w 529"/>
                  <a:gd name="T13" fmla="*/ 69 h 462"/>
                  <a:gd name="T14" fmla="*/ 167 w 529"/>
                  <a:gd name="T15" fmla="*/ 105 h 462"/>
                  <a:gd name="T16" fmla="*/ 197 w 529"/>
                  <a:gd name="T17" fmla="*/ 35 h 462"/>
                  <a:gd name="T18" fmla="*/ 268 w 529"/>
                  <a:gd name="T19" fmla="*/ 70 h 462"/>
                  <a:gd name="T20" fmla="*/ 361 w 529"/>
                  <a:gd name="T21" fmla="*/ 2 h 462"/>
                  <a:gd name="T22" fmla="*/ 371 w 529"/>
                  <a:gd name="T23" fmla="*/ 100 h 462"/>
                  <a:gd name="T24" fmla="*/ 527 w 529"/>
                  <a:gd name="T25" fmla="*/ 92 h 462"/>
                  <a:gd name="T26" fmla="*/ 413 w 529"/>
                  <a:gd name="T27" fmla="*/ 192 h 462"/>
                  <a:gd name="T28" fmla="*/ 465 w 529"/>
                  <a:gd name="T29" fmla="*/ 230 h 462"/>
                  <a:gd name="T30" fmla="*/ 400 w 529"/>
                  <a:gd name="T31" fmla="*/ 274 h 462"/>
                  <a:gd name="T32" fmla="*/ 444 w 529"/>
                  <a:gd name="T33" fmla="*/ 369 h 462"/>
                  <a:gd name="T34" fmla="*/ 341 w 529"/>
                  <a:gd name="T35" fmla="*/ 336 h 462"/>
                  <a:gd name="T36" fmla="*/ 328 w 529"/>
                  <a:gd name="T37" fmla="*/ 387 h 462"/>
                  <a:gd name="T38" fmla="*/ 294 w 529"/>
                  <a:gd name="T39" fmla="*/ 373 h 462"/>
                  <a:gd name="T40" fmla="*/ 272 w 529"/>
                  <a:gd name="T41" fmla="*/ 447 h 462"/>
                  <a:gd name="T42" fmla="*/ 221 w 529"/>
                  <a:gd name="T43" fmla="*/ 383 h 462"/>
                  <a:gd name="T44" fmla="*/ 130 w 529"/>
                  <a:gd name="T45" fmla="*/ 462 h 462"/>
                  <a:gd name="T46" fmla="*/ 147 w 529"/>
                  <a:gd name="T47" fmla="*/ 328 h 462"/>
                  <a:gd name="T48" fmla="*/ 147 w 529"/>
                  <a:gd name="T49" fmla="*/ 414 h 462"/>
                  <a:gd name="T50" fmla="*/ 226 w 529"/>
                  <a:gd name="T51" fmla="*/ 347 h 462"/>
                  <a:gd name="T52" fmla="*/ 262 w 529"/>
                  <a:gd name="T53" fmla="*/ 395 h 462"/>
                  <a:gd name="T54" fmla="*/ 278 w 529"/>
                  <a:gd name="T55" fmla="*/ 336 h 462"/>
                  <a:gd name="T56" fmla="*/ 311 w 529"/>
                  <a:gd name="T57" fmla="*/ 350 h 462"/>
                  <a:gd name="T58" fmla="*/ 324 w 529"/>
                  <a:gd name="T59" fmla="*/ 306 h 462"/>
                  <a:gd name="T60" fmla="*/ 369 w 529"/>
                  <a:gd name="T61" fmla="*/ 276 h 462"/>
                  <a:gd name="T62" fmla="*/ 374 w 529"/>
                  <a:gd name="T63" fmla="*/ 257 h 462"/>
                  <a:gd name="T64" fmla="*/ 381 w 529"/>
                  <a:gd name="T65" fmla="*/ 206 h 462"/>
                  <a:gd name="T66" fmla="*/ 379 w 529"/>
                  <a:gd name="T67" fmla="*/ 183 h 462"/>
                  <a:gd name="T68" fmla="*/ 358 w 529"/>
                  <a:gd name="T69" fmla="*/ 130 h 462"/>
                  <a:gd name="T70" fmla="*/ 343 w 529"/>
                  <a:gd name="T71" fmla="*/ 116 h 462"/>
                  <a:gd name="T72" fmla="*/ 279 w 529"/>
                  <a:gd name="T73" fmla="*/ 98 h 462"/>
                  <a:gd name="T74" fmla="*/ 210 w 529"/>
                  <a:gd name="T75" fmla="*/ 69 h 462"/>
                  <a:gd name="T76" fmla="*/ 180 w 529"/>
                  <a:gd name="T77" fmla="*/ 137 h 462"/>
                  <a:gd name="T78" fmla="*/ 102 w 529"/>
                  <a:gd name="T79" fmla="*/ 105 h 462"/>
                  <a:gd name="T80" fmla="*/ 117 w 529"/>
                  <a:gd name="T81" fmla="*/ 219 h 462"/>
                  <a:gd name="T82" fmla="*/ 106 w 529"/>
                  <a:gd name="T83" fmla="*/ 257 h 462"/>
                  <a:gd name="T84" fmla="*/ 108 w 529"/>
                  <a:gd name="T85" fmla="*/ 279 h 462"/>
                  <a:gd name="T86" fmla="*/ 136 w 529"/>
                  <a:gd name="T87" fmla="*/ 32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9" h="462">
                    <a:moveTo>
                      <a:pt x="130" y="462"/>
                    </a:moveTo>
                    <a:cubicBezTo>
                      <a:pt x="128" y="462"/>
                      <a:pt x="126" y="462"/>
                      <a:pt x="124" y="461"/>
                    </a:cubicBezTo>
                    <a:cubicBezTo>
                      <a:pt x="119" y="458"/>
                      <a:pt x="116" y="453"/>
                      <a:pt x="117" y="447"/>
                    </a:cubicBezTo>
                    <a:cubicBezTo>
                      <a:pt x="122" y="353"/>
                      <a:pt x="122" y="353"/>
                      <a:pt x="122" y="353"/>
                    </a:cubicBezTo>
                    <a:cubicBezTo>
                      <a:pt x="16" y="363"/>
                      <a:pt x="16" y="363"/>
                      <a:pt x="16" y="363"/>
                    </a:cubicBezTo>
                    <a:cubicBezTo>
                      <a:pt x="10" y="363"/>
                      <a:pt x="4" y="360"/>
                      <a:pt x="2" y="355"/>
                    </a:cubicBezTo>
                    <a:cubicBezTo>
                      <a:pt x="0" y="349"/>
                      <a:pt x="1" y="343"/>
                      <a:pt x="5" y="339"/>
                    </a:cubicBezTo>
                    <a:cubicBezTo>
                      <a:pt x="75" y="272"/>
                      <a:pt x="75" y="272"/>
                      <a:pt x="75" y="272"/>
                    </a:cubicBezTo>
                    <a:cubicBezTo>
                      <a:pt x="28" y="245"/>
                      <a:pt x="28" y="245"/>
                      <a:pt x="28" y="245"/>
                    </a:cubicBezTo>
                    <a:cubicBezTo>
                      <a:pt x="23" y="242"/>
                      <a:pt x="21" y="237"/>
                      <a:pt x="21" y="231"/>
                    </a:cubicBezTo>
                    <a:cubicBezTo>
                      <a:pt x="22" y="226"/>
                      <a:pt x="25" y="221"/>
                      <a:pt x="30" y="220"/>
                    </a:cubicBezTo>
                    <a:cubicBezTo>
                      <a:pt x="95" y="196"/>
                      <a:pt x="95" y="196"/>
                      <a:pt x="95" y="196"/>
                    </a:cubicBezTo>
                    <a:cubicBezTo>
                      <a:pt x="68" y="83"/>
                      <a:pt x="68" y="83"/>
                      <a:pt x="68" y="83"/>
                    </a:cubicBezTo>
                    <a:cubicBezTo>
                      <a:pt x="67" y="78"/>
                      <a:pt x="69" y="72"/>
                      <a:pt x="73" y="69"/>
                    </a:cubicBezTo>
                    <a:cubicBezTo>
                      <a:pt x="77" y="66"/>
                      <a:pt x="83" y="65"/>
                      <a:pt x="88" y="67"/>
                    </a:cubicBezTo>
                    <a:cubicBezTo>
                      <a:pt x="167" y="105"/>
                      <a:pt x="167" y="105"/>
                      <a:pt x="167" y="105"/>
                    </a:cubicBezTo>
                    <a:cubicBezTo>
                      <a:pt x="189" y="44"/>
                      <a:pt x="189" y="44"/>
                      <a:pt x="189" y="44"/>
                    </a:cubicBezTo>
                    <a:cubicBezTo>
                      <a:pt x="190" y="40"/>
                      <a:pt x="193" y="37"/>
                      <a:pt x="197" y="35"/>
                    </a:cubicBezTo>
                    <a:cubicBezTo>
                      <a:pt x="201" y="34"/>
                      <a:pt x="206" y="34"/>
                      <a:pt x="209" y="36"/>
                    </a:cubicBezTo>
                    <a:cubicBezTo>
                      <a:pt x="268" y="70"/>
                      <a:pt x="268" y="70"/>
                      <a:pt x="268" y="70"/>
                    </a:cubicBezTo>
                    <a:cubicBezTo>
                      <a:pt x="347" y="4"/>
                      <a:pt x="347" y="4"/>
                      <a:pt x="347" y="4"/>
                    </a:cubicBezTo>
                    <a:cubicBezTo>
                      <a:pt x="351" y="1"/>
                      <a:pt x="356" y="0"/>
                      <a:pt x="361" y="2"/>
                    </a:cubicBezTo>
                    <a:cubicBezTo>
                      <a:pt x="366" y="4"/>
                      <a:pt x="370" y="9"/>
                      <a:pt x="370" y="15"/>
                    </a:cubicBezTo>
                    <a:cubicBezTo>
                      <a:pt x="371" y="100"/>
                      <a:pt x="371" y="100"/>
                      <a:pt x="371" y="100"/>
                    </a:cubicBezTo>
                    <a:cubicBezTo>
                      <a:pt x="512" y="83"/>
                      <a:pt x="512" y="83"/>
                      <a:pt x="512" y="83"/>
                    </a:cubicBezTo>
                    <a:cubicBezTo>
                      <a:pt x="518" y="82"/>
                      <a:pt x="524" y="86"/>
                      <a:pt x="527" y="92"/>
                    </a:cubicBezTo>
                    <a:cubicBezTo>
                      <a:pt x="529" y="98"/>
                      <a:pt x="527" y="104"/>
                      <a:pt x="522" y="108"/>
                    </a:cubicBezTo>
                    <a:cubicBezTo>
                      <a:pt x="413" y="192"/>
                      <a:pt x="413" y="192"/>
                      <a:pt x="413" y="192"/>
                    </a:cubicBezTo>
                    <a:cubicBezTo>
                      <a:pt x="458" y="218"/>
                      <a:pt x="458" y="218"/>
                      <a:pt x="458" y="218"/>
                    </a:cubicBezTo>
                    <a:cubicBezTo>
                      <a:pt x="462" y="221"/>
                      <a:pt x="465" y="225"/>
                      <a:pt x="465" y="230"/>
                    </a:cubicBezTo>
                    <a:cubicBezTo>
                      <a:pt x="465" y="235"/>
                      <a:pt x="462" y="240"/>
                      <a:pt x="458" y="243"/>
                    </a:cubicBezTo>
                    <a:cubicBezTo>
                      <a:pt x="400" y="274"/>
                      <a:pt x="400" y="274"/>
                      <a:pt x="400" y="274"/>
                    </a:cubicBezTo>
                    <a:cubicBezTo>
                      <a:pt x="446" y="353"/>
                      <a:pt x="446" y="353"/>
                      <a:pt x="446" y="353"/>
                    </a:cubicBezTo>
                    <a:cubicBezTo>
                      <a:pt x="449" y="358"/>
                      <a:pt x="448" y="365"/>
                      <a:pt x="444" y="369"/>
                    </a:cubicBezTo>
                    <a:cubicBezTo>
                      <a:pt x="440" y="374"/>
                      <a:pt x="434" y="375"/>
                      <a:pt x="428" y="373"/>
                    </a:cubicBezTo>
                    <a:cubicBezTo>
                      <a:pt x="396" y="358"/>
                      <a:pt x="359" y="343"/>
                      <a:pt x="341" y="336"/>
                    </a:cubicBezTo>
                    <a:cubicBezTo>
                      <a:pt x="339" y="347"/>
                      <a:pt x="337" y="362"/>
                      <a:pt x="336" y="376"/>
                    </a:cubicBezTo>
                    <a:cubicBezTo>
                      <a:pt x="335" y="381"/>
                      <a:pt x="332" y="385"/>
                      <a:pt x="328" y="387"/>
                    </a:cubicBezTo>
                    <a:cubicBezTo>
                      <a:pt x="324" y="389"/>
                      <a:pt x="318" y="389"/>
                      <a:pt x="314" y="386"/>
                    </a:cubicBezTo>
                    <a:cubicBezTo>
                      <a:pt x="294" y="373"/>
                      <a:pt x="294" y="373"/>
                      <a:pt x="294" y="373"/>
                    </a:cubicBezTo>
                    <a:cubicBezTo>
                      <a:pt x="284" y="436"/>
                      <a:pt x="284" y="436"/>
                      <a:pt x="284" y="436"/>
                    </a:cubicBezTo>
                    <a:cubicBezTo>
                      <a:pt x="283" y="441"/>
                      <a:pt x="278" y="446"/>
                      <a:pt x="272" y="447"/>
                    </a:cubicBezTo>
                    <a:cubicBezTo>
                      <a:pt x="267" y="448"/>
                      <a:pt x="261" y="446"/>
                      <a:pt x="258" y="441"/>
                    </a:cubicBezTo>
                    <a:cubicBezTo>
                      <a:pt x="221" y="383"/>
                      <a:pt x="221" y="383"/>
                      <a:pt x="221" y="383"/>
                    </a:cubicBezTo>
                    <a:cubicBezTo>
                      <a:pt x="140" y="458"/>
                      <a:pt x="140" y="458"/>
                      <a:pt x="140" y="458"/>
                    </a:cubicBezTo>
                    <a:cubicBezTo>
                      <a:pt x="137" y="461"/>
                      <a:pt x="134" y="462"/>
                      <a:pt x="130" y="462"/>
                    </a:cubicBezTo>
                    <a:close/>
                    <a:moveTo>
                      <a:pt x="137" y="324"/>
                    </a:moveTo>
                    <a:cubicBezTo>
                      <a:pt x="141" y="324"/>
                      <a:pt x="145" y="325"/>
                      <a:pt x="147" y="328"/>
                    </a:cubicBezTo>
                    <a:cubicBezTo>
                      <a:pt x="150" y="331"/>
                      <a:pt x="152" y="335"/>
                      <a:pt x="151" y="339"/>
                    </a:cubicBezTo>
                    <a:cubicBezTo>
                      <a:pt x="147" y="414"/>
                      <a:pt x="147" y="414"/>
                      <a:pt x="147" y="414"/>
                    </a:cubicBezTo>
                    <a:cubicBezTo>
                      <a:pt x="214" y="351"/>
                      <a:pt x="214" y="351"/>
                      <a:pt x="214" y="351"/>
                    </a:cubicBezTo>
                    <a:cubicBezTo>
                      <a:pt x="218" y="348"/>
                      <a:pt x="222" y="347"/>
                      <a:pt x="226" y="347"/>
                    </a:cubicBezTo>
                    <a:cubicBezTo>
                      <a:pt x="230" y="348"/>
                      <a:pt x="234" y="350"/>
                      <a:pt x="236" y="354"/>
                    </a:cubicBezTo>
                    <a:cubicBezTo>
                      <a:pt x="262" y="395"/>
                      <a:pt x="262" y="395"/>
                      <a:pt x="262" y="395"/>
                    </a:cubicBezTo>
                    <a:cubicBezTo>
                      <a:pt x="270" y="347"/>
                      <a:pt x="270" y="347"/>
                      <a:pt x="270" y="347"/>
                    </a:cubicBezTo>
                    <a:cubicBezTo>
                      <a:pt x="271" y="342"/>
                      <a:pt x="274" y="338"/>
                      <a:pt x="278" y="336"/>
                    </a:cubicBezTo>
                    <a:cubicBezTo>
                      <a:pt x="283" y="334"/>
                      <a:pt x="288" y="335"/>
                      <a:pt x="292" y="337"/>
                    </a:cubicBezTo>
                    <a:cubicBezTo>
                      <a:pt x="311" y="350"/>
                      <a:pt x="311" y="350"/>
                      <a:pt x="311" y="350"/>
                    </a:cubicBezTo>
                    <a:cubicBezTo>
                      <a:pt x="313" y="335"/>
                      <a:pt x="315" y="319"/>
                      <a:pt x="316" y="315"/>
                    </a:cubicBezTo>
                    <a:cubicBezTo>
                      <a:pt x="317" y="311"/>
                      <a:pt x="320" y="308"/>
                      <a:pt x="324" y="306"/>
                    </a:cubicBezTo>
                    <a:cubicBezTo>
                      <a:pt x="329" y="304"/>
                      <a:pt x="335" y="302"/>
                      <a:pt x="400" y="330"/>
                    </a:cubicBezTo>
                    <a:cubicBezTo>
                      <a:pt x="369" y="276"/>
                      <a:pt x="369" y="276"/>
                      <a:pt x="369" y="276"/>
                    </a:cubicBezTo>
                    <a:cubicBezTo>
                      <a:pt x="367" y="273"/>
                      <a:pt x="366" y="269"/>
                      <a:pt x="367" y="265"/>
                    </a:cubicBezTo>
                    <a:cubicBezTo>
                      <a:pt x="368" y="261"/>
                      <a:pt x="371" y="258"/>
                      <a:pt x="374" y="257"/>
                    </a:cubicBezTo>
                    <a:cubicBezTo>
                      <a:pt x="422" y="230"/>
                      <a:pt x="422" y="230"/>
                      <a:pt x="422" y="230"/>
                    </a:cubicBezTo>
                    <a:cubicBezTo>
                      <a:pt x="381" y="206"/>
                      <a:pt x="381" y="206"/>
                      <a:pt x="381" y="206"/>
                    </a:cubicBezTo>
                    <a:cubicBezTo>
                      <a:pt x="377" y="204"/>
                      <a:pt x="374" y="199"/>
                      <a:pt x="374" y="195"/>
                    </a:cubicBezTo>
                    <a:cubicBezTo>
                      <a:pt x="373" y="190"/>
                      <a:pt x="375" y="186"/>
                      <a:pt x="379" y="183"/>
                    </a:cubicBezTo>
                    <a:cubicBezTo>
                      <a:pt x="465" y="117"/>
                      <a:pt x="465" y="117"/>
                      <a:pt x="465" y="117"/>
                    </a:cubicBezTo>
                    <a:cubicBezTo>
                      <a:pt x="358" y="130"/>
                      <a:pt x="358" y="130"/>
                      <a:pt x="358" y="130"/>
                    </a:cubicBezTo>
                    <a:cubicBezTo>
                      <a:pt x="354" y="130"/>
                      <a:pt x="350" y="129"/>
                      <a:pt x="348" y="127"/>
                    </a:cubicBezTo>
                    <a:cubicBezTo>
                      <a:pt x="345" y="124"/>
                      <a:pt x="343" y="120"/>
                      <a:pt x="343" y="116"/>
                    </a:cubicBezTo>
                    <a:cubicBezTo>
                      <a:pt x="342" y="45"/>
                      <a:pt x="342" y="45"/>
                      <a:pt x="342" y="45"/>
                    </a:cubicBezTo>
                    <a:cubicBezTo>
                      <a:pt x="279" y="98"/>
                      <a:pt x="279" y="98"/>
                      <a:pt x="279" y="98"/>
                    </a:cubicBezTo>
                    <a:cubicBezTo>
                      <a:pt x="274" y="102"/>
                      <a:pt x="268" y="102"/>
                      <a:pt x="263" y="99"/>
                    </a:cubicBezTo>
                    <a:cubicBezTo>
                      <a:pt x="210" y="69"/>
                      <a:pt x="210" y="69"/>
                      <a:pt x="210" y="69"/>
                    </a:cubicBezTo>
                    <a:cubicBezTo>
                      <a:pt x="188" y="129"/>
                      <a:pt x="188" y="129"/>
                      <a:pt x="188" y="129"/>
                    </a:cubicBezTo>
                    <a:cubicBezTo>
                      <a:pt x="186" y="133"/>
                      <a:pt x="183" y="136"/>
                      <a:pt x="180" y="137"/>
                    </a:cubicBezTo>
                    <a:cubicBezTo>
                      <a:pt x="176" y="139"/>
                      <a:pt x="172" y="138"/>
                      <a:pt x="169" y="137"/>
                    </a:cubicBezTo>
                    <a:cubicBezTo>
                      <a:pt x="102" y="105"/>
                      <a:pt x="102" y="105"/>
                      <a:pt x="102" y="105"/>
                    </a:cubicBezTo>
                    <a:cubicBezTo>
                      <a:pt x="125" y="202"/>
                      <a:pt x="125" y="202"/>
                      <a:pt x="125" y="202"/>
                    </a:cubicBezTo>
                    <a:cubicBezTo>
                      <a:pt x="127" y="209"/>
                      <a:pt x="123" y="216"/>
                      <a:pt x="117" y="219"/>
                    </a:cubicBezTo>
                    <a:cubicBezTo>
                      <a:pt x="68" y="236"/>
                      <a:pt x="68" y="236"/>
                      <a:pt x="68" y="236"/>
                    </a:cubicBezTo>
                    <a:cubicBezTo>
                      <a:pt x="106" y="257"/>
                      <a:pt x="106" y="257"/>
                      <a:pt x="106" y="257"/>
                    </a:cubicBezTo>
                    <a:cubicBezTo>
                      <a:pt x="109" y="259"/>
                      <a:pt x="112" y="263"/>
                      <a:pt x="113" y="268"/>
                    </a:cubicBezTo>
                    <a:cubicBezTo>
                      <a:pt x="113" y="272"/>
                      <a:pt x="112" y="276"/>
                      <a:pt x="108" y="279"/>
                    </a:cubicBezTo>
                    <a:cubicBezTo>
                      <a:pt x="54" y="331"/>
                      <a:pt x="54" y="331"/>
                      <a:pt x="54" y="331"/>
                    </a:cubicBezTo>
                    <a:cubicBezTo>
                      <a:pt x="136" y="324"/>
                      <a:pt x="136" y="324"/>
                      <a:pt x="136" y="324"/>
                    </a:cubicBezTo>
                    <a:cubicBezTo>
                      <a:pt x="137" y="324"/>
                      <a:pt x="137" y="324"/>
                      <a:pt x="137" y="32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68" name="Freeform 7"/>
              <p:cNvSpPr>
                <a:spLocks/>
              </p:cNvSpPr>
              <p:nvPr/>
            </p:nvSpPr>
            <p:spPr bwMode="auto">
              <a:xfrm>
                <a:off x="2584" y="1855"/>
                <a:ext cx="525" cy="556"/>
              </a:xfrm>
              <a:custGeom>
                <a:avLst/>
                <a:gdLst>
                  <a:gd name="T0" fmla="*/ 267 w 473"/>
                  <a:gd name="T1" fmla="*/ 88 h 501"/>
                  <a:gd name="T2" fmla="*/ 381 w 473"/>
                  <a:gd name="T3" fmla="*/ 0 h 501"/>
                  <a:gd name="T4" fmla="*/ 381 w 473"/>
                  <a:gd name="T5" fmla="*/ 139 h 501"/>
                  <a:gd name="T6" fmla="*/ 473 w 473"/>
                  <a:gd name="T7" fmla="*/ 118 h 501"/>
                  <a:gd name="T8" fmla="*/ 352 w 473"/>
                  <a:gd name="T9" fmla="*/ 246 h 501"/>
                  <a:gd name="T10" fmla="*/ 454 w 473"/>
                  <a:gd name="T11" fmla="*/ 385 h 501"/>
                  <a:gd name="T12" fmla="*/ 286 w 473"/>
                  <a:gd name="T13" fmla="*/ 347 h 501"/>
                  <a:gd name="T14" fmla="*/ 267 w 473"/>
                  <a:gd name="T15" fmla="*/ 501 h 501"/>
                  <a:gd name="T16" fmla="*/ 194 w 473"/>
                  <a:gd name="T17" fmla="*/ 399 h 501"/>
                  <a:gd name="T18" fmla="*/ 128 w 473"/>
                  <a:gd name="T19" fmla="*/ 451 h 501"/>
                  <a:gd name="T20" fmla="*/ 128 w 473"/>
                  <a:gd name="T21" fmla="*/ 392 h 501"/>
                  <a:gd name="T22" fmla="*/ 0 w 473"/>
                  <a:gd name="T23" fmla="*/ 387 h 501"/>
                  <a:gd name="T24" fmla="*/ 78 w 473"/>
                  <a:gd name="T25" fmla="*/ 302 h 501"/>
                  <a:gd name="T26" fmla="*/ 24 w 473"/>
                  <a:gd name="T27" fmla="*/ 272 h 501"/>
                  <a:gd name="T28" fmla="*/ 71 w 473"/>
                  <a:gd name="T29" fmla="*/ 220 h 501"/>
                  <a:gd name="T30" fmla="*/ 0 w 473"/>
                  <a:gd name="T31" fmla="*/ 132 h 501"/>
                  <a:gd name="T32" fmla="*/ 144 w 473"/>
                  <a:gd name="T33" fmla="*/ 132 h 501"/>
                  <a:gd name="T34" fmla="*/ 208 w 473"/>
                  <a:gd name="T35" fmla="*/ 0 h 501"/>
                  <a:gd name="T36" fmla="*/ 267 w 473"/>
                  <a:gd name="T37" fmla="*/ 8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3" h="501">
                    <a:moveTo>
                      <a:pt x="267" y="88"/>
                    </a:moveTo>
                    <a:lnTo>
                      <a:pt x="381" y="0"/>
                    </a:lnTo>
                    <a:lnTo>
                      <a:pt x="381" y="139"/>
                    </a:lnTo>
                    <a:lnTo>
                      <a:pt x="473" y="118"/>
                    </a:lnTo>
                    <a:lnTo>
                      <a:pt x="352" y="246"/>
                    </a:lnTo>
                    <a:lnTo>
                      <a:pt x="454" y="385"/>
                    </a:lnTo>
                    <a:lnTo>
                      <a:pt x="286" y="347"/>
                    </a:lnTo>
                    <a:lnTo>
                      <a:pt x="267" y="501"/>
                    </a:lnTo>
                    <a:lnTo>
                      <a:pt x="194" y="399"/>
                    </a:lnTo>
                    <a:lnTo>
                      <a:pt x="128" y="451"/>
                    </a:lnTo>
                    <a:lnTo>
                      <a:pt x="128" y="392"/>
                    </a:lnTo>
                    <a:lnTo>
                      <a:pt x="0" y="387"/>
                    </a:lnTo>
                    <a:lnTo>
                      <a:pt x="78" y="302"/>
                    </a:lnTo>
                    <a:lnTo>
                      <a:pt x="24" y="272"/>
                    </a:lnTo>
                    <a:lnTo>
                      <a:pt x="71" y="220"/>
                    </a:lnTo>
                    <a:lnTo>
                      <a:pt x="0" y="132"/>
                    </a:lnTo>
                    <a:lnTo>
                      <a:pt x="144" y="132"/>
                    </a:lnTo>
                    <a:lnTo>
                      <a:pt x="208" y="0"/>
                    </a:lnTo>
                    <a:lnTo>
                      <a:pt x="267" y="88"/>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grpSp>
      <p:sp>
        <p:nvSpPr>
          <p:cNvPr id="2" name="Footer Placeholder 1"/>
          <p:cNvSpPr>
            <a:spLocks noGrp="1"/>
          </p:cNvSpPr>
          <p:nvPr>
            <p:ph type="ftr" sz="quarter" idx="12"/>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64" name="Rectangle 63"/>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481509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25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nodeType="withEffect">
                                  <p:stCondLst>
                                    <p:cond delay="25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25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2250"/>
                            </p:stCondLst>
                            <p:childTnLst>
                              <p:par>
                                <p:cTn id="26" presetID="22" presetClass="entr" presetSubtype="8" fill="hold" nodeType="after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wipe(left)">
                                      <p:cBhvr>
                                        <p:cTn id="28" dur="200"/>
                                        <p:tgtEl>
                                          <p:spTgt spid="88"/>
                                        </p:tgtEl>
                                      </p:cBhvr>
                                    </p:animEffect>
                                  </p:childTnLst>
                                </p:cTn>
                              </p:par>
                            </p:childTnLst>
                          </p:cTn>
                        </p:par>
                        <p:par>
                          <p:cTn id="29" fill="hold">
                            <p:stCondLst>
                              <p:cond delay="2450"/>
                            </p:stCondLst>
                            <p:childTnLst>
                              <p:par>
                                <p:cTn id="30" presetID="22" presetClass="entr" presetSubtype="1" fill="hold" nodeType="afterEffect">
                                  <p:stCondLst>
                                    <p:cond delay="0"/>
                                  </p:stCondLst>
                                  <p:childTnLst>
                                    <p:set>
                                      <p:cBhvr>
                                        <p:cTn id="31" dur="1" fill="hold">
                                          <p:stCondLst>
                                            <p:cond delay="0"/>
                                          </p:stCondLst>
                                        </p:cTn>
                                        <p:tgtEl>
                                          <p:spTgt spid="70"/>
                                        </p:tgtEl>
                                        <p:attrNameLst>
                                          <p:attrName>style.visibility</p:attrName>
                                        </p:attrNameLst>
                                      </p:cBhvr>
                                      <p:to>
                                        <p:strVal val="visible"/>
                                      </p:to>
                                    </p:set>
                                    <p:animEffect transition="in" filter="wipe(up)">
                                      <p:cBhvr>
                                        <p:cTn id="32" dur="200"/>
                                        <p:tgtEl>
                                          <p:spTgt spid="70"/>
                                        </p:tgtEl>
                                      </p:cBhvr>
                                    </p:animEffect>
                                  </p:childTnLst>
                                </p:cTn>
                              </p:par>
                            </p:childTnLst>
                          </p:cTn>
                        </p:par>
                        <p:par>
                          <p:cTn id="33" fill="hold">
                            <p:stCondLst>
                              <p:cond delay="2650"/>
                            </p:stCondLst>
                            <p:childTnLst>
                              <p:par>
                                <p:cTn id="34" presetID="22" presetClass="entr" presetSubtype="8" fill="hold" nodeType="afterEffect">
                                  <p:stCondLst>
                                    <p:cond delay="0"/>
                                  </p:stCondLst>
                                  <p:childTnLst>
                                    <p:set>
                                      <p:cBhvr>
                                        <p:cTn id="35" dur="1" fill="hold">
                                          <p:stCondLst>
                                            <p:cond delay="0"/>
                                          </p:stCondLst>
                                        </p:cTn>
                                        <p:tgtEl>
                                          <p:spTgt spid="69"/>
                                        </p:tgtEl>
                                        <p:attrNameLst>
                                          <p:attrName>style.visibility</p:attrName>
                                        </p:attrNameLst>
                                      </p:cBhvr>
                                      <p:to>
                                        <p:strVal val="visible"/>
                                      </p:to>
                                    </p:set>
                                    <p:animEffect transition="in" filter="wipe(left)">
                                      <p:cBhvr>
                                        <p:cTn id="36" dur="200"/>
                                        <p:tgtEl>
                                          <p:spTgt spid="69"/>
                                        </p:tgtEl>
                                      </p:cBhvr>
                                    </p:animEffect>
                                  </p:childTnLst>
                                </p:cTn>
                              </p:par>
                            </p:childTnLst>
                          </p:cTn>
                        </p:par>
                        <p:par>
                          <p:cTn id="37" fill="hold">
                            <p:stCondLst>
                              <p:cond delay="2850"/>
                            </p:stCondLst>
                            <p:childTnLst>
                              <p:par>
                                <p:cTn id="38" presetID="22" presetClass="entr" presetSubtype="1" fill="hold" nodeType="afterEffect">
                                  <p:stCondLst>
                                    <p:cond delay="0"/>
                                  </p:stCondLst>
                                  <p:childTnLst>
                                    <p:set>
                                      <p:cBhvr>
                                        <p:cTn id="39" dur="1" fill="hold">
                                          <p:stCondLst>
                                            <p:cond delay="0"/>
                                          </p:stCondLst>
                                        </p:cTn>
                                        <p:tgtEl>
                                          <p:spTgt spid="89"/>
                                        </p:tgtEl>
                                        <p:attrNameLst>
                                          <p:attrName>style.visibility</p:attrName>
                                        </p:attrNameLst>
                                      </p:cBhvr>
                                      <p:to>
                                        <p:strVal val="visible"/>
                                      </p:to>
                                    </p:set>
                                    <p:animEffect transition="in" filter="wipe(up)">
                                      <p:cBhvr>
                                        <p:cTn id="40" dur="200"/>
                                        <p:tgtEl>
                                          <p:spTgt spid="89"/>
                                        </p:tgtEl>
                                      </p:cBhvr>
                                    </p:animEffect>
                                  </p:childTnLst>
                                </p:cTn>
                              </p:par>
                            </p:childTnLst>
                          </p:cTn>
                        </p:par>
                        <p:par>
                          <p:cTn id="41" fill="hold">
                            <p:stCondLst>
                              <p:cond delay="3050"/>
                            </p:stCondLst>
                            <p:childTnLst>
                              <p:par>
                                <p:cTn id="42" presetID="22" presetClass="entr" presetSubtype="8" fill="hold" nodeType="afterEffect">
                                  <p:stCondLst>
                                    <p:cond delay="0"/>
                                  </p:stCondLst>
                                  <p:childTnLst>
                                    <p:set>
                                      <p:cBhvr>
                                        <p:cTn id="43" dur="1" fill="hold">
                                          <p:stCondLst>
                                            <p:cond delay="0"/>
                                          </p:stCondLst>
                                        </p:cTn>
                                        <p:tgtEl>
                                          <p:spTgt spid="90"/>
                                        </p:tgtEl>
                                        <p:attrNameLst>
                                          <p:attrName>style.visibility</p:attrName>
                                        </p:attrNameLst>
                                      </p:cBhvr>
                                      <p:to>
                                        <p:strVal val="visible"/>
                                      </p:to>
                                    </p:set>
                                    <p:animEffect transition="in" filter="wipe(left)">
                                      <p:cBhvr>
                                        <p:cTn id="44" dur="200"/>
                                        <p:tgtEl>
                                          <p:spTgt spid="90"/>
                                        </p:tgtEl>
                                      </p:cBhvr>
                                    </p:animEffect>
                                  </p:childTnLst>
                                </p:cTn>
                              </p:par>
                            </p:childTnLst>
                          </p:cTn>
                        </p:par>
                        <p:par>
                          <p:cTn id="45" fill="hold">
                            <p:stCondLst>
                              <p:cond delay="3250"/>
                            </p:stCondLst>
                            <p:childTnLst>
                              <p:par>
                                <p:cTn id="46" presetID="22" presetClass="entr" presetSubtype="8" fill="hold" nodeType="afterEffect">
                                  <p:stCondLst>
                                    <p:cond delay="0"/>
                                  </p:stCondLst>
                                  <p:childTnLst>
                                    <p:set>
                                      <p:cBhvr>
                                        <p:cTn id="47" dur="1" fill="hold">
                                          <p:stCondLst>
                                            <p:cond delay="0"/>
                                          </p:stCondLst>
                                        </p:cTn>
                                        <p:tgtEl>
                                          <p:spTgt spid="127"/>
                                        </p:tgtEl>
                                        <p:attrNameLst>
                                          <p:attrName>style.visibility</p:attrName>
                                        </p:attrNameLst>
                                      </p:cBhvr>
                                      <p:to>
                                        <p:strVal val="visible"/>
                                      </p:to>
                                    </p:set>
                                    <p:animEffect transition="in" filter="wipe(left)">
                                      <p:cBhvr>
                                        <p:cTn id="48" dur="200"/>
                                        <p:tgtEl>
                                          <p:spTgt spid="127"/>
                                        </p:tgtEl>
                                      </p:cBhvr>
                                    </p:animEffect>
                                  </p:childTnLst>
                                </p:cTn>
                              </p:par>
                              <p:par>
                                <p:cTn id="49" presetID="53" presetClass="entr" presetSubtype="16"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anim calcmode="lin" valueType="num">
                                      <p:cBhvr>
                                        <p:cTn id="51" dur="250" fill="hold"/>
                                        <p:tgtEl>
                                          <p:spTgt spid="49"/>
                                        </p:tgtEl>
                                        <p:attrNameLst>
                                          <p:attrName>ppt_w</p:attrName>
                                        </p:attrNameLst>
                                      </p:cBhvr>
                                      <p:tavLst>
                                        <p:tav tm="0">
                                          <p:val>
                                            <p:fltVal val="0"/>
                                          </p:val>
                                        </p:tav>
                                        <p:tav tm="100000">
                                          <p:val>
                                            <p:strVal val="#ppt_w"/>
                                          </p:val>
                                        </p:tav>
                                      </p:tavLst>
                                    </p:anim>
                                    <p:anim calcmode="lin" valueType="num">
                                      <p:cBhvr>
                                        <p:cTn id="52" dur="250" fill="hold"/>
                                        <p:tgtEl>
                                          <p:spTgt spid="49"/>
                                        </p:tgtEl>
                                        <p:attrNameLst>
                                          <p:attrName>ppt_h</p:attrName>
                                        </p:attrNameLst>
                                      </p:cBhvr>
                                      <p:tavLst>
                                        <p:tav tm="0">
                                          <p:val>
                                            <p:fltVal val="0"/>
                                          </p:val>
                                        </p:tav>
                                        <p:tav tm="100000">
                                          <p:val>
                                            <p:strVal val="#ppt_h"/>
                                          </p:val>
                                        </p:tav>
                                      </p:tavLst>
                                    </p:anim>
                                    <p:animEffect transition="in" filter="fade">
                                      <p:cBhvr>
                                        <p:cTn id="53" dur="250"/>
                                        <p:tgtEl>
                                          <p:spTgt spid="49"/>
                                        </p:tgtEl>
                                      </p:cBhvr>
                                    </p:animEffect>
                                  </p:childTnLst>
                                </p:cTn>
                              </p:par>
                              <p:par>
                                <p:cTn id="54" presetID="6" presetClass="emph" presetSubtype="0" autoRev="1" fill="hold" nodeType="withEffect">
                                  <p:stCondLst>
                                    <p:cond delay="250"/>
                                  </p:stCondLst>
                                  <p:childTnLst>
                                    <p:animScale>
                                      <p:cBhvr>
                                        <p:cTn id="55" dur="100" fill="hold"/>
                                        <p:tgtEl>
                                          <p:spTgt spid="49"/>
                                        </p:tgtEl>
                                      </p:cBhvr>
                                      <p:by x="110000" y="110000"/>
                                    </p:animScale>
                                  </p:childTnLst>
                                </p:cTn>
                              </p:par>
                            </p:childTnLst>
                          </p:cTn>
                        </p:par>
                        <p:par>
                          <p:cTn id="56" fill="hold">
                            <p:stCondLst>
                              <p:cond delay="3700"/>
                            </p:stCondLst>
                            <p:childTnLst>
                              <p:par>
                                <p:cTn id="57" presetID="22" presetClass="entr" presetSubtype="1" fill="hold" nodeType="afterEffect">
                                  <p:stCondLst>
                                    <p:cond delay="0"/>
                                  </p:stCondLst>
                                  <p:childTnLst>
                                    <p:set>
                                      <p:cBhvr>
                                        <p:cTn id="58" dur="1" fill="hold">
                                          <p:stCondLst>
                                            <p:cond delay="0"/>
                                          </p:stCondLst>
                                        </p:cTn>
                                        <p:tgtEl>
                                          <p:spTgt spid="126"/>
                                        </p:tgtEl>
                                        <p:attrNameLst>
                                          <p:attrName>style.visibility</p:attrName>
                                        </p:attrNameLst>
                                      </p:cBhvr>
                                      <p:to>
                                        <p:strVal val="visible"/>
                                      </p:to>
                                    </p:set>
                                    <p:animEffect transition="in" filter="wipe(up)">
                                      <p:cBhvr>
                                        <p:cTn id="59" dur="200"/>
                                        <p:tgtEl>
                                          <p:spTgt spid="126"/>
                                        </p:tgtEl>
                                      </p:cBhvr>
                                    </p:animEffect>
                                  </p:childTnLst>
                                </p:cTn>
                              </p:par>
                            </p:childTnLst>
                          </p:cTn>
                        </p:par>
                        <p:par>
                          <p:cTn id="60" fill="hold">
                            <p:stCondLst>
                              <p:cond delay="3900"/>
                            </p:stCondLst>
                            <p:childTnLst>
                              <p:par>
                                <p:cTn id="61" presetID="22" presetClass="entr" presetSubtype="8" fill="hold" nodeType="afterEffect">
                                  <p:stCondLst>
                                    <p:cond delay="0"/>
                                  </p:stCondLst>
                                  <p:childTnLst>
                                    <p:set>
                                      <p:cBhvr>
                                        <p:cTn id="62" dur="1" fill="hold">
                                          <p:stCondLst>
                                            <p:cond delay="0"/>
                                          </p:stCondLst>
                                        </p:cTn>
                                        <p:tgtEl>
                                          <p:spTgt spid="112"/>
                                        </p:tgtEl>
                                        <p:attrNameLst>
                                          <p:attrName>style.visibility</p:attrName>
                                        </p:attrNameLst>
                                      </p:cBhvr>
                                      <p:to>
                                        <p:strVal val="visible"/>
                                      </p:to>
                                    </p:set>
                                    <p:animEffect transition="in" filter="wipe(left)">
                                      <p:cBhvr>
                                        <p:cTn id="63" dur="200"/>
                                        <p:tgtEl>
                                          <p:spTgt spid="112"/>
                                        </p:tgtEl>
                                      </p:cBhvr>
                                    </p:animEffect>
                                  </p:childTnLst>
                                </p:cTn>
                              </p:par>
                              <p:par>
                                <p:cTn id="64" presetID="53" presetClass="entr" presetSubtype="16" fill="hold" nodeType="withEffect">
                                  <p:stCondLst>
                                    <p:cond delay="0"/>
                                  </p:stCondLst>
                                  <p:childTnLst>
                                    <p:set>
                                      <p:cBhvr>
                                        <p:cTn id="65" dur="1" fill="hold">
                                          <p:stCondLst>
                                            <p:cond delay="0"/>
                                          </p:stCondLst>
                                        </p:cTn>
                                        <p:tgtEl>
                                          <p:spTgt spid="54"/>
                                        </p:tgtEl>
                                        <p:attrNameLst>
                                          <p:attrName>style.visibility</p:attrName>
                                        </p:attrNameLst>
                                      </p:cBhvr>
                                      <p:to>
                                        <p:strVal val="visible"/>
                                      </p:to>
                                    </p:set>
                                    <p:anim calcmode="lin" valueType="num">
                                      <p:cBhvr>
                                        <p:cTn id="66" dur="250" fill="hold"/>
                                        <p:tgtEl>
                                          <p:spTgt spid="54"/>
                                        </p:tgtEl>
                                        <p:attrNameLst>
                                          <p:attrName>ppt_w</p:attrName>
                                        </p:attrNameLst>
                                      </p:cBhvr>
                                      <p:tavLst>
                                        <p:tav tm="0">
                                          <p:val>
                                            <p:fltVal val="0"/>
                                          </p:val>
                                        </p:tav>
                                        <p:tav tm="100000">
                                          <p:val>
                                            <p:strVal val="#ppt_w"/>
                                          </p:val>
                                        </p:tav>
                                      </p:tavLst>
                                    </p:anim>
                                    <p:anim calcmode="lin" valueType="num">
                                      <p:cBhvr>
                                        <p:cTn id="67" dur="250" fill="hold"/>
                                        <p:tgtEl>
                                          <p:spTgt spid="54"/>
                                        </p:tgtEl>
                                        <p:attrNameLst>
                                          <p:attrName>ppt_h</p:attrName>
                                        </p:attrNameLst>
                                      </p:cBhvr>
                                      <p:tavLst>
                                        <p:tav tm="0">
                                          <p:val>
                                            <p:fltVal val="0"/>
                                          </p:val>
                                        </p:tav>
                                        <p:tav tm="100000">
                                          <p:val>
                                            <p:strVal val="#ppt_h"/>
                                          </p:val>
                                        </p:tav>
                                      </p:tavLst>
                                    </p:anim>
                                    <p:animEffect transition="in" filter="fade">
                                      <p:cBhvr>
                                        <p:cTn id="68" dur="250"/>
                                        <p:tgtEl>
                                          <p:spTgt spid="54"/>
                                        </p:tgtEl>
                                      </p:cBhvr>
                                    </p:animEffect>
                                  </p:childTnLst>
                                </p:cTn>
                              </p:par>
                              <p:par>
                                <p:cTn id="69" presetID="6" presetClass="emph" presetSubtype="0" autoRev="1" fill="hold" nodeType="withEffect">
                                  <p:stCondLst>
                                    <p:cond delay="250"/>
                                  </p:stCondLst>
                                  <p:childTnLst>
                                    <p:animScale>
                                      <p:cBhvr>
                                        <p:cTn id="70" dur="100" fill="hold"/>
                                        <p:tgtEl>
                                          <p:spTgt spid="54"/>
                                        </p:tgtEl>
                                      </p:cBhvr>
                                      <p:by x="110000" y="110000"/>
                                    </p:animScale>
                                  </p:childTnLst>
                                </p:cTn>
                              </p:par>
                            </p:childTnLst>
                          </p:cTn>
                        </p:par>
                        <p:par>
                          <p:cTn id="71" fill="hold">
                            <p:stCondLst>
                              <p:cond delay="4350"/>
                            </p:stCondLst>
                            <p:childTnLst>
                              <p:par>
                                <p:cTn id="72" presetID="22" presetClass="entr" presetSubtype="1" fill="hold" nodeType="afterEffect">
                                  <p:stCondLst>
                                    <p:cond delay="0"/>
                                  </p:stCondLst>
                                  <p:childTnLst>
                                    <p:set>
                                      <p:cBhvr>
                                        <p:cTn id="73" dur="1" fill="hold">
                                          <p:stCondLst>
                                            <p:cond delay="0"/>
                                          </p:stCondLst>
                                        </p:cTn>
                                        <p:tgtEl>
                                          <p:spTgt spid="128"/>
                                        </p:tgtEl>
                                        <p:attrNameLst>
                                          <p:attrName>style.visibility</p:attrName>
                                        </p:attrNameLst>
                                      </p:cBhvr>
                                      <p:to>
                                        <p:strVal val="visible"/>
                                      </p:to>
                                    </p:set>
                                    <p:animEffect transition="in" filter="wipe(up)">
                                      <p:cBhvr>
                                        <p:cTn id="74" dur="200"/>
                                        <p:tgtEl>
                                          <p:spTgt spid="128"/>
                                        </p:tgtEl>
                                      </p:cBhvr>
                                    </p:animEffect>
                                  </p:childTnLst>
                                </p:cTn>
                              </p:par>
                            </p:childTnLst>
                          </p:cTn>
                        </p:par>
                        <p:par>
                          <p:cTn id="75" fill="hold">
                            <p:stCondLst>
                              <p:cond delay="4550"/>
                            </p:stCondLst>
                            <p:childTnLst>
                              <p:par>
                                <p:cTn id="76" presetID="22" presetClass="entr" presetSubtype="8" fill="hold" nodeType="afterEffect">
                                  <p:stCondLst>
                                    <p:cond delay="0"/>
                                  </p:stCondLst>
                                  <p:childTnLst>
                                    <p:set>
                                      <p:cBhvr>
                                        <p:cTn id="77" dur="1" fill="hold">
                                          <p:stCondLst>
                                            <p:cond delay="0"/>
                                          </p:stCondLst>
                                        </p:cTn>
                                        <p:tgtEl>
                                          <p:spTgt spid="129"/>
                                        </p:tgtEl>
                                        <p:attrNameLst>
                                          <p:attrName>style.visibility</p:attrName>
                                        </p:attrNameLst>
                                      </p:cBhvr>
                                      <p:to>
                                        <p:strVal val="visible"/>
                                      </p:to>
                                    </p:set>
                                    <p:animEffect transition="in" filter="wipe(left)">
                                      <p:cBhvr>
                                        <p:cTn id="78" dur="200"/>
                                        <p:tgtEl>
                                          <p:spTgt spid="129"/>
                                        </p:tgtEl>
                                      </p:cBhvr>
                                    </p:animEffect>
                                  </p:childTnLst>
                                </p:cTn>
                              </p:par>
                              <p:par>
                                <p:cTn id="79" presetID="53" presetClass="entr" presetSubtype="16" fill="hold" nodeType="withEffect">
                                  <p:stCondLst>
                                    <p:cond delay="0"/>
                                  </p:stCondLst>
                                  <p:childTnLst>
                                    <p:set>
                                      <p:cBhvr>
                                        <p:cTn id="80" dur="1" fill="hold">
                                          <p:stCondLst>
                                            <p:cond delay="0"/>
                                          </p:stCondLst>
                                        </p:cTn>
                                        <p:tgtEl>
                                          <p:spTgt spid="59"/>
                                        </p:tgtEl>
                                        <p:attrNameLst>
                                          <p:attrName>style.visibility</p:attrName>
                                        </p:attrNameLst>
                                      </p:cBhvr>
                                      <p:to>
                                        <p:strVal val="visible"/>
                                      </p:to>
                                    </p:set>
                                    <p:anim calcmode="lin" valueType="num">
                                      <p:cBhvr>
                                        <p:cTn id="81" dur="250" fill="hold"/>
                                        <p:tgtEl>
                                          <p:spTgt spid="59"/>
                                        </p:tgtEl>
                                        <p:attrNameLst>
                                          <p:attrName>ppt_w</p:attrName>
                                        </p:attrNameLst>
                                      </p:cBhvr>
                                      <p:tavLst>
                                        <p:tav tm="0">
                                          <p:val>
                                            <p:fltVal val="0"/>
                                          </p:val>
                                        </p:tav>
                                        <p:tav tm="100000">
                                          <p:val>
                                            <p:strVal val="#ppt_w"/>
                                          </p:val>
                                        </p:tav>
                                      </p:tavLst>
                                    </p:anim>
                                    <p:anim calcmode="lin" valueType="num">
                                      <p:cBhvr>
                                        <p:cTn id="82" dur="250" fill="hold"/>
                                        <p:tgtEl>
                                          <p:spTgt spid="59"/>
                                        </p:tgtEl>
                                        <p:attrNameLst>
                                          <p:attrName>ppt_h</p:attrName>
                                        </p:attrNameLst>
                                      </p:cBhvr>
                                      <p:tavLst>
                                        <p:tav tm="0">
                                          <p:val>
                                            <p:fltVal val="0"/>
                                          </p:val>
                                        </p:tav>
                                        <p:tav tm="100000">
                                          <p:val>
                                            <p:strVal val="#ppt_h"/>
                                          </p:val>
                                        </p:tav>
                                      </p:tavLst>
                                    </p:anim>
                                    <p:animEffect transition="in" filter="fade">
                                      <p:cBhvr>
                                        <p:cTn id="83" dur="250"/>
                                        <p:tgtEl>
                                          <p:spTgt spid="59"/>
                                        </p:tgtEl>
                                      </p:cBhvr>
                                    </p:animEffect>
                                  </p:childTnLst>
                                </p:cTn>
                              </p:par>
                              <p:par>
                                <p:cTn id="84" presetID="6" presetClass="emph" presetSubtype="0" autoRev="1" fill="hold" nodeType="withEffect">
                                  <p:stCondLst>
                                    <p:cond delay="250"/>
                                  </p:stCondLst>
                                  <p:childTnLst>
                                    <p:animScale>
                                      <p:cBhvr>
                                        <p:cTn id="85" dur="100" fill="hold"/>
                                        <p:tgtEl>
                                          <p:spTgt spid="59"/>
                                        </p:tgtEl>
                                      </p:cBhvr>
                                      <p:by x="110000" y="110000"/>
                                    </p:animScale>
                                  </p:childTnLst>
                                </p:cTn>
                              </p:par>
                            </p:childTnLst>
                          </p:cTn>
                        </p:par>
                        <p:par>
                          <p:cTn id="86" fill="hold">
                            <p:stCondLst>
                              <p:cond delay="5000"/>
                            </p:stCondLst>
                            <p:childTnLst>
                              <p:par>
                                <p:cTn id="87" presetID="22" presetClass="entr" presetSubtype="8" fill="hold" nodeType="afterEffect">
                                  <p:stCondLst>
                                    <p:cond delay="0"/>
                                  </p:stCondLst>
                                  <p:childTnLst>
                                    <p:set>
                                      <p:cBhvr>
                                        <p:cTn id="88" dur="1" fill="hold">
                                          <p:stCondLst>
                                            <p:cond delay="0"/>
                                          </p:stCondLst>
                                        </p:cTn>
                                        <p:tgtEl>
                                          <p:spTgt spid="147"/>
                                        </p:tgtEl>
                                        <p:attrNameLst>
                                          <p:attrName>style.visibility</p:attrName>
                                        </p:attrNameLst>
                                      </p:cBhvr>
                                      <p:to>
                                        <p:strVal val="visible"/>
                                      </p:to>
                                    </p:set>
                                    <p:animEffect transition="in" filter="wipe(left)">
                                      <p:cBhvr>
                                        <p:cTn id="89" dur="200"/>
                                        <p:tgtEl>
                                          <p:spTgt spid="147"/>
                                        </p:tgtEl>
                                      </p:cBhvr>
                                    </p:animEffect>
                                  </p:childTnLst>
                                </p:cTn>
                              </p:par>
                            </p:childTnLst>
                          </p:cTn>
                        </p:par>
                        <p:par>
                          <p:cTn id="90" fill="hold">
                            <p:stCondLst>
                              <p:cond delay="5200"/>
                            </p:stCondLst>
                            <p:childTnLst>
                              <p:par>
                                <p:cTn id="91" presetID="22" presetClass="entr" presetSubtype="1" fill="hold" nodeType="afterEffect">
                                  <p:stCondLst>
                                    <p:cond delay="0"/>
                                  </p:stCondLst>
                                  <p:childTnLst>
                                    <p:set>
                                      <p:cBhvr>
                                        <p:cTn id="92" dur="1" fill="hold">
                                          <p:stCondLst>
                                            <p:cond delay="0"/>
                                          </p:stCondLst>
                                        </p:cTn>
                                        <p:tgtEl>
                                          <p:spTgt spid="146"/>
                                        </p:tgtEl>
                                        <p:attrNameLst>
                                          <p:attrName>style.visibility</p:attrName>
                                        </p:attrNameLst>
                                      </p:cBhvr>
                                      <p:to>
                                        <p:strVal val="visible"/>
                                      </p:to>
                                    </p:set>
                                    <p:animEffect transition="in" filter="wipe(up)">
                                      <p:cBhvr>
                                        <p:cTn id="93" dur="200"/>
                                        <p:tgtEl>
                                          <p:spTgt spid="146"/>
                                        </p:tgtEl>
                                      </p:cBhvr>
                                    </p:animEffect>
                                  </p:childTnLst>
                                </p:cTn>
                              </p:par>
                            </p:childTnLst>
                          </p:cTn>
                        </p:par>
                        <p:par>
                          <p:cTn id="94" fill="hold">
                            <p:stCondLst>
                              <p:cond delay="5400"/>
                            </p:stCondLst>
                            <p:childTnLst>
                              <p:par>
                                <p:cTn id="95" presetID="22" presetClass="entr" presetSubtype="8" fill="hold" nodeType="afterEffect">
                                  <p:stCondLst>
                                    <p:cond delay="0"/>
                                  </p:stCondLst>
                                  <p:childTnLst>
                                    <p:set>
                                      <p:cBhvr>
                                        <p:cTn id="96" dur="1" fill="hold">
                                          <p:stCondLst>
                                            <p:cond delay="0"/>
                                          </p:stCondLst>
                                        </p:cTn>
                                        <p:tgtEl>
                                          <p:spTgt spid="145"/>
                                        </p:tgtEl>
                                        <p:attrNameLst>
                                          <p:attrName>style.visibility</p:attrName>
                                        </p:attrNameLst>
                                      </p:cBhvr>
                                      <p:to>
                                        <p:strVal val="visible"/>
                                      </p:to>
                                    </p:set>
                                    <p:animEffect transition="in" filter="wipe(left)">
                                      <p:cBhvr>
                                        <p:cTn id="97" dur="200"/>
                                        <p:tgtEl>
                                          <p:spTgt spid="145"/>
                                        </p:tgtEl>
                                      </p:cBhvr>
                                    </p:animEffect>
                                  </p:childTnLst>
                                </p:cTn>
                              </p:par>
                            </p:childTnLst>
                          </p:cTn>
                        </p:par>
                        <p:par>
                          <p:cTn id="98" fill="hold">
                            <p:stCondLst>
                              <p:cond delay="5600"/>
                            </p:stCondLst>
                            <p:childTnLst>
                              <p:par>
                                <p:cTn id="99" presetID="22" presetClass="entr" presetSubtype="1" fill="hold" nodeType="afterEffect">
                                  <p:stCondLst>
                                    <p:cond delay="0"/>
                                  </p:stCondLst>
                                  <p:childTnLst>
                                    <p:set>
                                      <p:cBhvr>
                                        <p:cTn id="100" dur="1" fill="hold">
                                          <p:stCondLst>
                                            <p:cond delay="0"/>
                                          </p:stCondLst>
                                        </p:cTn>
                                        <p:tgtEl>
                                          <p:spTgt spid="148"/>
                                        </p:tgtEl>
                                        <p:attrNameLst>
                                          <p:attrName>style.visibility</p:attrName>
                                        </p:attrNameLst>
                                      </p:cBhvr>
                                      <p:to>
                                        <p:strVal val="visible"/>
                                      </p:to>
                                    </p:set>
                                    <p:animEffect transition="in" filter="wipe(up)">
                                      <p:cBhvr>
                                        <p:cTn id="101" dur="200"/>
                                        <p:tgtEl>
                                          <p:spTgt spid="148"/>
                                        </p:tgtEl>
                                      </p:cBhvr>
                                    </p:animEffect>
                                  </p:childTnLst>
                                </p:cTn>
                              </p:par>
                            </p:childTnLst>
                          </p:cTn>
                        </p:par>
                        <p:par>
                          <p:cTn id="102" fill="hold">
                            <p:stCondLst>
                              <p:cond delay="5800"/>
                            </p:stCondLst>
                            <p:childTnLst>
                              <p:par>
                                <p:cTn id="103" presetID="22" presetClass="entr" presetSubtype="8" fill="hold" nodeType="afterEffect">
                                  <p:stCondLst>
                                    <p:cond delay="0"/>
                                  </p:stCondLst>
                                  <p:childTnLst>
                                    <p:set>
                                      <p:cBhvr>
                                        <p:cTn id="104" dur="1" fill="hold">
                                          <p:stCondLst>
                                            <p:cond delay="0"/>
                                          </p:stCondLst>
                                        </p:cTn>
                                        <p:tgtEl>
                                          <p:spTgt spid="149"/>
                                        </p:tgtEl>
                                        <p:attrNameLst>
                                          <p:attrName>style.visibility</p:attrName>
                                        </p:attrNameLst>
                                      </p:cBhvr>
                                      <p:to>
                                        <p:strVal val="visible"/>
                                      </p:to>
                                    </p:set>
                                    <p:animEffect transition="in" filter="wipe(left)">
                                      <p:cBhvr>
                                        <p:cTn id="105" dur="2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
          <p:cNvSpPr txBox="1">
            <a:spLocks/>
          </p:cNvSpPr>
          <p:nvPr/>
        </p:nvSpPr>
        <p:spPr>
          <a:xfrm>
            <a:off x="868998" y="5494662"/>
            <a:ext cx="7788880" cy="664354"/>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zh-CN" altLang="en-US" sz="3500" b="1" dirty="0" smtClean="0">
                <a:solidFill>
                  <a:schemeClr val="accent1"/>
                </a:solidFill>
                <a:latin typeface="SimSun" panose="02010600030101010101" pitchFamily="2" charset="-122"/>
                <a:ea typeface="SimSun" panose="02010600030101010101" pitchFamily="2" charset="-122"/>
                <a:cs typeface="MV Boli" panose="02000500030200090000" pitchFamily="2" charset="0"/>
              </a:rPr>
              <a:t>持续交付</a:t>
            </a:r>
            <a:endParaRPr lang="en-GB" sz="3500" b="1" dirty="0">
              <a:solidFill>
                <a:schemeClr val="accent1"/>
              </a:solidFill>
              <a:latin typeface="SimSun" panose="02010600030101010101" pitchFamily="2" charset="-122"/>
              <a:ea typeface="SimSun" panose="02010600030101010101" pitchFamily="2" charset="-122"/>
              <a:cs typeface="MV Boli" panose="02000500030200090000" pitchFamily="2" charset="0"/>
            </a:endParaRPr>
          </a:p>
        </p:txBody>
      </p:sp>
      <p:sp>
        <p:nvSpPr>
          <p:cNvPr id="21" name="Title 3"/>
          <p:cNvSpPr txBox="1">
            <a:spLocks/>
          </p:cNvSpPr>
          <p:nvPr/>
        </p:nvSpPr>
        <p:spPr>
          <a:xfrm>
            <a:off x="1037324"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3200" b="1" dirty="0">
                <a:solidFill>
                  <a:srgbClr val="FFFFFF"/>
                </a:solidFill>
                <a:cs typeface="MV Boli" panose="02000500030200090000" pitchFamily="2" charset="0"/>
              </a:rPr>
              <a:t>Idea</a:t>
            </a:r>
          </a:p>
        </p:txBody>
      </p:sp>
      <p:sp>
        <p:nvSpPr>
          <p:cNvPr id="22" name="Title 3"/>
          <p:cNvSpPr txBox="1">
            <a:spLocks/>
          </p:cNvSpPr>
          <p:nvPr/>
        </p:nvSpPr>
        <p:spPr>
          <a:xfrm>
            <a:off x="6653269"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3200" b="1" dirty="0">
                <a:solidFill>
                  <a:srgbClr val="FFFFFF"/>
                </a:solidFill>
                <a:cs typeface="MV Boli" panose="02000500030200090000" pitchFamily="2" charset="0"/>
              </a:rPr>
              <a:t>Value</a:t>
            </a:r>
          </a:p>
        </p:txBody>
      </p:sp>
      <p:grpSp>
        <p:nvGrpSpPr>
          <p:cNvPr id="23" name="Group 22"/>
          <p:cNvGrpSpPr>
            <a:grpSpLocks noChangeAspect="1"/>
          </p:cNvGrpSpPr>
          <p:nvPr/>
        </p:nvGrpSpPr>
        <p:grpSpPr bwMode="auto">
          <a:xfrm>
            <a:off x="6827302" y="2116428"/>
            <a:ext cx="1152800" cy="1859661"/>
            <a:chOff x="6599" y="1623"/>
            <a:chExt cx="486" cy="784"/>
          </a:xfrm>
          <a:solidFill>
            <a:schemeClr val="accent4"/>
          </a:solidFill>
        </p:grpSpPr>
        <p:sp>
          <p:nvSpPr>
            <p:cNvPr id="36"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7"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3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sp>
          <p:nvSpPr>
            <p:cNvPr id="4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p>
          </p:txBody>
        </p:sp>
      </p:grpSp>
      <p:sp>
        <p:nvSpPr>
          <p:cNvPr id="43" name="Freeform 18"/>
          <p:cNvSpPr>
            <a:spLocks noEditPoints="1"/>
          </p:cNvSpPr>
          <p:nvPr/>
        </p:nvSpPr>
        <p:spPr bwMode="auto">
          <a:xfrm>
            <a:off x="842358" y="1756218"/>
            <a:ext cx="1924007" cy="2102088"/>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44" name="Title 3"/>
          <p:cNvSpPr txBox="1">
            <a:spLocks/>
          </p:cNvSpPr>
          <p:nvPr/>
        </p:nvSpPr>
        <p:spPr>
          <a:xfrm>
            <a:off x="2877840" y="2667576"/>
            <a:ext cx="3618797" cy="46333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ja-JP"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转换</a:t>
            </a:r>
            <a:r>
              <a:rPr lang="zh-CN"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为</a:t>
            </a:r>
            <a:r>
              <a:rPr lang="ja-JP" altLang="en-US" sz="3200" b="1" dirty="0" smtClean="0">
                <a:solidFill>
                  <a:schemeClr val="accent2"/>
                </a:solidFill>
                <a:latin typeface="SimSun" panose="02010600030101010101" pitchFamily="2" charset="-122"/>
                <a:ea typeface="SimSun" panose="02010600030101010101" pitchFamily="2" charset="-122"/>
                <a:cs typeface="MV Boli" panose="02000500030200090000" pitchFamily="2" charset="0"/>
              </a:rPr>
              <a:t>价值</a:t>
            </a:r>
            <a:endParaRPr lang="en-GB" sz="3200" b="1" dirty="0">
              <a:solidFill>
                <a:schemeClr val="accent2"/>
              </a:solidFill>
              <a:latin typeface="SimSun" panose="02010600030101010101" pitchFamily="2" charset="-122"/>
              <a:ea typeface="SimSun" panose="02010600030101010101" pitchFamily="2" charset="-122"/>
              <a:cs typeface="MV Boli" panose="02000500030200090000" pitchFamily="2" charset="0"/>
            </a:endParaRPr>
          </a:p>
        </p:txBody>
      </p:sp>
      <p:cxnSp>
        <p:nvCxnSpPr>
          <p:cNvPr id="45" name="Straight Connector 44"/>
          <p:cNvCxnSpPr/>
          <p:nvPr/>
        </p:nvCxnSpPr>
        <p:spPr>
          <a:xfrm>
            <a:off x="3438525" y="3300814"/>
            <a:ext cx="2533650" cy="0"/>
          </a:xfrm>
          <a:prstGeom prst="line">
            <a:avLst/>
          </a:prstGeom>
          <a:ln w="28575" cap="rnd">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455613" y="5338500"/>
            <a:ext cx="8202265" cy="0"/>
          </a:xfrm>
          <a:prstGeom prst="line">
            <a:avLst/>
          </a:prstGeom>
          <a:ln w="28575" cap="rnd">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842358" y="1756218"/>
            <a:ext cx="7344985" cy="3682136"/>
            <a:chOff x="842358" y="1756218"/>
            <a:chExt cx="7344985" cy="3682136"/>
          </a:xfrm>
        </p:grpSpPr>
        <p:sp>
          <p:nvSpPr>
            <p:cNvPr id="71" name="Title 3"/>
            <p:cNvSpPr txBox="1">
              <a:spLocks/>
            </p:cNvSpPr>
            <p:nvPr/>
          </p:nvSpPr>
          <p:spPr>
            <a:xfrm>
              <a:off x="1037324"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3200" b="1" dirty="0">
                  <a:solidFill>
                    <a:srgbClr val="FFFFFF"/>
                  </a:solidFill>
                  <a:latin typeface="SimSun" panose="02010600030101010101" pitchFamily="2" charset="-122"/>
                  <a:ea typeface="SimSun" panose="02010600030101010101" pitchFamily="2" charset="-122"/>
                  <a:cs typeface="MV Boli" panose="02000500030200090000" pitchFamily="2" charset="0"/>
                </a:rPr>
                <a:t>Idea</a:t>
              </a:r>
            </a:p>
          </p:txBody>
        </p:sp>
        <p:sp>
          <p:nvSpPr>
            <p:cNvPr id="72" name="Title 3"/>
            <p:cNvSpPr txBox="1">
              <a:spLocks/>
            </p:cNvSpPr>
            <p:nvPr/>
          </p:nvSpPr>
          <p:spPr>
            <a:xfrm>
              <a:off x="6653269" y="4730142"/>
              <a:ext cx="1534074" cy="708212"/>
            </a:xfrm>
            <a:prstGeom prst="rect">
              <a:avLst/>
            </a:prstGeom>
            <a:noFill/>
            <a:effectLst>
              <a:softEdge rad="317500"/>
            </a:effectLst>
          </p:spPr>
          <p:txBody>
            <a:bodyPr lIns="0" tIns="0" rIns="0" bIns="0" anchor="t">
              <a:noAutofit/>
            </a:bodyPr>
            <a:lst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algn="ctr"/>
              <a:r>
                <a:rPr lang="en-GB" sz="3200" b="1" dirty="0">
                  <a:solidFill>
                    <a:srgbClr val="FFFFFF"/>
                  </a:solidFill>
                  <a:latin typeface="SimSun" panose="02010600030101010101" pitchFamily="2" charset="-122"/>
                  <a:ea typeface="SimSun" panose="02010600030101010101" pitchFamily="2" charset="-122"/>
                  <a:cs typeface="MV Boli" panose="02000500030200090000" pitchFamily="2" charset="0"/>
                </a:rPr>
                <a:t>Value</a:t>
              </a:r>
            </a:p>
          </p:txBody>
        </p:sp>
        <p:grpSp>
          <p:nvGrpSpPr>
            <p:cNvPr id="73" name="Group 72"/>
            <p:cNvGrpSpPr>
              <a:grpSpLocks noChangeAspect="1"/>
            </p:cNvGrpSpPr>
            <p:nvPr/>
          </p:nvGrpSpPr>
          <p:grpSpPr bwMode="auto">
            <a:xfrm>
              <a:off x="6827302" y="2116428"/>
              <a:ext cx="1152800" cy="1859661"/>
              <a:chOff x="6599" y="1623"/>
              <a:chExt cx="486" cy="784"/>
            </a:xfrm>
            <a:solidFill>
              <a:schemeClr val="accent4"/>
            </a:solidFill>
          </p:grpSpPr>
          <p:sp>
            <p:nvSpPr>
              <p:cNvPr id="77" name="Freeform 8"/>
              <p:cNvSpPr>
                <a:spLocks noEditPoints="1"/>
              </p:cNvSpPr>
              <p:nvPr/>
            </p:nvSpPr>
            <p:spPr bwMode="auto">
              <a:xfrm>
                <a:off x="6606" y="2244"/>
                <a:ext cx="470" cy="163"/>
              </a:xfrm>
              <a:custGeom>
                <a:avLst/>
                <a:gdLst>
                  <a:gd name="T0" fmla="*/ 199 w 199"/>
                  <a:gd name="T1" fmla="*/ 7 h 69"/>
                  <a:gd name="T2" fmla="*/ 104 w 199"/>
                  <a:gd name="T3" fmla="*/ 32 h 69"/>
                  <a:gd name="T4" fmla="*/ 1 w 199"/>
                  <a:gd name="T5" fmla="*/ 0 h 69"/>
                  <a:gd name="T6" fmla="*/ 0 w 199"/>
                  <a:gd name="T7" fmla="*/ 6 h 69"/>
                  <a:gd name="T8" fmla="*/ 0 w 199"/>
                  <a:gd name="T9" fmla="*/ 7 h 69"/>
                  <a:gd name="T10" fmla="*/ 0 w 199"/>
                  <a:gd name="T11" fmla="*/ 9 h 69"/>
                  <a:gd name="T12" fmla="*/ 0 w 199"/>
                  <a:gd name="T13" fmla="*/ 30 h 69"/>
                  <a:gd name="T14" fmla="*/ 101 w 199"/>
                  <a:gd name="T15" fmla="*/ 69 h 69"/>
                  <a:gd name="T16" fmla="*/ 199 w 199"/>
                  <a:gd name="T17" fmla="*/ 30 h 69"/>
                  <a:gd name="T18" fmla="*/ 199 w 199"/>
                  <a:gd name="T19" fmla="*/ 9 h 69"/>
                  <a:gd name="T20" fmla="*/ 199 w 199"/>
                  <a:gd name="T21" fmla="*/ 7 h 69"/>
                  <a:gd name="T22" fmla="*/ 199 w 199"/>
                  <a:gd name="T23" fmla="*/ 7 h 69"/>
                  <a:gd name="T24" fmla="*/ 17 w 199"/>
                  <a:gd name="T25" fmla="*/ 44 h 69"/>
                  <a:gd name="T26" fmla="*/ 11 w 199"/>
                  <a:gd name="T27" fmla="*/ 40 h 69"/>
                  <a:gd name="T28" fmla="*/ 11 w 199"/>
                  <a:gd name="T29" fmla="*/ 24 h 69"/>
                  <a:gd name="T30" fmla="*/ 17 w 199"/>
                  <a:gd name="T31" fmla="*/ 28 h 69"/>
                  <a:gd name="T32" fmla="*/ 17 w 199"/>
                  <a:gd name="T33" fmla="*/ 44 h 69"/>
                  <a:gd name="T34" fmla="*/ 35 w 199"/>
                  <a:gd name="T35" fmla="*/ 52 h 69"/>
                  <a:gd name="T36" fmla="*/ 25 w 199"/>
                  <a:gd name="T37" fmla="*/ 49 h 69"/>
                  <a:gd name="T38" fmla="*/ 25 w 199"/>
                  <a:gd name="T39" fmla="*/ 33 h 69"/>
                  <a:gd name="T40" fmla="*/ 35 w 199"/>
                  <a:gd name="T41" fmla="*/ 36 h 69"/>
                  <a:gd name="T42" fmla="*/ 35 w 199"/>
                  <a:gd name="T43" fmla="*/ 52 h 69"/>
                  <a:gd name="T44" fmla="*/ 55 w 199"/>
                  <a:gd name="T45" fmla="*/ 58 h 69"/>
                  <a:gd name="T46" fmla="*/ 46 w 199"/>
                  <a:gd name="T47" fmla="*/ 56 h 69"/>
                  <a:gd name="T48" fmla="*/ 46 w 199"/>
                  <a:gd name="T49" fmla="*/ 40 h 69"/>
                  <a:gd name="T50" fmla="*/ 55 w 199"/>
                  <a:gd name="T51" fmla="*/ 42 h 69"/>
                  <a:gd name="T52" fmla="*/ 55 w 199"/>
                  <a:gd name="T53" fmla="*/ 58 h 69"/>
                  <a:gd name="T54" fmla="*/ 81 w 199"/>
                  <a:gd name="T55" fmla="*/ 62 h 69"/>
                  <a:gd name="T56" fmla="*/ 68 w 199"/>
                  <a:gd name="T57" fmla="*/ 61 h 69"/>
                  <a:gd name="T58" fmla="*/ 68 w 199"/>
                  <a:gd name="T59" fmla="*/ 45 h 69"/>
                  <a:gd name="T60" fmla="*/ 81 w 199"/>
                  <a:gd name="T61" fmla="*/ 46 h 69"/>
                  <a:gd name="T62" fmla="*/ 81 w 199"/>
                  <a:gd name="T63" fmla="*/ 62 h 69"/>
                  <a:gd name="T64" fmla="*/ 176 w 199"/>
                  <a:gd name="T65" fmla="*/ 47 h 69"/>
                  <a:gd name="T66" fmla="*/ 167 w 199"/>
                  <a:gd name="T67" fmla="*/ 51 h 69"/>
                  <a:gd name="T68" fmla="*/ 167 w 199"/>
                  <a:gd name="T69" fmla="*/ 35 h 69"/>
                  <a:gd name="T70" fmla="*/ 176 w 199"/>
                  <a:gd name="T71" fmla="*/ 31 h 69"/>
                  <a:gd name="T72" fmla="*/ 176 w 199"/>
                  <a:gd name="T73" fmla="*/ 47 h 69"/>
                  <a:gd name="T74" fmla="*/ 191 w 199"/>
                  <a:gd name="T75" fmla="*/ 37 h 69"/>
                  <a:gd name="T76" fmla="*/ 185 w 199"/>
                  <a:gd name="T77" fmla="*/ 42 h 69"/>
                  <a:gd name="T78" fmla="*/ 185 w 199"/>
                  <a:gd name="T79" fmla="*/ 27 h 69"/>
                  <a:gd name="T80" fmla="*/ 191 w 199"/>
                  <a:gd name="T81" fmla="*/ 21 h 69"/>
                  <a:gd name="T82" fmla="*/ 191 w 199"/>
                  <a:gd name="T83" fmla="*/ 3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199" y="7"/>
                    </a:moveTo>
                    <a:cubicBezTo>
                      <a:pt x="180" y="24"/>
                      <a:pt x="141" y="32"/>
                      <a:pt x="104" y="32"/>
                    </a:cubicBezTo>
                    <a:cubicBezTo>
                      <a:pt x="61" y="32"/>
                      <a:pt x="16" y="21"/>
                      <a:pt x="1" y="0"/>
                    </a:cubicBezTo>
                    <a:cubicBezTo>
                      <a:pt x="0" y="2"/>
                      <a:pt x="0" y="4"/>
                      <a:pt x="0" y="6"/>
                    </a:cubicBezTo>
                    <a:cubicBezTo>
                      <a:pt x="0" y="6"/>
                      <a:pt x="0" y="7"/>
                      <a:pt x="0" y="7"/>
                    </a:cubicBezTo>
                    <a:cubicBezTo>
                      <a:pt x="0" y="8"/>
                      <a:pt x="0" y="8"/>
                      <a:pt x="0" y="9"/>
                    </a:cubicBezTo>
                    <a:cubicBezTo>
                      <a:pt x="0" y="30"/>
                      <a:pt x="0" y="30"/>
                      <a:pt x="0" y="30"/>
                    </a:cubicBezTo>
                    <a:cubicBezTo>
                      <a:pt x="0" y="52"/>
                      <a:pt x="46" y="69"/>
                      <a:pt x="101" y="69"/>
                    </a:cubicBezTo>
                    <a:cubicBezTo>
                      <a:pt x="156" y="69"/>
                      <a:pt x="199" y="52"/>
                      <a:pt x="199" y="30"/>
                    </a:cubicBezTo>
                    <a:cubicBezTo>
                      <a:pt x="199" y="9"/>
                      <a:pt x="199" y="9"/>
                      <a:pt x="199" y="9"/>
                    </a:cubicBezTo>
                    <a:cubicBezTo>
                      <a:pt x="199" y="8"/>
                      <a:pt x="199" y="8"/>
                      <a:pt x="199" y="7"/>
                    </a:cubicBezTo>
                    <a:cubicBezTo>
                      <a:pt x="199" y="7"/>
                      <a:pt x="199" y="7"/>
                      <a:pt x="199" y="7"/>
                    </a:cubicBezTo>
                    <a:close/>
                    <a:moveTo>
                      <a:pt x="17" y="44"/>
                    </a:moveTo>
                    <a:cubicBezTo>
                      <a:pt x="15" y="43"/>
                      <a:pt x="13" y="41"/>
                      <a:pt x="11" y="40"/>
                    </a:cubicBezTo>
                    <a:cubicBezTo>
                      <a:pt x="11" y="24"/>
                      <a:pt x="11" y="24"/>
                      <a:pt x="11" y="24"/>
                    </a:cubicBezTo>
                    <a:cubicBezTo>
                      <a:pt x="13" y="26"/>
                      <a:pt x="15" y="27"/>
                      <a:pt x="17" y="28"/>
                    </a:cubicBezTo>
                    <a:lnTo>
                      <a:pt x="17" y="44"/>
                    </a:lnTo>
                    <a:close/>
                    <a:moveTo>
                      <a:pt x="35" y="52"/>
                    </a:moveTo>
                    <a:cubicBezTo>
                      <a:pt x="32" y="51"/>
                      <a:pt x="28" y="50"/>
                      <a:pt x="25" y="49"/>
                    </a:cubicBezTo>
                    <a:cubicBezTo>
                      <a:pt x="25" y="33"/>
                      <a:pt x="25" y="33"/>
                      <a:pt x="25" y="33"/>
                    </a:cubicBezTo>
                    <a:cubicBezTo>
                      <a:pt x="28" y="34"/>
                      <a:pt x="32" y="35"/>
                      <a:pt x="35" y="36"/>
                    </a:cubicBezTo>
                    <a:lnTo>
                      <a:pt x="35" y="52"/>
                    </a:lnTo>
                    <a:close/>
                    <a:moveTo>
                      <a:pt x="55" y="58"/>
                    </a:moveTo>
                    <a:cubicBezTo>
                      <a:pt x="52" y="58"/>
                      <a:pt x="49" y="57"/>
                      <a:pt x="46" y="56"/>
                    </a:cubicBezTo>
                    <a:cubicBezTo>
                      <a:pt x="46" y="40"/>
                      <a:pt x="46" y="40"/>
                      <a:pt x="46" y="40"/>
                    </a:cubicBezTo>
                    <a:cubicBezTo>
                      <a:pt x="49" y="41"/>
                      <a:pt x="52" y="42"/>
                      <a:pt x="55" y="42"/>
                    </a:cubicBezTo>
                    <a:lnTo>
                      <a:pt x="55" y="58"/>
                    </a:lnTo>
                    <a:close/>
                    <a:moveTo>
                      <a:pt x="81" y="62"/>
                    </a:moveTo>
                    <a:cubicBezTo>
                      <a:pt x="77" y="62"/>
                      <a:pt x="72" y="62"/>
                      <a:pt x="68" y="61"/>
                    </a:cubicBezTo>
                    <a:cubicBezTo>
                      <a:pt x="68" y="45"/>
                      <a:pt x="68" y="45"/>
                      <a:pt x="68" y="45"/>
                    </a:cubicBezTo>
                    <a:cubicBezTo>
                      <a:pt x="72" y="45"/>
                      <a:pt x="77" y="46"/>
                      <a:pt x="81" y="46"/>
                    </a:cubicBezTo>
                    <a:lnTo>
                      <a:pt x="81" y="62"/>
                    </a:lnTo>
                    <a:close/>
                    <a:moveTo>
                      <a:pt x="176" y="47"/>
                    </a:moveTo>
                    <a:cubicBezTo>
                      <a:pt x="173" y="49"/>
                      <a:pt x="170" y="50"/>
                      <a:pt x="167" y="51"/>
                    </a:cubicBezTo>
                    <a:cubicBezTo>
                      <a:pt x="167" y="35"/>
                      <a:pt x="167" y="35"/>
                      <a:pt x="167" y="35"/>
                    </a:cubicBezTo>
                    <a:cubicBezTo>
                      <a:pt x="170" y="34"/>
                      <a:pt x="173" y="33"/>
                      <a:pt x="176" y="31"/>
                    </a:cubicBezTo>
                    <a:lnTo>
                      <a:pt x="176" y="47"/>
                    </a:lnTo>
                    <a:close/>
                    <a:moveTo>
                      <a:pt x="191" y="37"/>
                    </a:moveTo>
                    <a:cubicBezTo>
                      <a:pt x="190" y="39"/>
                      <a:pt x="187" y="41"/>
                      <a:pt x="185" y="42"/>
                    </a:cubicBezTo>
                    <a:cubicBezTo>
                      <a:pt x="185" y="27"/>
                      <a:pt x="185" y="27"/>
                      <a:pt x="185" y="27"/>
                    </a:cubicBezTo>
                    <a:cubicBezTo>
                      <a:pt x="187" y="25"/>
                      <a:pt x="190" y="23"/>
                      <a:pt x="191" y="21"/>
                    </a:cubicBezTo>
                    <a:lnTo>
                      <a:pt x="191"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78" name="Freeform 9"/>
              <p:cNvSpPr>
                <a:spLocks noEditPoints="1"/>
              </p:cNvSpPr>
              <p:nvPr/>
            </p:nvSpPr>
            <p:spPr bwMode="auto">
              <a:xfrm>
                <a:off x="6613" y="2131"/>
                <a:ext cx="472" cy="168"/>
              </a:xfrm>
              <a:custGeom>
                <a:avLst/>
                <a:gdLst>
                  <a:gd name="T0" fmla="*/ 200 w 200"/>
                  <a:gd name="T1" fmla="*/ 8 h 71"/>
                  <a:gd name="T2" fmla="*/ 197 w 200"/>
                  <a:gd name="T3" fmla="*/ 0 h 71"/>
                  <a:gd name="T4" fmla="*/ 95 w 200"/>
                  <a:gd name="T5" fmla="*/ 34 h 71"/>
                  <a:gd name="T6" fmla="*/ 0 w 200"/>
                  <a:gd name="T7" fmla="*/ 11 h 71"/>
                  <a:gd name="T8" fmla="*/ 0 w 200"/>
                  <a:gd name="T9" fmla="*/ 32 h 71"/>
                  <a:gd name="T10" fmla="*/ 101 w 200"/>
                  <a:gd name="T11" fmla="*/ 71 h 71"/>
                  <a:gd name="T12" fmla="*/ 200 w 200"/>
                  <a:gd name="T13" fmla="*/ 32 h 71"/>
                  <a:gd name="T14" fmla="*/ 200 w 200"/>
                  <a:gd name="T15" fmla="*/ 11 h 71"/>
                  <a:gd name="T16" fmla="*/ 199 w 200"/>
                  <a:gd name="T17" fmla="*/ 10 h 71"/>
                  <a:gd name="T18" fmla="*/ 200 w 200"/>
                  <a:gd name="T19" fmla="*/ 8 h 71"/>
                  <a:gd name="T20" fmla="*/ 18 w 200"/>
                  <a:gd name="T21" fmla="*/ 47 h 71"/>
                  <a:gd name="T22" fmla="*/ 11 w 200"/>
                  <a:gd name="T23" fmla="*/ 42 h 71"/>
                  <a:gd name="T24" fmla="*/ 11 w 200"/>
                  <a:gd name="T25" fmla="*/ 26 h 71"/>
                  <a:gd name="T26" fmla="*/ 18 w 200"/>
                  <a:gd name="T27" fmla="*/ 31 h 71"/>
                  <a:gd name="T28" fmla="*/ 18 w 200"/>
                  <a:gd name="T29" fmla="*/ 47 h 71"/>
                  <a:gd name="T30" fmla="*/ 35 w 200"/>
                  <a:gd name="T31" fmla="*/ 55 h 71"/>
                  <a:gd name="T32" fmla="*/ 26 w 200"/>
                  <a:gd name="T33" fmla="*/ 51 h 71"/>
                  <a:gd name="T34" fmla="*/ 26 w 200"/>
                  <a:gd name="T35" fmla="*/ 35 h 71"/>
                  <a:gd name="T36" fmla="*/ 35 w 200"/>
                  <a:gd name="T37" fmla="*/ 39 h 71"/>
                  <a:gd name="T38" fmla="*/ 35 w 200"/>
                  <a:gd name="T39" fmla="*/ 55 h 71"/>
                  <a:gd name="T40" fmla="*/ 56 w 200"/>
                  <a:gd name="T41" fmla="*/ 61 h 71"/>
                  <a:gd name="T42" fmla="*/ 46 w 200"/>
                  <a:gd name="T43" fmla="*/ 59 h 71"/>
                  <a:gd name="T44" fmla="*/ 46 w 200"/>
                  <a:gd name="T45" fmla="*/ 43 h 71"/>
                  <a:gd name="T46" fmla="*/ 56 w 200"/>
                  <a:gd name="T47" fmla="*/ 45 h 71"/>
                  <a:gd name="T48" fmla="*/ 56 w 200"/>
                  <a:gd name="T49" fmla="*/ 61 h 71"/>
                  <a:gd name="T50" fmla="*/ 81 w 200"/>
                  <a:gd name="T51" fmla="*/ 65 h 71"/>
                  <a:gd name="T52" fmla="*/ 68 w 200"/>
                  <a:gd name="T53" fmla="*/ 63 h 71"/>
                  <a:gd name="T54" fmla="*/ 68 w 200"/>
                  <a:gd name="T55" fmla="*/ 47 h 71"/>
                  <a:gd name="T56" fmla="*/ 81 w 200"/>
                  <a:gd name="T57" fmla="*/ 48 h 71"/>
                  <a:gd name="T58" fmla="*/ 81 w 200"/>
                  <a:gd name="T59" fmla="*/ 65 h 71"/>
                  <a:gd name="T60" fmla="*/ 177 w 200"/>
                  <a:gd name="T61" fmla="*/ 50 h 71"/>
                  <a:gd name="T62" fmla="*/ 167 w 200"/>
                  <a:gd name="T63" fmla="*/ 54 h 71"/>
                  <a:gd name="T64" fmla="*/ 167 w 200"/>
                  <a:gd name="T65" fmla="*/ 38 h 71"/>
                  <a:gd name="T66" fmla="*/ 177 w 200"/>
                  <a:gd name="T67" fmla="*/ 34 h 71"/>
                  <a:gd name="T68" fmla="*/ 177 w 200"/>
                  <a:gd name="T69" fmla="*/ 50 h 71"/>
                  <a:gd name="T70" fmla="*/ 192 w 200"/>
                  <a:gd name="T71" fmla="*/ 39 h 71"/>
                  <a:gd name="T72" fmla="*/ 185 w 200"/>
                  <a:gd name="T73" fmla="*/ 45 h 71"/>
                  <a:gd name="T74" fmla="*/ 185 w 200"/>
                  <a:gd name="T75" fmla="*/ 29 h 71"/>
                  <a:gd name="T76" fmla="*/ 192 w 200"/>
                  <a:gd name="T77" fmla="*/ 24 h 71"/>
                  <a:gd name="T78" fmla="*/ 192 w 200"/>
                  <a:gd name="T79"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71">
                    <a:moveTo>
                      <a:pt x="200" y="8"/>
                    </a:moveTo>
                    <a:cubicBezTo>
                      <a:pt x="200" y="5"/>
                      <a:pt x="199" y="2"/>
                      <a:pt x="197" y="0"/>
                    </a:cubicBezTo>
                    <a:cubicBezTo>
                      <a:pt x="184" y="23"/>
                      <a:pt x="138" y="34"/>
                      <a:pt x="95" y="34"/>
                    </a:cubicBezTo>
                    <a:cubicBezTo>
                      <a:pt x="58" y="34"/>
                      <a:pt x="20" y="26"/>
                      <a:pt x="0" y="11"/>
                    </a:cubicBezTo>
                    <a:cubicBezTo>
                      <a:pt x="0" y="32"/>
                      <a:pt x="0" y="32"/>
                      <a:pt x="0" y="32"/>
                    </a:cubicBezTo>
                    <a:cubicBezTo>
                      <a:pt x="1" y="54"/>
                      <a:pt x="46" y="71"/>
                      <a:pt x="101" y="71"/>
                    </a:cubicBezTo>
                    <a:cubicBezTo>
                      <a:pt x="156" y="71"/>
                      <a:pt x="199" y="54"/>
                      <a:pt x="200" y="32"/>
                    </a:cubicBezTo>
                    <a:cubicBezTo>
                      <a:pt x="200" y="11"/>
                      <a:pt x="200" y="11"/>
                      <a:pt x="200" y="11"/>
                    </a:cubicBezTo>
                    <a:cubicBezTo>
                      <a:pt x="200" y="11"/>
                      <a:pt x="199" y="10"/>
                      <a:pt x="199" y="10"/>
                    </a:cubicBezTo>
                    <a:cubicBezTo>
                      <a:pt x="199" y="9"/>
                      <a:pt x="200" y="8"/>
                      <a:pt x="200" y="8"/>
                    </a:cubicBezTo>
                    <a:close/>
                    <a:moveTo>
                      <a:pt x="18" y="47"/>
                    </a:moveTo>
                    <a:cubicBezTo>
                      <a:pt x="15" y="45"/>
                      <a:pt x="13" y="44"/>
                      <a:pt x="11" y="42"/>
                    </a:cubicBezTo>
                    <a:cubicBezTo>
                      <a:pt x="11" y="26"/>
                      <a:pt x="11" y="26"/>
                      <a:pt x="11" y="26"/>
                    </a:cubicBezTo>
                    <a:cubicBezTo>
                      <a:pt x="13" y="28"/>
                      <a:pt x="15" y="29"/>
                      <a:pt x="18" y="31"/>
                    </a:cubicBezTo>
                    <a:lnTo>
                      <a:pt x="18" y="47"/>
                    </a:lnTo>
                    <a:close/>
                    <a:moveTo>
                      <a:pt x="35" y="55"/>
                    </a:moveTo>
                    <a:cubicBezTo>
                      <a:pt x="32" y="54"/>
                      <a:pt x="29" y="52"/>
                      <a:pt x="26" y="51"/>
                    </a:cubicBezTo>
                    <a:cubicBezTo>
                      <a:pt x="26" y="35"/>
                      <a:pt x="26" y="35"/>
                      <a:pt x="26" y="35"/>
                    </a:cubicBezTo>
                    <a:cubicBezTo>
                      <a:pt x="29" y="36"/>
                      <a:pt x="32" y="38"/>
                      <a:pt x="35" y="39"/>
                    </a:cubicBezTo>
                    <a:lnTo>
                      <a:pt x="35" y="55"/>
                    </a:lnTo>
                    <a:close/>
                    <a:moveTo>
                      <a:pt x="56" y="61"/>
                    </a:moveTo>
                    <a:cubicBezTo>
                      <a:pt x="52" y="60"/>
                      <a:pt x="49" y="59"/>
                      <a:pt x="46" y="59"/>
                    </a:cubicBezTo>
                    <a:cubicBezTo>
                      <a:pt x="46" y="43"/>
                      <a:pt x="46" y="43"/>
                      <a:pt x="46" y="43"/>
                    </a:cubicBezTo>
                    <a:cubicBezTo>
                      <a:pt x="49" y="43"/>
                      <a:pt x="52" y="44"/>
                      <a:pt x="56" y="45"/>
                    </a:cubicBezTo>
                    <a:lnTo>
                      <a:pt x="56" y="61"/>
                    </a:lnTo>
                    <a:close/>
                    <a:moveTo>
                      <a:pt x="81" y="65"/>
                    </a:moveTo>
                    <a:cubicBezTo>
                      <a:pt x="77" y="64"/>
                      <a:pt x="72" y="64"/>
                      <a:pt x="68" y="63"/>
                    </a:cubicBezTo>
                    <a:cubicBezTo>
                      <a:pt x="68" y="47"/>
                      <a:pt x="68" y="47"/>
                      <a:pt x="68" y="47"/>
                    </a:cubicBezTo>
                    <a:cubicBezTo>
                      <a:pt x="72" y="48"/>
                      <a:pt x="77" y="48"/>
                      <a:pt x="81" y="48"/>
                    </a:cubicBezTo>
                    <a:lnTo>
                      <a:pt x="81" y="65"/>
                    </a:lnTo>
                    <a:close/>
                    <a:moveTo>
                      <a:pt x="177" y="50"/>
                    </a:moveTo>
                    <a:cubicBezTo>
                      <a:pt x="174" y="51"/>
                      <a:pt x="170" y="52"/>
                      <a:pt x="167" y="54"/>
                    </a:cubicBezTo>
                    <a:cubicBezTo>
                      <a:pt x="167" y="38"/>
                      <a:pt x="167" y="38"/>
                      <a:pt x="167" y="38"/>
                    </a:cubicBezTo>
                    <a:cubicBezTo>
                      <a:pt x="170" y="37"/>
                      <a:pt x="174" y="35"/>
                      <a:pt x="177" y="34"/>
                    </a:cubicBezTo>
                    <a:lnTo>
                      <a:pt x="177" y="50"/>
                    </a:lnTo>
                    <a:close/>
                    <a:moveTo>
                      <a:pt x="192" y="39"/>
                    </a:moveTo>
                    <a:cubicBezTo>
                      <a:pt x="190" y="41"/>
                      <a:pt x="188" y="43"/>
                      <a:pt x="185" y="45"/>
                    </a:cubicBezTo>
                    <a:cubicBezTo>
                      <a:pt x="185" y="29"/>
                      <a:pt x="185" y="29"/>
                      <a:pt x="185" y="29"/>
                    </a:cubicBezTo>
                    <a:cubicBezTo>
                      <a:pt x="188" y="27"/>
                      <a:pt x="190" y="26"/>
                      <a:pt x="192" y="24"/>
                    </a:cubicBezTo>
                    <a:lnTo>
                      <a:pt x="192"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79" name="Freeform 10"/>
              <p:cNvSpPr>
                <a:spLocks noEditPoints="1"/>
              </p:cNvSpPr>
              <p:nvPr/>
            </p:nvSpPr>
            <p:spPr bwMode="auto">
              <a:xfrm>
                <a:off x="6599" y="2029"/>
                <a:ext cx="470" cy="161"/>
              </a:xfrm>
              <a:custGeom>
                <a:avLst/>
                <a:gdLst>
                  <a:gd name="T0" fmla="*/ 0 w 199"/>
                  <a:gd name="T1" fmla="*/ 29 h 68"/>
                  <a:gd name="T2" fmla="*/ 101 w 199"/>
                  <a:gd name="T3" fmla="*/ 68 h 68"/>
                  <a:gd name="T4" fmla="*/ 199 w 199"/>
                  <a:gd name="T5" fmla="*/ 29 h 68"/>
                  <a:gd name="T6" fmla="*/ 199 w 199"/>
                  <a:gd name="T7" fmla="*/ 8 h 68"/>
                  <a:gd name="T8" fmla="*/ 199 w 199"/>
                  <a:gd name="T9" fmla="*/ 7 h 68"/>
                  <a:gd name="T10" fmla="*/ 199 w 199"/>
                  <a:gd name="T11" fmla="*/ 7 h 68"/>
                  <a:gd name="T12" fmla="*/ 104 w 199"/>
                  <a:gd name="T13" fmla="*/ 32 h 68"/>
                  <a:gd name="T14" fmla="*/ 1 w 199"/>
                  <a:gd name="T15" fmla="*/ 0 h 68"/>
                  <a:gd name="T16" fmla="*/ 0 w 199"/>
                  <a:gd name="T17" fmla="*/ 5 h 68"/>
                  <a:gd name="T18" fmla="*/ 0 w 199"/>
                  <a:gd name="T19" fmla="*/ 7 h 68"/>
                  <a:gd name="T20" fmla="*/ 0 w 199"/>
                  <a:gd name="T21" fmla="*/ 8 h 68"/>
                  <a:gd name="T22" fmla="*/ 0 w 199"/>
                  <a:gd name="T23" fmla="*/ 29 h 68"/>
                  <a:gd name="T24" fmla="*/ 185 w 199"/>
                  <a:gd name="T25" fmla="*/ 26 h 68"/>
                  <a:gd name="T26" fmla="*/ 191 w 199"/>
                  <a:gd name="T27" fmla="*/ 21 h 68"/>
                  <a:gd name="T28" fmla="*/ 191 w 199"/>
                  <a:gd name="T29" fmla="*/ 37 h 68"/>
                  <a:gd name="T30" fmla="*/ 185 w 199"/>
                  <a:gd name="T31" fmla="*/ 42 h 68"/>
                  <a:gd name="T32" fmla="*/ 185 w 199"/>
                  <a:gd name="T33" fmla="*/ 26 h 68"/>
                  <a:gd name="T34" fmla="*/ 166 w 199"/>
                  <a:gd name="T35" fmla="*/ 35 h 68"/>
                  <a:gd name="T36" fmla="*/ 176 w 199"/>
                  <a:gd name="T37" fmla="*/ 31 h 68"/>
                  <a:gd name="T38" fmla="*/ 176 w 199"/>
                  <a:gd name="T39" fmla="*/ 47 h 68"/>
                  <a:gd name="T40" fmla="*/ 166 w 199"/>
                  <a:gd name="T41" fmla="*/ 51 h 68"/>
                  <a:gd name="T42" fmla="*/ 166 w 199"/>
                  <a:gd name="T43" fmla="*/ 35 h 68"/>
                  <a:gd name="T44" fmla="*/ 68 w 199"/>
                  <a:gd name="T45" fmla="*/ 44 h 68"/>
                  <a:gd name="T46" fmla="*/ 81 w 199"/>
                  <a:gd name="T47" fmla="*/ 46 h 68"/>
                  <a:gd name="T48" fmla="*/ 81 w 199"/>
                  <a:gd name="T49" fmla="*/ 62 h 68"/>
                  <a:gd name="T50" fmla="*/ 68 w 199"/>
                  <a:gd name="T51" fmla="*/ 61 h 68"/>
                  <a:gd name="T52" fmla="*/ 68 w 199"/>
                  <a:gd name="T53" fmla="*/ 44 h 68"/>
                  <a:gd name="T54" fmla="*/ 45 w 199"/>
                  <a:gd name="T55" fmla="*/ 40 h 68"/>
                  <a:gd name="T56" fmla="*/ 55 w 199"/>
                  <a:gd name="T57" fmla="*/ 42 h 68"/>
                  <a:gd name="T58" fmla="*/ 55 w 199"/>
                  <a:gd name="T59" fmla="*/ 58 h 68"/>
                  <a:gd name="T60" fmla="*/ 45 w 199"/>
                  <a:gd name="T61" fmla="*/ 56 h 68"/>
                  <a:gd name="T62" fmla="*/ 45 w 199"/>
                  <a:gd name="T63" fmla="*/ 40 h 68"/>
                  <a:gd name="T64" fmla="*/ 25 w 199"/>
                  <a:gd name="T65" fmla="*/ 32 h 68"/>
                  <a:gd name="T66" fmla="*/ 35 w 199"/>
                  <a:gd name="T67" fmla="*/ 36 h 68"/>
                  <a:gd name="T68" fmla="*/ 35 w 199"/>
                  <a:gd name="T69" fmla="*/ 52 h 68"/>
                  <a:gd name="T70" fmla="*/ 25 w 199"/>
                  <a:gd name="T71" fmla="*/ 48 h 68"/>
                  <a:gd name="T72" fmla="*/ 25 w 199"/>
                  <a:gd name="T73" fmla="*/ 32 h 68"/>
                  <a:gd name="T74" fmla="*/ 10 w 199"/>
                  <a:gd name="T75" fmla="*/ 24 h 68"/>
                  <a:gd name="T76" fmla="*/ 17 w 199"/>
                  <a:gd name="T77" fmla="*/ 28 h 68"/>
                  <a:gd name="T78" fmla="*/ 17 w 199"/>
                  <a:gd name="T79" fmla="*/ 44 h 68"/>
                  <a:gd name="T80" fmla="*/ 10 w 199"/>
                  <a:gd name="T81" fmla="*/ 39 h 68"/>
                  <a:gd name="T82" fmla="*/ 10 w 199"/>
                  <a:gd name="T83"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8">
                    <a:moveTo>
                      <a:pt x="0" y="29"/>
                    </a:moveTo>
                    <a:cubicBezTo>
                      <a:pt x="0" y="52"/>
                      <a:pt x="46" y="68"/>
                      <a:pt x="101" y="68"/>
                    </a:cubicBezTo>
                    <a:cubicBezTo>
                      <a:pt x="156" y="68"/>
                      <a:pt x="199" y="52"/>
                      <a:pt x="199" y="29"/>
                    </a:cubicBezTo>
                    <a:cubicBezTo>
                      <a:pt x="199" y="8"/>
                      <a:pt x="199" y="8"/>
                      <a:pt x="199" y="8"/>
                    </a:cubicBezTo>
                    <a:cubicBezTo>
                      <a:pt x="199" y="8"/>
                      <a:pt x="199" y="7"/>
                      <a:pt x="199" y="7"/>
                    </a:cubicBezTo>
                    <a:cubicBezTo>
                      <a:pt x="199" y="7"/>
                      <a:pt x="199" y="7"/>
                      <a:pt x="199" y="7"/>
                    </a:cubicBezTo>
                    <a:cubicBezTo>
                      <a:pt x="180" y="24"/>
                      <a:pt x="141" y="32"/>
                      <a:pt x="104" y="32"/>
                    </a:cubicBezTo>
                    <a:cubicBezTo>
                      <a:pt x="60" y="32"/>
                      <a:pt x="16" y="21"/>
                      <a:pt x="1" y="0"/>
                    </a:cubicBezTo>
                    <a:cubicBezTo>
                      <a:pt x="0" y="2"/>
                      <a:pt x="0" y="3"/>
                      <a:pt x="0" y="5"/>
                    </a:cubicBezTo>
                    <a:cubicBezTo>
                      <a:pt x="0" y="6"/>
                      <a:pt x="0" y="6"/>
                      <a:pt x="0" y="7"/>
                    </a:cubicBezTo>
                    <a:cubicBezTo>
                      <a:pt x="0" y="7"/>
                      <a:pt x="0" y="8"/>
                      <a:pt x="0" y="8"/>
                    </a:cubicBezTo>
                    <a:lnTo>
                      <a:pt x="0" y="29"/>
                    </a:lnTo>
                    <a:close/>
                    <a:moveTo>
                      <a:pt x="185" y="26"/>
                    </a:moveTo>
                    <a:cubicBezTo>
                      <a:pt x="187" y="25"/>
                      <a:pt x="189" y="23"/>
                      <a:pt x="191" y="21"/>
                    </a:cubicBezTo>
                    <a:cubicBezTo>
                      <a:pt x="191" y="37"/>
                      <a:pt x="191" y="37"/>
                      <a:pt x="191" y="37"/>
                    </a:cubicBezTo>
                    <a:cubicBezTo>
                      <a:pt x="189" y="39"/>
                      <a:pt x="187" y="40"/>
                      <a:pt x="185" y="42"/>
                    </a:cubicBezTo>
                    <a:lnTo>
                      <a:pt x="185" y="26"/>
                    </a:lnTo>
                    <a:close/>
                    <a:moveTo>
                      <a:pt x="166" y="35"/>
                    </a:moveTo>
                    <a:cubicBezTo>
                      <a:pt x="170" y="34"/>
                      <a:pt x="173" y="32"/>
                      <a:pt x="176" y="31"/>
                    </a:cubicBezTo>
                    <a:cubicBezTo>
                      <a:pt x="176" y="47"/>
                      <a:pt x="176" y="47"/>
                      <a:pt x="176" y="47"/>
                    </a:cubicBezTo>
                    <a:cubicBezTo>
                      <a:pt x="173" y="48"/>
                      <a:pt x="170" y="50"/>
                      <a:pt x="166" y="51"/>
                    </a:cubicBezTo>
                    <a:lnTo>
                      <a:pt x="166" y="35"/>
                    </a:lnTo>
                    <a:close/>
                    <a:moveTo>
                      <a:pt x="68" y="44"/>
                    </a:moveTo>
                    <a:cubicBezTo>
                      <a:pt x="72" y="45"/>
                      <a:pt x="76" y="45"/>
                      <a:pt x="81" y="46"/>
                    </a:cubicBezTo>
                    <a:cubicBezTo>
                      <a:pt x="81" y="62"/>
                      <a:pt x="81" y="62"/>
                      <a:pt x="81" y="62"/>
                    </a:cubicBezTo>
                    <a:cubicBezTo>
                      <a:pt x="76" y="62"/>
                      <a:pt x="72" y="61"/>
                      <a:pt x="68" y="61"/>
                    </a:cubicBezTo>
                    <a:lnTo>
                      <a:pt x="68" y="44"/>
                    </a:lnTo>
                    <a:close/>
                    <a:moveTo>
                      <a:pt x="45" y="40"/>
                    </a:moveTo>
                    <a:cubicBezTo>
                      <a:pt x="48" y="41"/>
                      <a:pt x="52" y="41"/>
                      <a:pt x="55" y="42"/>
                    </a:cubicBezTo>
                    <a:cubicBezTo>
                      <a:pt x="55" y="58"/>
                      <a:pt x="55" y="58"/>
                      <a:pt x="55" y="58"/>
                    </a:cubicBezTo>
                    <a:cubicBezTo>
                      <a:pt x="52" y="57"/>
                      <a:pt x="48" y="57"/>
                      <a:pt x="45" y="56"/>
                    </a:cubicBezTo>
                    <a:lnTo>
                      <a:pt x="45" y="40"/>
                    </a:lnTo>
                    <a:close/>
                    <a:moveTo>
                      <a:pt x="25" y="32"/>
                    </a:moveTo>
                    <a:cubicBezTo>
                      <a:pt x="28" y="34"/>
                      <a:pt x="31" y="35"/>
                      <a:pt x="35" y="36"/>
                    </a:cubicBezTo>
                    <a:cubicBezTo>
                      <a:pt x="35" y="52"/>
                      <a:pt x="35" y="52"/>
                      <a:pt x="35" y="52"/>
                    </a:cubicBezTo>
                    <a:cubicBezTo>
                      <a:pt x="31" y="51"/>
                      <a:pt x="28" y="50"/>
                      <a:pt x="25" y="48"/>
                    </a:cubicBezTo>
                    <a:lnTo>
                      <a:pt x="25" y="32"/>
                    </a:lnTo>
                    <a:close/>
                    <a:moveTo>
                      <a:pt x="10" y="24"/>
                    </a:moveTo>
                    <a:cubicBezTo>
                      <a:pt x="12" y="25"/>
                      <a:pt x="15" y="27"/>
                      <a:pt x="17" y="28"/>
                    </a:cubicBezTo>
                    <a:cubicBezTo>
                      <a:pt x="17" y="44"/>
                      <a:pt x="17" y="44"/>
                      <a:pt x="17" y="44"/>
                    </a:cubicBezTo>
                    <a:cubicBezTo>
                      <a:pt x="15" y="42"/>
                      <a:pt x="12" y="41"/>
                      <a:pt x="10" y="39"/>
                    </a:cubicBezTo>
                    <a:lnTo>
                      <a:pt x="1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80" name="Freeform 11"/>
              <p:cNvSpPr>
                <a:spLocks noEditPoints="1"/>
              </p:cNvSpPr>
              <p:nvPr/>
            </p:nvSpPr>
            <p:spPr bwMode="auto">
              <a:xfrm>
                <a:off x="6606" y="1921"/>
                <a:ext cx="470" cy="163"/>
              </a:xfrm>
              <a:custGeom>
                <a:avLst/>
                <a:gdLst>
                  <a:gd name="T0" fmla="*/ 0 w 199"/>
                  <a:gd name="T1" fmla="*/ 9 h 69"/>
                  <a:gd name="T2" fmla="*/ 0 w 199"/>
                  <a:gd name="T3" fmla="*/ 29 h 69"/>
                  <a:gd name="T4" fmla="*/ 101 w 199"/>
                  <a:gd name="T5" fmla="*/ 69 h 69"/>
                  <a:gd name="T6" fmla="*/ 199 w 199"/>
                  <a:gd name="T7" fmla="*/ 29 h 69"/>
                  <a:gd name="T8" fmla="*/ 199 w 199"/>
                  <a:gd name="T9" fmla="*/ 9 h 69"/>
                  <a:gd name="T10" fmla="*/ 199 w 199"/>
                  <a:gd name="T11" fmla="*/ 7 h 69"/>
                  <a:gd name="T12" fmla="*/ 199 w 199"/>
                  <a:gd name="T13" fmla="*/ 7 h 69"/>
                  <a:gd name="T14" fmla="*/ 104 w 199"/>
                  <a:gd name="T15" fmla="*/ 32 h 69"/>
                  <a:gd name="T16" fmla="*/ 1 w 199"/>
                  <a:gd name="T17" fmla="*/ 0 h 69"/>
                  <a:gd name="T18" fmla="*/ 0 w 199"/>
                  <a:gd name="T19" fmla="*/ 5 h 69"/>
                  <a:gd name="T20" fmla="*/ 0 w 199"/>
                  <a:gd name="T21" fmla="*/ 7 h 69"/>
                  <a:gd name="T22" fmla="*/ 0 w 199"/>
                  <a:gd name="T23" fmla="*/ 9 h 69"/>
                  <a:gd name="T24" fmla="*/ 185 w 199"/>
                  <a:gd name="T25" fmla="*/ 27 h 69"/>
                  <a:gd name="T26" fmla="*/ 191 w 199"/>
                  <a:gd name="T27" fmla="*/ 21 h 69"/>
                  <a:gd name="T28" fmla="*/ 191 w 199"/>
                  <a:gd name="T29" fmla="*/ 37 h 69"/>
                  <a:gd name="T30" fmla="*/ 185 w 199"/>
                  <a:gd name="T31" fmla="*/ 42 h 69"/>
                  <a:gd name="T32" fmla="*/ 185 w 199"/>
                  <a:gd name="T33" fmla="*/ 27 h 69"/>
                  <a:gd name="T34" fmla="*/ 167 w 199"/>
                  <a:gd name="T35" fmla="*/ 35 h 69"/>
                  <a:gd name="T36" fmla="*/ 176 w 199"/>
                  <a:gd name="T37" fmla="*/ 31 h 69"/>
                  <a:gd name="T38" fmla="*/ 176 w 199"/>
                  <a:gd name="T39" fmla="*/ 47 h 69"/>
                  <a:gd name="T40" fmla="*/ 167 w 199"/>
                  <a:gd name="T41" fmla="*/ 51 h 69"/>
                  <a:gd name="T42" fmla="*/ 167 w 199"/>
                  <a:gd name="T43" fmla="*/ 35 h 69"/>
                  <a:gd name="T44" fmla="*/ 68 w 199"/>
                  <a:gd name="T45" fmla="*/ 45 h 69"/>
                  <a:gd name="T46" fmla="*/ 81 w 199"/>
                  <a:gd name="T47" fmla="*/ 46 h 69"/>
                  <a:gd name="T48" fmla="*/ 81 w 199"/>
                  <a:gd name="T49" fmla="*/ 62 h 69"/>
                  <a:gd name="T50" fmla="*/ 68 w 199"/>
                  <a:gd name="T51" fmla="*/ 61 h 69"/>
                  <a:gd name="T52" fmla="*/ 68 w 199"/>
                  <a:gd name="T53" fmla="*/ 45 h 69"/>
                  <a:gd name="T54" fmla="*/ 46 w 199"/>
                  <a:gd name="T55" fmla="*/ 40 h 69"/>
                  <a:gd name="T56" fmla="*/ 55 w 199"/>
                  <a:gd name="T57" fmla="*/ 42 h 69"/>
                  <a:gd name="T58" fmla="*/ 55 w 199"/>
                  <a:gd name="T59" fmla="*/ 58 h 69"/>
                  <a:gd name="T60" fmla="*/ 46 w 199"/>
                  <a:gd name="T61" fmla="*/ 56 h 69"/>
                  <a:gd name="T62" fmla="*/ 46 w 199"/>
                  <a:gd name="T63" fmla="*/ 40 h 69"/>
                  <a:gd name="T64" fmla="*/ 25 w 199"/>
                  <a:gd name="T65" fmla="*/ 33 h 69"/>
                  <a:gd name="T66" fmla="*/ 35 w 199"/>
                  <a:gd name="T67" fmla="*/ 36 h 69"/>
                  <a:gd name="T68" fmla="*/ 35 w 199"/>
                  <a:gd name="T69" fmla="*/ 52 h 69"/>
                  <a:gd name="T70" fmla="*/ 25 w 199"/>
                  <a:gd name="T71" fmla="*/ 48 h 69"/>
                  <a:gd name="T72" fmla="*/ 25 w 199"/>
                  <a:gd name="T73" fmla="*/ 33 h 69"/>
                  <a:gd name="T74" fmla="*/ 11 w 199"/>
                  <a:gd name="T75" fmla="*/ 24 h 69"/>
                  <a:gd name="T76" fmla="*/ 17 w 199"/>
                  <a:gd name="T77" fmla="*/ 28 h 69"/>
                  <a:gd name="T78" fmla="*/ 17 w 199"/>
                  <a:gd name="T79" fmla="*/ 44 h 69"/>
                  <a:gd name="T80" fmla="*/ 11 w 199"/>
                  <a:gd name="T81" fmla="*/ 40 h 69"/>
                  <a:gd name="T82" fmla="*/ 11 w 199"/>
                  <a:gd name="T8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69">
                    <a:moveTo>
                      <a:pt x="0" y="9"/>
                    </a:moveTo>
                    <a:cubicBezTo>
                      <a:pt x="0" y="29"/>
                      <a:pt x="0" y="29"/>
                      <a:pt x="0" y="29"/>
                    </a:cubicBezTo>
                    <a:cubicBezTo>
                      <a:pt x="0" y="52"/>
                      <a:pt x="46" y="69"/>
                      <a:pt x="101" y="69"/>
                    </a:cubicBezTo>
                    <a:cubicBezTo>
                      <a:pt x="156" y="69"/>
                      <a:pt x="199" y="52"/>
                      <a:pt x="199" y="29"/>
                    </a:cubicBezTo>
                    <a:cubicBezTo>
                      <a:pt x="199" y="9"/>
                      <a:pt x="199" y="9"/>
                      <a:pt x="199" y="9"/>
                    </a:cubicBezTo>
                    <a:cubicBezTo>
                      <a:pt x="199" y="8"/>
                      <a:pt x="199" y="8"/>
                      <a:pt x="199" y="7"/>
                    </a:cubicBezTo>
                    <a:cubicBezTo>
                      <a:pt x="199" y="7"/>
                      <a:pt x="199" y="7"/>
                      <a:pt x="199" y="7"/>
                    </a:cubicBezTo>
                    <a:cubicBezTo>
                      <a:pt x="180" y="24"/>
                      <a:pt x="141" y="32"/>
                      <a:pt x="104" y="32"/>
                    </a:cubicBezTo>
                    <a:cubicBezTo>
                      <a:pt x="61" y="32"/>
                      <a:pt x="16" y="21"/>
                      <a:pt x="1" y="0"/>
                    </a:cubicBezTo>
                    <a:cubicBezTo>
                      <a:pt x="0" y="2"/>
                      <a:pt x="0" y="4"/>
                      <a:pt x="0" y="5"/>
                    </a:cubicBezTo>
                    <a:cubicBezTo>
                      <a:pt x="0" y="6"/>
                      <a:pt x="0" y="7"/>
                      <a:pt x="0" y="7"/>
                    </a:cubicBezTo>
                    <a:cubicBezTo>
                      <a:pt x="0" y="8"/>
                      <a:pt x="0" y="8"/>
                      <a:pt x="0" y="9"/>
                    </a:cubicBezTo>
                    <a:close/>
                    <a:moveTo>
                      <a:pt x="185" y="27"/>
                    </a:moveTo>
                    <a:cubicBezTo>
                      <a:pt x="187" y="25"/>
                      <a:pt x="190" y="23"/>
                      <a:pt x="191" y="21"/>
                    </a:cubicBezTo>
                    <a:cubicBezTo>
                      <a:pt x="191" y="37"/>
                      <a:pt x="191" y="37"/>
                      <a:pt x="191" y="37"/>
                    </a:cubicBezTo>
                    <a:cubicBezTo>
                      <a:pt x="190" y="39"/>
                      <a:pt x="187" y="41"/>
                      <a:pt x="185" y="42"/>
                    </a:cubicBezTo>
                    <a:lnTo>
                      <a:pt x="185" y="27"/>
                    </a:lnTo>
                    <a:close/>
                    <a:moveTo>
                      <a:pt x="167" y="35"/>
                    </a:moveTo>
                    <a:cubicBezTo>
                      <a:pt x="170" y="34"/>
                      <a:pt x="173" y="33"/>
                      <a:pt x="176" y="31"/>
                    </a:cubicBezTo>
                    <a:cubicBezTo>
                      <a:pt x="176" y="47"/>
                      <a:pt x="176" y="47"/>
                      <a:pt x="176" y="47"/>
                    </a:cubicBezTo>
                    <a:cubicBezTo>
                      <a:pt x="173" y="49"/>
                      <a:pt x="170" y="50"/>
                      <a:pt x="167" y="51"/>
                    </a:cubicBezTo>
                    <a:lnTo>
                      <a:pt x="167" y="35"/>
                    </a:lnTo>
                    <a:close/>
                    <a:moveTo>
                      <a:pt x="68" y="45"/>
                    </a:moveTo>
                    <a:cubicBezTo>
                      <a:pt x="72" y="45"/>
                      <a:pt x="77" y="46"/>
                      <a:pt x="81" y="46"/>
                    </a:cubicBezTo>
                    <a:cubicBezTo>
                      <a:pt x="81" y="62"/>
                      <a:pt x="81" y="62"/>
                      <a:pt x="81" y="62"/>
                    </a:cubicBezTo>
                    <a:cubicBezTo>
                      <a:pt x="77" y="62"/>
                      <a:pt x="72" y="61"/>
                      <a:pt x="68" y="61"/>
                    </a:cubicBezTo>
                    <a:lnTo>
                      <a:pt x="68" y="45"/>
                    </a:lnTo>
                    <a:close/>
                    <a:moveTo>
                      <a:pt x="46" y="40"/>
                    </a:moveTo>
                    <a:cubicBezTo>
                      <a:pt x="49" y="41"/>
                      <a:pt x="52" y="42"/>
                      <a:pt x="55" y="42"/>
                    </a:cubicBezTo>
                    <a:cubicBezTo>
                      <a:pt x="55" y="58"/>
                      <a:pt x="55" y="58"/>
                      <a:pt x="55" y="58"/>
                    </a:cubicBezTo>
                    <a:cubicBezTo>
                      <a:pt x="52" y="58"/>
                      <a:pt x="49" y="57"/>
                      <a:pt x="46" y="56"/>
                    </a:cubicBezTo>
                    <a:lnTo>
                      <a:pt x="46" y="40"/>
                    </a:lnTo>
                    <a:close/>
                    <a:moveTo>
                      <a:pt x="25" y="33"/>
                    </a:moveTo>
                    <a:cubicBezTo>
                      <a:pt x="28" y="34"/>
                      <a:pt x="32" y="35"/>
                      <a:pt x="35" y="36"/>
                    </a:cubicBezTo>
                    <a:cubicBezTo>
                      <a:pt x="35" y="52"/>
                      <a:pt x="35" y="52"/>
                      <a:pt x="35" y="52"/>
                    </a:cubicBezTo>
                    <a:cubicBezTo>
                      <a:pt x="32" y="51"/>
                      <a:pt x="28" y="50"/>
                      <a:pt x="25" y="48"/>
                    </a:cubicBezTo>
                    <a:lnTo>
                      <a:pt x="25" y="33"/>
                    </a:lnTo>
                    <a:close/>
                    <a:moveTo>
                      <a:pt x="11" y="24"/>
                    </a:moveTo>
                    <a:cubicBezTo>
                      <a:pt x="13" y="25"/>
                      <a:pt x="15" y="27"/>
                      <a:pt x="17" y="28"/>
                    </a:cubicBezTo>
                    <a:cubicBezTo>
                      <a:pt x="17" y="44"/>
                      <a:pt x="17" y="44"/>
                      <a:pt x="17" y="44"/>
                    </a:cubicBezTo>
                    <a:cubicBezTo>
                      <a:pt x="15" y="43"/>
                      <a:pt x="13" y="41"/>
                      <a:pt x="11" y="40"/>
                    </a:cubicBezTo>
                    <a:lnTo>
                      <a:pt x="11"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81" name="Freeform 12"/>
              <p:cNvSpPr>
                <a:spLocks noEditPoints="1"/>
              </p:cNvSpPr>
              <p:nvPr/>
            </p:nvSpPr>
            <p:spPr bwMode="auto">
              <a:xfrm>
                <a:off x="6613" y="1817"/>
                <a:ext cx="472" cy="158"/>
              </a:xfrm>
              <a:custGeom>
                <a:avLst/>
                <a:gdLst>
                  <a:gd name="T0" fmla="*/ 98 w 200"/>
                  <a:gd name="T1" fmla="*/ 30 h 67"/>
                  <a:gd name="T2" fmla="*/ 0 w 200"/>
                  <a:gd name="T3" fmla="*/ 5 h 67"/>
                  <a:gd name="T4" fmla="*/ 0 w 200"/>
                  <a:gd name="T5" fmla="*/ 7 h 67"/>
                  <a:gd name="T6" fmla="*/ 0 w 200"/>
                  <a:gd name="T7" fmla="*/ 28 h 67"/>
                  <a:gd name="T8" fmla="*/ 101 w 200"/>
                  <a:gd name="T9" fmla="*/ 67 h 67"/>
                  <a:gd name="T10" fmla="*/ 200 w 200"/>
                  <a:gd name="T11" fmla="*/ 28 h 67"/>
                  <a:gd name="T12" fmla="*/ 200 w 200"/>
                  <a:gd name="T13" fmla="*/ 7 h 67"/>
                  <a:gd name="T14" fmla="*/ 198 w 200"/>
                  <a:gd name="T15" fmla="*/ 0 h 67"/>
                  <a:gd name="T16" fmla="*/ 98 w 200"/>
                  <a:gd name="T17" fmla="*/ 30 h 67"/>
                  <a:gd name="T18" fmla="*/ 18 w 200"/>
                  <a:gd name="T19" fmla="*/ 43 h 67"/>
                  <a:gd name="T20" fmla="*/ 11 w 200"/>
                  <a:gd name="T21" fmla="*/ 38 h 67"/>
                  <a:gd name="T22" fmla="*/ 11 w 200"/>
                  <a:gd name="T23" fmla="*/ 22 h 67"/>
                  <a:gd name="T24" fmla="*/ 18 w 200"/>
                  <a:gd name="T25" fmla="*/ 27 h 67"/>
                  <a:gd name="T26" fmla="*/ 18 w 200"/>
                  <a:gd name="T27" fmla="*/ 43 h 67"/>
                  <a:gd name="T28" fmla="*/ 35 w 200"/>
                  <a:gd name="T29" fmla="*/ 51 h 67"/>
                  <a:gd name="T30" fmla="*/ 26 w 200"/>
                  <a:gd name="T31" fmla="*/ 47 h 67"/>
                  <a:gd name="T32" fmla="*/ 26 w 200"/>
                  <a:gd name="T33" fmla="*/ 31 h 67"/>
                  <a:gd name="T34" fmla="*/ 35 w 200"/>
                  <a:gd name="T35" fmla="*/ 35 h 67"/>
                  <a:gd name="T36" fmla="*/ 35 w 200"/>
                  <a:gd name="T37" fmla="*/ 51 h 67"/>
                  <a:gd name="T38" fmla="*/ 56 w 200"/>
                  <a:gd name="T39" fmla="*/ 57 h 67"/>
                  <a:gd name="T40" fmla="*/ 46 w 200"/>
                  <a:gd name="T41" fmla="*/ 55 h 67"/>
                  <a:gd name="T42" fmla="*/ 46 w 200"/>
                  <a:gd name="T43" fmla="*/ 39 h 67"/>
                  <a:gd name="T44" fmla="*/ 56 w 200"/>
                  <a:gd name="T45" fmla="*/ 41 h 67"/>
                  <a:gd name="T46" fmla="*/ 56 w 200"/>
                  <a:gd name="T47" fmla="*/ 57 h 67"/>
                  <a:gd name="T48" fmla="*/ 81 w 200"/>
                  <a:gd name="T49" fmla="*/ 60 h 67"/>
                  <a:gd name="T50" fmla="*/ 68 w 200"/>
                  <a:gd name="T51" fmla="*/ 59 h 67"/>
                  <a:gd name="T52" fmla="*/ 68 w 200"/>
                  <a:gd name="T53" fmla="*/ 43 h 67"/>
                  <a:gd name="T54" fmla="*/ 81 w 200"/>
                  <a:gd name="T55" fmla="*/ 44 h 67"/>
                  <a:gd name="T56" fmla="*/ 81 w 200"/>
                  <a:gd name="T57" fmla="*/ 60 h 67"/>
                  <a:gd name="T58" fmla="*/ 177 w 200"/>
                  <a:gd name="T59" fmla="*/ 46 h 67"/>
                  <a:gd name="T60" fmla="*/ 167 w 200"/>
                  <a:gd name="T61" fmla="*/ 50 h 67"/>
                  <a:gd name="T62" fmla="*/ 167 w 200"/>
                  <a:gd name="T63" fmla="*/ 34 h 67"/>
                  <a:gd name="T64" fmla="*/ 177 w 200"/>
                  <a:gd name="T65" fmla="*/ 30 h 67"/>
                  <a:gd name="T66" fmla="*/ 177 w 200"/>
                  <a:gd name="T67" fmla="*/ 46 h 67"/>
                  <a:gd name="T68" fmla="*/ 192 w 200"/>
                  <a:gd name="T69" fmla="*/ 35 h 67"/>
                  <a:gd name="T70" fmla="*/ 185 w 200"/>
                  <a:gd name="T71" fmla="*/ 41 h 67"/>
                  <a:gd name="T72" fmla="*/ 185 w 200"/>
                  <a:gd name="T73" fmla="*/ 25 h 67"/>
                  <a:gd name="T74" fmla="*/ 192 w 200"/>
                  <a:gd name="T75" fmla="*/ 20 h 67"/>
                  <a:gd name="T76" fmla="*/ 192 w 200"/>
                  <a:gd name="T7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 h="67">
                    <a:moveTo>
                      <a:pt x="98" y="30"/>
                    </a:moveTo>
                    <a:cubicBezTo>
                      <a:pt x="59" y="30"/>
                      <a:pt x="19" y="21"/>
                      <a:pt x="0" y="5"/>
                    </a:cubicBezTo>
                    <a:cubicBezTo>
                      <a:pt x="0" y="6"/>
                      <a:pt x="0" y="6"/>
                      <a:pt x="0" y="7"/>
                    </a:cubicBezTo>
                    <a:cubicBezTo>
                      <a:pt x="0" y="28"/>
                      <a:pt x="0" y="28"/>
                      <a:pt x="0" y="28"/>
                    </a:cubicBezTo>
                    <a:cubicBezTo>
                      <a:pt x="1" y="50"/>
                      <a:pt x="46" y="67"/>
                      <a:pt x="101" y="67"/>
                    </a:cubicBezTo>
                    <a:cubicBezTo>
                      <a:pt x="156" y="67"/>
                      <a:pt x="199" y="50"/>
                      <a:pt x="200" y="28"/>
                    </a:cubicBezTo>
                    <a:cubicBezTo>
                      <a:pt x="200" y="7"/>
                      <a:pt x="200" y="7"/>
                      <a:pt x="200" y="7"/>
                    </a:cubicBezTo>
                    <a:cubicBezTo>
                      <a:pt x="200" y="5"/>
                      <a:pt x="199" y="2"/>
                      <a:pt x="198" y="0"/>
                    </a:cubicBezTo>
                    <a:cubicBezTo>
                      <a:pt x="182" y="21"/>
                      <a:pt x="139" y="30"/>
                      <a:pt x="98" y="30"/>
                    </a:cubicBezTo>
                    <a:close/>
                    <a:moveTo>
                      <a:pt x="18" y="43"/>
                    </a:moveTo>
                    <a:cubicBezTo>
                      <a:pt x="15" y="41"/>
                      <a:pt x="13" y="40"/>
                      <a:pt x="11" y="38"/>
                    </a:cubicBezTo>
                    <a:cubicBezTo>
                      <a:pt x="11" y="22"/>
                      <a:pt x="11" y="22"/>
                      <a:pt x="11" y="22"/>
                    </a:cubicBezTo>
                    <a:cubicBezTo>
                      <a:pt x="13" y="24"/>
                      <a:pt x="15" y="25"/>
                      <a:pt x="18" y="27"/>
                    </a:cubicBezTo>
                    <a:lnTo>
                      <a:pt x="18" y="43"/>
                    </a:lnTo>
                    <a:close/>
                    <a:moveTo>
                      <a:pt x="35" y="51"/>
                    </a:moveTo>
                    <a:cubicBezTo>
                      <a:pt x="32" y="49"/>
                      <a:pt x="29" y="48"/>
                      <a:pt x="26" y="47"/>
                    </a:cubicBezTo>
                    <a:cubicBezTo>
                      <a:pt x="26" y="31"/>
                      <a:pt x="26" y="31"/>
                      <a:pt x="26" y="31"/>
                    </a:cubicBezTo>
                    <a:cubicBezTo>
                      <a:pt x="29" y="32"/>
                      <a:pt x="32" y="33"/>
                      <a:pt x="35" y="35"/>
                    </a:cubicBezTo>
                    <a:lnTo>
                      <a:pt x="35" y="51"/>
                    </a:lnTo>
                    <a:close/>
                    <a:moveTo>
                      <a:pt x="56" y="57"/>
                    </a:moveTo>
                    <a:cubicBezTo>
                      <a:pt x="52" y="56"/>
                      <a:pt x="49" y="55"/>
                      <a:pt x="46" y="55"/>
                    </a:cubicBezTo>
                    <a:cubicBezTo>
                      <a:pt x="46" y="39"/>
                      <a:pt x="46" y="39"/>
                      <a:pt x="46" y="39"/>
                    </a:cubicBezTo>
                    <a:cubicBezTo>
                      <a:pt x="49" y="39"/>
                      <a:pt x="52" y="40"/>
                      <a:pt x="56" y="41"/>
                    </a:cubicBezTo>
                    <a:lnTo>
                      <a:pt x="56" y="57"/>
                    </a:lnTo>
                    <a:close/>
                    <a:moveTo>
                      <a:pt x="81" y="60"/>
                    </a:moveTo>
                    <a:cubicBezTo>
                      <a:pt x="77" y="60"/>
                      <a:pt x="72" y="60"/>
                      <a:pt x="68" y="59"/>
                    </a:cubicBezTo>
                    <a:cubicBezTo>
                      <a:pt x="68" y="43"/>
                      <a:pt x="68" y="43"/>
                      <a:pt x="68" y="43"/>
                    </a:cubicBezTo>
                    <a:cubicBezTo>
                      <a:pt x="72" y="44"/>
                      <a:pt x="77" y="44"/>
                      <a:pt x="81" y="44"/>
                    </a:cubicBezTo>
                    <a:lnTo>
                      <a:pt x="81" y="60"/>
                    </a:lnTo>
                    <a:close/>
                    <a:moveTo>
                      <a:pt x="177" y="46"/>
                    </a:moveTo>
                    <a:cubicBezTo>
                      <a:pt x="174" y="47"/>
                      <a:pt x="170" y="48"/>
                      <a:pt x="167" y="50"/>
                    </a:cubicBezTo>
                    <a:cubicBezTo>
                      <a:pt x="167" y="34"/>
                      <a:pt x="167" y="34"/>
                      <a:pt x="167" y="34"/>
                    </a:cubicBezTo>
                    <a:cubicBezTo>
                      <a:pt x="170" y="32"/>
                      <a:pt x="174" y="31"/>
                      <a:pt x="177" y="30"/>
                    </a:cubicBezTo>
                    <a:lnTo>
                      <a:pt x="177" y="46"/>
                    </a:lnTo>
                    <a:close/>
                    <a:moveTo>
                      <a:pt x="192" y="35"/>
                    </a:moveTo>
                    <a:cubicBezTo>
                      <a:pt x="190" y="37"/>
                      <a:pt x="188" y="39"/>
                      <a:pt x="185" y="41"/>
                    </a:cubicBezTo>
                    <a:cubicBezTo>
                      <a:pt x="185" y="25"/>
                      <a:pt x="185" y="25"/>
                      <a:pt x="185" y="25"/>
                    </a:cubicBezTo>
                    <a:cubicBezTo>
                      <a:pt x="188" y="23"/>
                      <a:pt x="190" y="21"/>
                      <a:pt x="192" y="20"/>
                    </a:cubicBezTo>
                    <a:lnTo>
                      <a:pt x="192"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sp>
            <p:nvSpPr>
              <p:cNvPr id="82" name="Freeform 13"/>
              <p:cNvSpPr>
                <a:spLocks noEditPoints="1"/>
              </p:cNvSpPr>
              <p:nvPr/>
            </p:nvSpPr>
            <p:spPr bwMode="auto">
              <a:xfrm>
                <a:off x="6606" y="1623"/>
                <a:ext cx="470" cy="243"/>
              </a:xfrm>
              <a:custGeom>
                <a:avLst/>
                <a:gdLst>
                  <a:gd name="T0" fmla="*/ 199 w 199"/>
                  <a:gd name="T1" fmla="*/ 64 h 103"/>
                  <a:gd name="T2" fmla="*/ 100 w 199"/>
                  <a:gd name="T3" fmla="*/ 0 h 103"/>
                  <a:gd name="T4" fmla="*/ 0 w 199"/>
                  <a:gd name="T5" fmla="*/ 64 h 103"/>
                  <a:gd name="T6" fmla="*/ 35 w 199"/>
                  <a:gd name="T7" fmla="*/ 87 h 103"/>
                  <a:gd name="T8" fmla="*/ 25 w 199"/>
                  <a:gd name="T9" fmla="*/ 67 h 103"/>
                  <a:gd name="T10" fmla="*/ 35 w 199"/>
                  <a:gd name="T11" fmla="*/ 87 h 103"/>
                  <a:gd name="T12" fmla="*/ 46 w 199"/>
                  <a:gd name="T13" fmla="*/ 91 h 103"/>
                  <a:gd name="T14" fmla="*/ 55 w 199"/>
                  <a:gd name="T15" fmla="*/ 77 h 103"/>
                  <a:gd name="T16" fmla="*/ 81 w 199"/>
                  <a:gd name="T17" fmla="*/ 97 h 103"/>
                  <a:gd name="T18" fmla="*/ 68 w 199"/>
                  <a:gd name="T19" fmla="*/ 79 h 103"/>
                  <a:gd name="T20" fmla="*/ 81 w 199"/>
                  <a:gd name="T21" fmla="*/ 97 h 103"/>
                  <a:gd name="T22" fmla="*/ 167 w 199"/>
                  <a:gd name="T23" fmla="*/ 86 h 103"/>
                  <a:gd name="T24" fmla="*/ 176 w 199"/>
                  <a:gd name="T25" fmla="*/ 66 h 103"/>
                  <a:gd name="T26" fmla="*/ 191 w 199"/>
                  <a:gd name="T27" fmla="*/ 56 h 103"/>
                  <a:gd name="T28" fmla="*/ 185 w 199"/>
                  <a:gd name="T29" fmla="*/ 77 h 103"/>
                  <a:gd name="T30" fmla="*/ 191 w 199"/>
                  <a:gd name="T31" fmla="*/ 56 h 103"/>
                  <a:gd name="T32" fmla="*/ 186 w 199"/>
                  <a:gd name="T33" fmla="*/ 39 h 103"/>
                  <a:gd name="T34" fmla="*/ 183 w 199"/>
                  <a:gd name="T35" fmla="*/ 43 h 103"/>
                  <a:gd name="T36" fmla="*/ 122 w 199"/>
                  <a:gd name="T37" fmla="*/ 20 h 103"/>
                  <a:gd name="T38" fmla="*/ 136 w 199"/>
                  <a:gd name="T39" fmla="*/ 25 h 103"/>
                  <a:gd name="T40" fmla="*/ 140 w 199"/>
                  <a:gd name="T41" fmla="*/ 31 h 103"/>
                  <a:gd name="T42" fmla="*/ 127 w 199"/>
                  <a:gd name="T43" fmla="*/ 32 h 103"/>
                  <a:gd name="T44" fmla="*/ 123 w 199"/>
                  <a:gd name="T45" fmla="*/ 30 h 103"/>
                  <a:gd name="T46" fmla="*/ 117 w 199"/>
                  <a:gd name="T47" fmla="*/ 27 h 103"/>
                  <a:gd name="T48" fmla="*/ 108 w 199"/>
                  <a:gd name="T49" fmla="*/ 25 h 103"/>
                  <a:gd name="T50" fmla="*/ 92 w 199"/>
                  <a:gd name="T51" fmla="*/ 26 h 103"/>
                  <a:gd name="T52" fmla="*/ 91 w 199"/>
                  <a:gd name="T53" fmla="*/ 29 h 103"/>
                  <a:gd name="T54" fmla="*/ 95 w 199"/>
                  <a:gd name="T55" fmla="*/ 32 h 103"/>
                  <a:gd name="T56" fmla="*/ 114 w 199"/>
                  <a:gd name="T57" fmla="*/ 39 h 103"/>
                  <a:gd name="T58" fmla="*/ 126 w 199"/>
                  <a:gd name="T59" fmla="*/ 46 h 103"/>
                  <a:gd name="T60" fmla="*/ 120 w 199"/>
                  <a:gd name="T61" fmla="*/ 56 h 103"/>
                  <a:gd name="T62" fmla="*/ 94 w 199"/>
                  <a:gd name="T63" fmla="*/ 60 h 103"/>
                  <a:gd name="T64" fmla="*/ 86 w 199"/>
                  <a:gd name="T65" fmla="*/ 65 h 103"/>
                  <a:gd name="T66" fmla="*/ 75 w 199"/>
                  <a:gd name="T67" fmla="*/ 62 h 103"/>
                  <a:gd name="T68" fmla="*/ 73 w 199"/>
                  <a:gd name="T69" fmla="*/ 56 h 103"/>
                  <a:gd name="T70" fmla="*/ 61 w 199"/>
                  <a:gd name="T71" fmla="*/ 49 h 103"/>
                  <a:gd name="T72" fmla="*/ 65 w 199"/>
                  <a:gd name="T73" fmla="*/ 44 h 103"/>
                  <a:gd name="T74" fmla="*/ 77 w 199"/>
                  <a:gd name="T75" fmla="*/ 47 h 103"/>
                  <a:gd name="T76" fmla="*/ 78 w 199"/>
                  <a:gd name="T77" fmla="*/ 48 h 103"/>
                  <a:gd name="T78" fmla="*/ 91 w 199"/>
                  <a:gd name="T79" fmla="*/ 52 h 103"/>
                  <a:gd name="T80" fmla="*/ 102 w 199"/>
                  <a:gd name="T81" fmla="*/ 52 h 103"/>
                  <a:gd name="T82" fmla="*/ 110 w 199"/>
                  <a:gd name="T83" fmla="*/ 50 h 103"/>
                  <a:gd name="T84" fmla="*/ 108 w 199"/>
                  <a:gd name="T85" fmla="*/ 47 h 103"/>
                  <a:gd name="T86" fmla="*/ 95 w 199"/>
                  <a:gd name="T87" fmla="*/ 41 h 103"/>
                  <a:gd name="T88" fmla="*/ 78 w 199"/>
                  <a:gd name="T89" fmla="*/ 34 h 103"/>
                  <a:gd name="T90" fmla="*/ 75 w 199"/>
                  <a:gd name="T91" fmla="*/ 25 h 103"/>
                  <a:gd name="T92" fmla="*/ 89 w 199"/>
                  <a:gd name="T93" fmla="*/ 19 h 103"/>
                  <a:gd name="T94" fmla="*/ 108 w 199"/>
                  <a:gd name="T95" fmla="*/ 16 h 103"/>
                  <a:gd name="T96" fmla="*/ 18 w 199"/>
                  <a:gd name="T97" fmla="*/ 43 h 103"/>
                  <a:gd name="T98" fmla="*/ 14 w 199"/>
                  <a:gd name="T99" fmla="*/ 39 h 103"/>
                  <a:gd name="T100" fmla="*/ 11 w 199"/>
                  <a:gd name="T101" fmla="*/ 58 h 103"/>
                  <a:gd name="T102" fmla="*/ 17 w 199"/>
                  <a:gd name="T103" fmla="*/ 79 h 103"/>
                  <a:gd name="T104" fmla="*/ 11 w 199"/>
                  <a:gd name="T105" fmla="*/ 5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103">
                    <a:moveTo>
                      <a:pt x="101" y="103"/>
                    </a:moveTo>
                    <a:cubicBezTo>
                      <a:pt x="156" y="103"/>
                      <a:pt x="199" y="87"/>
                      <a:pt x="199" y="64"/>
                    </a:cubicBezTo>
                    <a:cubicBezTo>
                      <a:pt x="199" y="43"/>
                      <a:pt x="199" y="43"/>
                      <a:pt x="199" y="43"/>
                    </a:cubicBezTo>
                    <a:cubicBezTo>
                      <a:pt x="199" y="20"/>
                      <a:pt x="155" y="0"/>
                      <a:pt x="100" y="0"/>
                    </a:cubicBezTo>
                    <a:cubicBezTo>
                      <a:pt x="45" y="0"/>
                      <a:pt x="0" y="20"/>
                      <a:pt x="0" y="43"/>
                    </a:cubicBezTo>
                    <a:cubicBezTo>
                      <a:pt x="0" y="64"/>
                      <a:pt x="0" y="64"/>
                      <a:pt x="0" y="64"/>
                    </a:cubicBezTo>
                    <a:cubicBezTo>
                      <a:pt x="0" y="87"/>
                      <a:pt x="46" y="103"/>
                      <a:pt x="101" y="103"/>
                    </a:cubicBezTo>
                    <a:close/>
                    <a:moveTo>
                      <a:pt x="35" y="87"/>
                    </a:moveTo>
                    <a:cubicBezTo>
                      <a:pt x="32" y="86"/>
                      <a:pt x="28" y="84"/>
                      <a:pt x="25" y="83"/>
                    </a:cubicBezTo>
                    <a:cubicBezTo>
                      <a:pt x="25" y="67"/>
                      <a:pt x="25" y="67"/>
                      <a:pt x="25" y="67"/>
                    </a:cubicBezTo>
                    <a:cubicBezTo>
                      <a:pt x="28" y="68"/>
                      <a:pt x="32" y="70"/>
                      <a:pt x="35" y="71"/>
                    </a:cubicBezTo>
                    <a:lnTo>
                      <a:pt x="35" y="87"/>
                    </a:lnTo>
                    <a:close/>
                    <a:moveTo>
                      <a:pt x="55" y="93"/>
                    </a:moveTo>
                    <a:cubicBezTo>
                      <a:pt x="52" y="92"/>
                      <a:pt x="49" y="92"/>
                      <a:pt x="46" y="91"/>
                    </a:cubicBezTo>
                    <a:cubicBezTo>
                      <a:pt x="46" y="75"/>
                      <a:pt x="46" y="75"/>
                      <a:pt x="46" y="75"/>
                    </a:cubicBezTo>
                    <a:cubicBezTo>
                      <a:pt x="49" y="76"/>
                      <a:pt x="52" y="76"/>
                      <a:pt x="55" y="77"/>
                    </a:cubicBezTo>
                    <a:lnTo>
                      <a:pt x="55" y="93"/>
                    </a:lnTo>
                    <a:close/>
                    <a:moveTo>
                      <a:pt x="81" y="97"/>
                    </a:moveTo>
                    <a:cubicBezTo>
                      <a:pt x="77" y="96"/>
                      <a:pt x="72" y="96"/>
                      <a:pt x="68" y="96"/>
                    </a:cubicBezTo>
                    <a:cubicBezTo>
                      <a:pt x="68" y="79"/>
                      <a:pt x="68" y="79"/>
                      <a:pt x="68" y="79"/>
                    </a:cubicBezTo>
                    <a:cubicBezTo>
                      <a:pt x="72" y="80"/>
                      <a:pt x="77" y="80"/>
                      <a:pt x="81" y="81"/>
                    </a:cubicBezTo>
                    <a:lnTo>
                      <a:pt x="81" y="97"/>
                    </a:lnTo>
                    <a:close/>
                    <a:moveTo>
                      <a:pt x="176" y="82"/>
                    </a:moveTo>
                    <a:cubicBezTo>
                      <a:pt x="173" y="83"/>
                      <a:pt x="170" y="85"/>
                      <a:pt x="167" y="86"/>
                    </a:cubicBezTo>
                    <a:cubicBezTo>
                      <a:pt x="167" y="70"/>
                      <a:pt x="167" y="70"/>
                      <a:pt x="167" y="70"/>
                    </a:cubicBezTo>
                    <a:cubicBezTo>
                      <a:pt x="170" y="69"/>
                      <a:pt x="173" y="67"/>
                      <a:pt x="176" y="66"/>
                    </a:cubicBezTo>
                    <a:lnTo>
                      <a:pt x="176" y="82"/>
                    </a:lnTo>
                    <a:close/>
                    <a:moveTo>
                      <a:pt x="191" y="56"/>
                    </a:moveTo>
                    <a:cubicBezTo>
                      <a:pt x="191" y="72"/>
                      <a:pt x="191" y="72"/>
                      <a:pt x="191" y="72"/>
                    </a:cubicBezTo>
                    <a:cubicBezTo>
                      <a:pt x="190" y="74"/>
                      <a:pt x="187" y="75"/>
                      <a:pt x="185" y="77"/>
                    </a:cubicBezTo>
                    <a:cubicBezTo>
                      <a:pt x="185" y="61"/>
                      <a:pt x="185" y="61"/>
                      <a:pt x="185" y="61"/>
                    </a:cubicBezTo>
                    <a:cubicBezTo>
                      <a:pt x="187" y="60"/>
                      <a:pt x="190" y="58"/>
                      <a:pt x="191" y="56"/>
                    </a:cubicBezTo>
                    <a:close/>
                    <a:moveTo>
                      <a:pt x="100" y="8"/>
                    </a:moveTo>
                    <a:cubicBezTo>
                      <a:pt x="147" y="8"/>
                      <a:pt x="186" y="22"/>
                      <a:pt x="186" y="39"/>
                    </a:cubicBezTo>
                    <a:cubicBezTo>
                      <a:pt x="186" y="43"/>
                      <a:pt x="183" y="47"/>
                      <a:pt x="180" y="51"/>
                    </a:cubicBezTo>
                    <a:cubicBezTo>
                      <a:pt x="182" y="48"/>
                      <a:pt x="183" y="46"/>
                      <a:pt x="183" y="43"/>
                    </a:cubicBezTo>
                    <a:cubicBezTo>
                      <a:pt x="183" y="31"/>
                      <a:pt x="158" y="20"/>
                      <a:pt x="125" y="17"/>
                    </a:cubicBezTo>
                    <a:cubicBezTo>
                      <a:pt x="122" y="20"/>
                      <a:pt x="122" y="20"/>
                      <a:pt x="122" y="20"/>
                    </a:cubicBezTo>
                    <a:cubicBezTo>
                      <a:pt x="124" y="20"/>
                      <a:pt x="126" y="20"/>
                      <a:pt x="127" y="21"/>
                    </a:cubicBezTo>
                    <a:cubicBezTo>
                      <a:pt x="131" y="22"/>
                      <a:pt x="134" y="23"/>
                      <a:pt x="136" y="25"/>
                    </a:cubicBezTo>
                    <a:cubicBezTo>
                      <a:pt x="138" y="26"/>
                      <a:pt x="139" y="27"/>
                      <a:pt x="139" y="28"/>
                    </a:cubicBezTo>
                    <a:cubicBezTo>
                      <a:pt x="140" y="30"/>
                      <a:pt x="140" y="31"/>
                      <a:pt x="140" y="31"/>
                    </a:cubicBezTo>
                    <a:cubicBezTo>
                      <a:pt x="139" y="32"/>
                      <a:pt x="137" y="33"/>
                      <a:pt x="135" y="33"/>
                    </a:cubicBezTo>
                    <a:cubicBezTo>
                      <a:pt x="127" y="32"/>
                      <a:pt x="127" y="32"/>
                      <a:pt x="127" y="32"/>
                    </a:cubicBezTo>
                    <a:cubicBezTo>
                      <a:pt x="125" y="31"/>
                      <a:pt x="123" y="31"/>
                      <a:pt x="123" y="30"/>
                    </a:cubicBezTo>
                    <a:cubicBezTo>
                      <a:pt x="123" y="30"/>
                      <a:pt x="123" y="30"/>
                      <a:pt x="123" y="30"/>
                    </a:cubicBezTo>
                    <a:cubicBezTo>
                      <a:pt x="123" y="30"/>
                      <a:pt x="123" y="29"/>
                      <a:pt x="122" y="29"/>
                    </a:cubicBezTo>
                    <a:cubicBezTo>
                      <a:pt x="122" y="28"/>
                      <a:pt x="120" y="27"/>
                      <a:pt x="117" y="27"/>
                    </a:cubicBezTo>
                    <a:cubicBezTo>
                      <a:pt x="115" y="26"/>
                      <a:pt x="112" y="26"/>
                      <a:pt x="109" y="25"/>
                    </a:cubicBezTo>
                    <a:cubicBezTo>
                      <a:pt x="109" y="25"/>
                      <a:pt x="108" y="25"/>
                      <a:pt x="108" y="25"/>
                    </a:cubicBezTo>
                    <a:cubicBezTo>
                      <a:pt x="104" y="25"/>
                      <a:pt x="100" y="25"/>
                      <a:pt x="98" y="25"/>
                    </a:cubicBezTo>
                    <a:cubicBezTo>
                      <a:pt x="95" y="25"/>
                      <a:pt x="94" y="26"/>
                      <a:pt x="92" y="26"/>
                    </a:cubicBezTo>
                    <a:cubicBezTo>
                      <a:pt x="92" y="27"/>
                      <a:pt x="91" y="27"/>
                      <a:pt x="91" y="27"/>
                    </a:cubicBezTo>
                    <a:cubicBezTo>
                      <a:pt x="90" y="28"/>
                      <a:pt x="90" y="29"/>
                      <a:pt x="91" y="29"/>
                    </a:cubicBezTo>
                    <a:cubicBezTo>
                      <a:pt x="91" y="30"/>
                      <a:pt x="91" y="30"/>
                      <a:pt x="92" y="30"/>
                    </a:cubicBezTo>
                    <a:cubicBezTo>
                      <a:pt x="93" y="31"/>
                      <a:pt x="94" y="31"/>
                      <a:pt x="95" y="32"/>
                    </a:cubicBezTo>
                    <a:cubicBezTo>
                      <a:pt x="98" y="33"/>
                      <a:pt x="102" y="34"/>
                      <a:pt x="105" y="36"/>
                    </a:cubicBezTo>
                    <a:cubicBezTo>
                      <a:pt x="108" y="37"/>
                      <a:pt x="111" y="38"/>
                      <a:pt x="114" y="39"/>
                    </a:cubicBezTo>
                    <a:cubicBezTo>
                      <a:pt x="117" y="40"/>
                      <a:pt x="120" y="41"/>
                      <a:pt x="123" y="43"/>
                    </a:cubicBezTo>
                    <a:cubicBezTo>
                      <a:pt x="124" y="44"/>
                      <a:pt x="125" y="45"/>
                      <a:pt x="126" y="46"/>
                    </a:cubicBezTo>
                    <a:cubicBezTo>
                      <a:pt x="127" y="48"/>
                      <a:pt x="127" y="50"/>
                      <a:pt x="126" y="52"/>
                    </a:cubicBezTo>
                    <a:cubicBezTo>
                      <a:pt x="125" y="53"/>
                      <a:pt x="123" y="55"/>
                      <a:pt x="120" y="56"/>
                    </a:cubicBezTo>
                    <a:cubicBezTo>
                      <a:pt x="118" y="57"/>
                      <a:pt x="115" y="58"/>
                      <a:pt x="111" y="58"/>
                    </a:cubicBezTo>
                    <a:cubicBezTo>
                      <a:pt x="106" y="59"/>
                      <a:pt x="100" y="60"/>
                      <a:pt x="94" y="60"/>
                    </a:cubicBezTo>
                    <a:cubicBezTo>
                      <a:pt x="91" y="64"/>
                      <a:pt x="91" y="64"/>
                      <a:pt x="91" y="64"/>
                    </a:cubicBezTo>
                    <a:cubicBezTo>
                      <a:pt x="90" y="65"/>
                      <a:pt x="88" y="65"/>
                      <a:pt x="86" y="65"/>
                    </a:cubicBezTo>
                    <a:cubicBezTo>
                      <a:pt x="77" y="64"/>
                      <a:pt x="77" y="64"/>
                      <a:pt x="77" y="64"/>
                    </a:cubicBezTo>
                    <a:cubicBezTo>
                      <a:pt x="75" y="64"/>
                      <a:pt x="74" y="63"/>
                      <a:pt x="75" y="62"/>
                    </a:cubicBezTo>
                    <a:cubicBezTo>
                      <a:pt x="78" y="58"/>
                      <a:pt x="78" y="58"/>
                      <a:pt x="78" y="58"/>
                    </a:cubicBezTo>
                    <a:cubicBezTo>
                      <a:pt x="76" y="57"/>
                      <a:pt x="74" y="57"/>
                      <a:pt x="73" y="56"/>
                    </a:cubicBezTo>
                    <a:cubicBezTo>
                      <a:pt x="69" y="55"/>
                      <a:pt x="66" y="54"/>
                      <a:pt x="64" y="52"/>
                    </a:cubicBezTo>
                    <a:cubicBezTo>
                      <a:pt x="62" y="51"/>
                      <a:pt x="61" y="50"/>
                      <a:pt x="61" y="49"/>
                    </a:cubicBezTo>
                    <a:cubicBezTo>
                      <a:pt x="60" y="47"/>
                      <a:pt x="61" y="46"/>
                      <a:pt x="61" y="46"/>
                    </a:cubicBezTo>
                    <a:cubicBezTo>
                      <a:pt x="61" y="45"/>
                      <a:pt x="63" y="44"/>
                      <a:pt x="65" y="44"/>
                    </a:cubicBezTo>
                    <a:cubicBezTo>
                      <a:pt x="74" y="45"/>
                      <a:pt x="74" y="45"/>
                      <a:pt x="74" y="45"/>
                    </a:cubicBezTo>
                    <a:cubicBezTo>
                      <a:pt x="76" y="46"/>
                      <a:pt x="77" y="46"/>
                      <a:pt x="77" y="47"/>
                    </a:cubicBezTo>
                    <a:cubicBezTo>
                      <a:pt x="77" y="47"/>
                      <a:pt x="77" y="47"/>
                      <a:pt x="77" y="47"/>
                    </a:cubicBezTo>
                    <a:cubicBezTo>
                      <a:pt x="77" y="47"/>
                      <a:pt x="77" y="48"/>
                      <a:pt x="78" y="48"/>
                    </a:cubicBezTo>
                    <a:cubicBezTo>
                      <a:pt x="79" y="49"/>
                      <a:pt x="80" y="50"/>
                      <a:pt x="83" y="51"/>
                    </a:cubicBezTo>
                    <a:cubicBezTo>
                      <a:pt x="85" y="51"/>
                      <a:pt x="88" y="52"/>
                      <a:pt x="91" y="52"/>
                    </a:cubicBezTo>
                    <a:cubicBezTo>
                      <a:pt x="91" y="52"/>
                      <a:pt x="92" y="52"/>
                      <a:pt x="92" y="52"/>
                    </a:cubicBezTo>
                    <a:cubicBezTo>
                      <a:pt x="96" y="53"/>
                      <a:pt x="100" y="53"/>
                      <a:pt x="102" y="52"/>
                    </a:cubicBezTo>
                    <a:cubicBezTo>
                      <a:pt x="105" y="52"/>
                      <a:pt x="107" y="51"/>
                      <a:pt x="108" y="51"/>
                    </a:cubicBezTo>
                    <a:cubicBezTo>
                      <a:pt x="109" y="51"/>
                      <a:pt x="109" y="50"/>
                      <a:pt x="110" y="50"/>
                    </a:cubicBezTo>
                    <a:cubicBezTo>
                      <a:pt x="110" y="49"/>
                      <a:pt x="110" y="49"/>
                      <a:pt x="110" y="48"/>
                    </a:cubicBezTo>
                    <a:cubicBezTo>
                      <a:pt x="110" y="48"/>
                      <a:pt x="109" y="47"/>
                      <a:pt x="108" y="47"/>
                    </a:cubicBezTo>
                    <a:cubicBezTo>
                      <a:pt x="108" y="46"/>
                      <a:pt x="107" y="46"/>
                      <a:pt x="105" y="45"/>
                    </a:cubicBezTo>
                    <a:cubicBezTo>
                      <a:pt x="103" y="44"/>
                      <a:pt x="99" y="43"/>
                      <a:pt x="95" y="41"/>
                    </a:cubicBezTo>
                    <a:cubicBezTo>
                      <a:pt x="92" y="40"/>
                      <a:pt x="89" y="39"/>
                      <a:pt x="86" y="38"/>
                    </a:cubicBezTo>
                    <a:cubicBezTo>
                      <a:pt x="83" y="37"/>
                      <a:pt x="80" y="36"/>
                      <a:pt x="78" y="34"/>
                    </a:cubicBezTo>
                    <a:cubicBezTo>
                      <a:pt x="76" y="33"/>
                      <a:pt x="75" y="32"/>
                      <a:pt x="74" y="31"/>
                    </a:cubicBezTo>
                    <a:cubicBezTo>
                      <a:pt x="73" y="29"/>
                      <a:pt x="73" y="27"/>
                      <a:pt x="75" y="25"/>
                    </a:cubicBezTo>
                    <a:cubicBezTo>
                      <a:pt x="76" y="24"/>
                      <a:pt x="78" y="23"/>
                      <a:pt x="80" y="21"/>
                    </a:cubicBezTo>
                    <a:cubicBezTo>
                      <a:pt x="82" y="20"/>
                      <a:pt x="85" y="19"/>
                      <a:pt x="89" y="19"/>
                    </a:cubicBezTo>
                    <a:cubicBezTo>
                      <a:pt x="94" y="18"/>
                      <a:pt x="100" y="17"/>
                      <a:pt x="106" y="18"/>
                    </a:cubicBezTo>
                    <a:cubicBezTo>
                      <a:pt x="108" y="16"/>
                      <a:pt x="108" y="16"/>
                      <a:pt x="108" y="16"/>
                    </a:cubicBezTo>
                    <a:cubicBezTo>
                      <a:pt x="105" y="15"/>
                      <a:pt x="103" y="15"/>
                      <a:pt x="100" y="15"/>
                    </a:cubicBezTo>
                    <a:cubicBezTo>
                      <a:pt x="55" y="15"/>
                      <a:pt x="18" y="28"/>
                      <a:pt x="18" y="43"/>
                    </a:cubicBezTo>
                    <a:cubicBezTo>
                      <a:pt x="18" y="48"/>
                      <a:pt x="21" y="52"/>
                      <a:pt x="27" y="56"/>
                    </a:cubicBezTo>
                    <a:cubicBezTo>
                      <a:pt x="18" y="51"/>
                      <a:pt x="14" y="45"/>
                      <a:pt x="14" y="39"/>
                    </a:cubicBezTo>
                    <a:cubicBezTo>
                      <a:pt x="14" y="22"/>
                      <a:pt x="52" y="8"/>
                      <a:pt x="100" y="8"/>
                    </a:cubicBezTo>
                    <a:close/>
                    <a:moveTo>
                      <a:pt x="11" y="58"/>
                    </a:moveTo>
                    <a:cubicBezTo>
                      <a:pt x="13" y="60"/>
                      <a:pt x="15" y="62"/>
                      <a:pt x="17" y="63"/>
                    </a:cubicBezTo>
                    <a:cubicBezTo>
                      <a:pt x="17" y="79"/>
                      <a:pt x="17" y="79"/>
                      <a:pt x="17" y="79"/>
                    </a:cubicBezTo>
                    <a:cubicBezTo>
                      <a:pt x="15" y="77"/>
                      <a:pt x="13" y="76"/>
                      <a:pt x="11" y="74"/>
                    </a:cubicBezTo>
                    <a:lnTo>
                      <a:pt x="11"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AU" sz="3200">
                  <a:latin typeface="SimSun" panose="02010600030101010101" pitchFamily="2" charset="-122"/>
                  <a:ea typeface="SimSun" panose="02010600030101010101" pitchFamily="2" charset="-122"/>
                </a:endParaRPr>
              </a:p>
            </p:txBody>
          </p:sp>
        </p:grpSp>
        <p:sp>
          <p:nvSpPr>
            <p:cNvPr id="74" name="Freeform 18"/>
            <p:cNvSpPr>
              <a:spLocks noEditPoints="1"/>
            </p:cNvSpPr>
            <p:nvPr/>
          </p:nvSpPr>
          <p:spPr bwMode="auto">
            <a:xfrm>
              <a:off x="842358" y="1756218"/>
              <a:ext cx="1924007" cy="2102088"/>
            </a:xfrm>
            <a:custGeom>
              <a:avLst/>
              <a:gdLst>
                <a:gd name="T0" fmla="*/ 100 w 233"/>
                <a:gd name="T1" fmla="*/ 249 h 255"/>
                <a:gd name="T2" fmla="*/ 96 w 233"/>
                <a:gd name="T3" fmla="*/ 245 h 255"/>
                <a:gd name="T4" fmla="*/ 92 w 233"/>
                <a:gd name="T5" fmla="*/ 235 h 255"/>
                <a:gd name="T6" fmla="*/ 96 w 233"/>
                <a:gd name="T7" fmla="*/ 224 h 255"/>
                <a:gd name="T8" fmla="*/ 143 w 233"/>
                <a:gd name="T9" fmla="*/ 230 h 255"/>
                <a:gd name="T10" fmla="*/ 143 w 233"/>
                <a:gd name="T11" fmla="*/ 239 h 255"/>
                <a:gd name="T12" fmla="*/ 132 w 233"/>
                <a:gd name="T13" fmla="*/ 245 h 255"/>
                <a:gd name="T14" fmla="*/ 127 w 233"/>
                <a:gd name="T15" fmla="*/ 255 h 255"/>
                <a:gd name="T16" fmla="*/ 60 w 233"/>
                <a:gd name="T17" fmla="*/ 168 h 255"/>
                <a:gd name="T18" fmla="*/ 45 w 233"/>
                <a:gd name="T19" fmla="*/ 197 h 255"/>
                <a:gd name="T20" fmla="*/ 60 w 233"/>
                <a:gd name="T21" fmla="*/ 168 h 255"/>
                <a:gd name="T22" fmla="*/ 167 w 233"/>
                <a:gd name="T23" fmla="*/ 174 h 255"/>
                <a:gd name="T24" fmla="*/ 196 w 233"/>
                <a:gd name="T25" fmla="*/ 189 h 255"/>
                <a:gd name="T26" fmla="*/ 193 w 233"/>
                <a:gd name="T27" fmla="*/ 121 h 255"/>
                <a:gd name="T28" fmla="*/ 224 w 233"/>
                <a:gd name="T29" fmla="*/ 111 h 255"/>
                <a:gd name="T30" fmla="*/ 193 w 233"/>
                <a:gd name="T31" fmla="*/ 121 h 255"/>
                <a:gd name="T32" fmla="*/ 40 w 233"/>
                <a:gd name="T33" fmla="*/ 113 h 255"/>
                <a:gd name="T34" fmla="*/ 9 w 233"/>
                <a:gd name="T35" fmla="*/ 123 h 255"/>
                <a:gd name="T36" fmla="*/ 59 w 233"/>
                <a:gd name="T37" fmla="*/ 66 h 255"/>
                <a:gd name="T38" fmla="*/ 44 w 233"/>
                <a:gd name="T39" fmla="*/ 37 h 255"/>
                <a:gd name="T40" fmla="*/ 59 w 233"/>
                <a:gd name="T41" fmla="*/ 66 h 255"/>
                <a:gd name="T42" fmla="*/ 168 w 233"/>
                <a:gd name="T43" fmla="*/ 59 h 255"/>
                <a:gd name="T44" fmla="*/ 196 w 233"/>
                <a:gd name="T45" fmla="*/ 44 h 255"/>
                <a:gd name="T46" fmla="*/ 121 w 233"/>
                <a:gd name="T47" fmla="*/ 40 h 255"/>
                <a:gd name="T48" fmla="*/ 111 w 233"/>
                <a:gd name="T49" fmla="*/ 9 h 255"/>
                <a:gd name="T50" fmla="*/ 121 w 233"/>
                <a:gd name="T51" fmla="*/ 40 h 255"/>
                <a:gd name="T52" fmla="*/ 104 w 233"/>
                <a:gd name="T53" fmla="*/ 133 h 255"/>
                <a:gd name="T54" fmla="*/ 94 w 233"/>
                <a:gd name="T55" fmla="*/ 106 h 255"/>
                <a:gd name="T56" fmla="*/ 102 w 233"/>
                <a:gd name="T57" fmla="*/ 106 h 255"/>
                <a:gd name="T58" fmla="*/ 109 w 233"/>
                <a:gd name="T59" fmla="*/ 129 h 255"/>
                <a:gd name="T60" fmla="*/ 124 w 233"/>
                <a:gd name="T61" fmla="*/ 129 h 255"/>
                <a:gd name="T62" fmla="*/ 131 w 233"/>
                <a:gd name="T63" fmla="*/ 106 h 255"/>
                <a:gd name="T64" fmla="*/ 139 w 233"/>
                <a:gd name="T65" fmla="*/ 106 h 255"/>
                <a:gd name="T66" fmla="*/ 128 w 233"/>
                <a:gd name="T67" fmla="*/ 133 h 255"/>
                <a:gd name="T68" fmla="*/ 130 w 233"/>
                <a:gd name="T69" fmla="*/ 206 h 255"/>
                <a:gd name="T70" fmla="*/ 131 w 233"/>
                <a:gd name="T71" fmla="*/ 203 h 255"/>
                <a:gd name="T72" fmla="*/ 154 w 233"/>
                <a:gd name="T73" fmla="*/ 149 h 255"/>
                <a:gd name="T74" fmla="*/ 150 w 233"/>
                <a:gd name="T75" fmla="*/ 81 h 255"/>
                <a:gd name="T76" fmla="*/ 78 w 233"/>
                <a:gd name="T77" fmla="*/ 149 h 255"/>
                <a:gd name="T78" fmla="*/ 101 w 233"/>
                <a:gd name="T79" fmla="*/ 203 h 255"/>
                <a:gd name="T80" fmla="*/ 103 w 233"/>
                <a:gd name="T81" fmla="*/ 206 h 255"/>
                <a:gd name="T82" fmla="*/ 119 w 233"/>
                <a:gd name="T83" fmla="*/ 206 h 255"/>
                <a:gd name="T84" fmla="*/ 116 w 233"/>
                <a:gd name="T85" fmla="*/ 134 h 255"/>
                <a:gd name="T86" fmla="*/ 113 w 233"/>
                <a:gd name="T87" fmla="*/ 206 h 255"/>
                <a:gd name="T88" fmla="*/ 104 w 233"/>
                <a:gd name="T89" fmla="*/ 128 h 255"/>
                <a:gd name="T90" fmla="*/ 100 w 233"/>
                <a:gd name="T91" fmla="*/ 110 h 255"/>
                <a:gd name="T92" fmla="*/ 96 w 233"/>
                <a:gd name="T93" fmla="*/ 111 h 255"/>
                <a:gd name="T94" fmla="*/ 104 w 233"/>
                <a:gd name="T95" fmla="*/ 128 h 255"/>
                <a:gd name="T96" fmla="*/ 140 w 233"/>
                <a:gd name="T97" fmla="*/ 115 h 255"/>
                <a:gd name="T98" fmla="*/ 135 w 233"/>
                <a:gd name="T99" fmla="*/ 110 h 255"/>
                <a:gd name="T100" fmla="*/ 129 w 233"/>
                <a:gd name="T101" fmla="*/ 115 h 255"/>
                <a:gd name="T102" fmla="*/ 137 w 233"/>
                <a:gd name="T103" fmla="*/ 218 h 255"/>
                <a:gd name="T104" fmla="*/ 90 w 233"/>
                <a:gd name="T105" fmla="*/ 212 h 255"/>
                <a:gd name="T106" fmla="*/ 159 w 233"/>
                <a:gd name="T107" fmla="*/ 73 h 255"/>
                <a:gd name="T108" fmla="*/ 143 w 233"/>
                <a:gd name="T109" fmla="*/ 21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255">
                  <a:moveTo>
                    <a:pt x="106" y="255"/>
                  </a:moveTo>
                  <a:cubicBezTo>
                    <a:pt x="103" y="255"/>
                    <a:pt x="100" y="252"/>
                    <a:pt x="100" y="249"/>
                  </a:cubicBezTo>
                  <a:cubicBezTo>
                    <a:pt x="100" y="247"/>
                    <a:pt x="100" y="246"/>
                    <a:pt x="101" y="245"/>
                  </a:cubicBezTo>
                  <a:cubicBezTo>
                    <a:pt x="96" y="245"/>
                    <a:pt x="96" y="245"/>
                    <a:pt x="96" y="245"/>
                  </a:cubicBezTo>
                  <a:cubicBezTo>
                    <a:pt x="93" y="245"/>
                    <a:pt x="90" y="243"/>
                    <a:pt x="90" y="239"/>
                  </a:cubicBezTo>
                  <a:cubicBezTo>
                    <a:pt x="90" y="238"/>
                    <a:pt x="91" y="236"/>
                    <a:pt x="92" y="235"/>
                  </a:cubicBezTo>
                  <a:cubicBezTo>
                    <a:pt x="91" y="234"/>
                    <a:pt x="90" y="232"/>
                    <a:pt x="90" y="230"/>
                  </a:cubicBezTo>
                  <a:cubicBezTo>
                    <a:pt x="90" y="227"/>
                    <a:pt x="93" y="224"/>
                    <a:pt x="96" y="224"/>
                  </a:cubicBezTo>
                  <a:cubicBezTo>
                    <a:pt x="137" y="224"/>
                    <a:pt x="137" y="224"/>
                    <a:pt x="137" y="224"/>
                  </a:cubicBezTo>
                  <a:cubicBezTo>
                    <a:pt x="140" y="224"/>
                    <a:pt x="143" y="227"/>
                    <a:pt x="143" y="230"/>
                  </a:cubicBezTo>
                  <a:cubicBezTo>
                    <a:pt x="143" y="232"/>
                    <a:pt x="142" y="234"/>
                    <a:pt x="141" y="235"/>
                  </a:cubicBezTo>
                  <a:cubicBezTo>
                    <a:pt x="142" y="236"/>
                    <a:pt x="143" y="238"/>
                    <a:pt x="143" y="239"/>
                  </a:cubicBezTo>
                  <a:cubicBezTo>
                    <a:pt x="143" y="243"/>
                    <a:pt x="140" y="245"/>
                    <a:pt x="137" y="245"/>
                  </a:cubicBezTo>
                  <a:cubicBezTo>
                    <a:pt x="132" y="245"/>
                    <a:pt x="132" y="245"/>
                    <a:pt x="132" y="245"/>
                  </a:cubicBezTo>
                  <a:cubicBezTo>
                    <a:pt x="132" y="246"/>
                    <a:pt x="133" y="247"/>
                    <a:pt x="133" y="249"/>
                  </a:cubicBezTo>
                  <a:cubicBezTo>
                    <a:pt x="133" y="252"/>
                    <a:pt x="130" y="255"/>
                    <a:pt x="127" y="255"/>
                  </a:cubicBezTo>
                  <a:cubicBezTo>
                    <a:pt x="106" y="255"/>
                    <a:pt x="106" y="255"/>
                    <a:pt x="106" y="255"/>
                  </a:cubicBezTo>
                  <a:close/>
                  <a:moveTo>
                    <a:pt x="60" y="168"/>
                  </a:moveTo>
                  <a:cubicBezTo>
                    <a:pt x="65" y="164"/>
                    <a:pt x="70" y="169"/>
                    <a:pt x="65" y="174"/>
                  </a:cubicBezTo>
                  <a:cubicBezTo>
                    <a:pt x="45" y="197"/>
                    <a:pt x="45" y="197"/>
                    <a:pt x="45" y="197"/>
                  </a:cubicBezTo>
                  <a:cubicBezTo>
                    <a:pt x="39" y="203"/>
                    <a:pt x="30" y="195"/>
                    <a:pt x="37" y="189"/>
                  </a:cubicBezTo>
                  <a:cubicBezTo>
                    <a:pt x="60" y="168"/>
                    <a:pt x="60" y="168"/>
                    <a:pt x="60" y="168"/>
                  </a:cubicBezTo>
                  <a:close/>
                  <a:moveTo>
                    <a:pt x="173" y="168"/>
                  </a:moveTo>
                  <a:cubicBezTo>
                    <a:pt x="168" y="164"/>
                    <a:pt x="163" y="169"/>
                    <a:pt x="167" y="174"/>
                  </a:cubicBezTo>
                  <a:cubicBezTo>
                    <a:pt x="188" y="197"/>
                    <a:pt x="188" y="197"/>
                    <a:pt x="188" y="197"/>
                  </a:cubicBezTo>
                  <a:cubicBezTo>
                    <a:pt x="194" y="203"/>
                    <a:pt x="203" y="195"/>
                    <a:pt x="196" y="189"/>
                  </a:cubicBezTo>
                  <a:cubicBezTo>
                    <a:pt x="173" y="168"/>
                    <a:pt x="173" y="168"/>
                    <a:pt x="173" y="168"/>
                  </a:cubicBezTo>
                  <a:close/>
                  <a:moveTo>
                    <a:pt x="193" y="121"/>
                  </a:moveTo>
                  <a:cubicBezTo>
                    <a:pt x="186" y="121"/>
                    <a:pt x="186" y="114"/>
                    <a:pt x="193" y="113"/>
                  </a:cubicBezTo>
                  <a:cubicBezTo>
                    <a:pt x="224" y="111"/>
                    <a:pt x="224" y="111"/>
                    <a:pt x="224" y="111"/>
                  </a:cubicBezTo>
                  <a:cubicBezTo>
                    <a:pt x="233" y="111"/>
                    <a:pt x="233" y="123"/>
                    <a:pt x="224" y="123"/>
                  </a:cubicBezTo>
                  <a:cubicBezTo>
                    <a:pt x="193" y="121"/>
                    <a:pt x="193" y="121"/>
                    <a:pt x="193" y="121"/>
                  </a:cubicBezTo>
                  <a:close/>
                  <a:moveTo>
                    <a:pt x="40" y="121"/>
                  </a:moveTo>
                  <a:cubicBezTo>
                    <a:pt x="46" y="121"/>
                    <a:pt x="46" y="114"/>
                    <a:pt x="40" y="113"/>
                  </a:cubicBezTo>
                  <a:cubicBezTo>
                    <a:pt x="9" y="111"/>
                    <a:pt x="9" y="111"/>
                    <a:pt x="9" y="111"/>
                  </a:cubicBezTo>
                  <a:cubicBezTo>
                    <a:pt x="0" y="111"/>
                    <a:pt x="0" y="123"/>
                    <a:pt x="9" y="123"/>
                  </a:cubicBezTo>
                  <a:cubicBezTo>
                    <a:pt x="40" y="121"/>
                    <a:pt x="40" y="121"/>
                    <a:pt x="40" y="121"/>
                  </a:cubicBezTo>
                  <a:close/>
                  <a:moveTo>
                    <a:pt x="59" y="66"/>
                  </a:moveTo>
                  <a:cubicBezTo>
                    <a:pt x="64" y="70"/>
                    <a:pt x="69" y="65"/>
                    <a:pt x="65" y="60"/>
                  </a:cubicBezTo>
                  <a:cubicBezTo>
                    <a:pt x="44" y="37"/>
                    <a:pt x="44" y="37"/>
                    <a:pt x="44" y="37"/>
                  </a:cubicBezTo>
                  <a:cubicBezTo>
                    <a:pt x="38" y="30"/>
                    <a:pt x="29" y="39"/>
                    <a:pt x="36" y="45"/>
                  </a:cubicBezTo>
                  <a:cubicBezTo>
                    <a:pt x="59" y="66"/>
                    <a:pt x="59" y="66"/>
                    <a:pt x="59" y="66"/>
                  </a:cubicBezTo>
                  <a:close/>
                  <a:moveTo>
                    <a:pt x="173" y="65"/>
                  </a:moveTo>
                  <a:cubicBezTo>
                    <a:pt x="168" y="69"/>
                    <a:pt x="163" y="64"/>
                    <a:pt x="168" y="59"/>
                  </a:cubicBezTo>
                  <a:cubicBezTo>
                    <a:pt x="188" y="36"/>
                    <a:pt x="188" y="36"/>
                    <a:pt x="188" y="36"/>
                  </a:cubicBezTo>
                  <a:cubicBezTo>
                    <a:pt x="194" y="30"/>
                    <a:pt x="203" y="39"/>
                    <a:pt x="196" y="44"/>
                  </a:cubicBezTo>
                  <a:cubicBezTo>
                    <a:pt x="173" y="65"/>
                    <a:pt x="173" y="65"/>
                    <a:pt x="173" y="65"/>
                  </a:cubicBezTo>
                  <a:close/>
                  <a:moveTo>
                    <a:pt x="121" y="40"/>
                  </a:moveTo>
                  <a:cubicBezTo>
                    <a:pt x="120" y="46"/>
                    <a:pt x="113" y="46"/>
                    <a:pt x="113" y="40"/>
                  </a:cubicBezTo>
                  <a:cubicBezTo>
                    <a:pt x="111" y="9"/>
                    <a:pt x="111" y="9"/>
                    <a:pt x="111" y="9"/>
                  </a:cubicBezTo>
                  <a:cubicBezTo>
                    <a:pt x="111" y="0"/>
                    <a:pt x="123" y="0"/>
                    <a:pt x="123" y="9"/>
                  </a:cubicBezTo>
                  <a:cubicBezTo>
                    <a:pt x="121" y="40"/>
                    <a:pt x="121" y="40"/>
                    <a:pt x="121" y="40"/>
                  </a:cubicBezTo>
                  <a:close/>
                  <a:moveTo>
                    <a:pt x="109" y="206"/>
                  </a:moveTo>
                  <a:cubicBezTo>
                    <a:pt x="104" y="133"/>
                    <a:pt x="104" y="133"/>
                    <a:pt x="104" y="133"/>
                  </a:cubicBezTo>
                  <a:cubicBezTo>
                    <a:pt x="95" y="130"/>
                    <a:pt x="88" y="124"/>
                    <a:pt x="88" y="115"/>
                  </a:cubicBezTo>
                  <a:cubicBezTo>
                    <a:pt x="88" y="111"/>
                    <a:pt x="90" y="108"/>
                    <a:pt x="94" y="106"/>
                  </a:cubicBezTo>
                  <a:cubicBezTo>
                    <a:pt x="95" y="106"/>
                    <a:pt x="96" y="105"/>
                    <a:pt x="98" y="105"/>
                  </a:cubicBezTo>
                  <a:cubicBezTo>
                    <a:pt x="99" y="105"/>
                    <a:pt x="101" y="106"/>
                    <a:pt x="102" y="106"/>
                  </a:cubicBezTo>
                  <a:cubicBezTo>
                    <a:pt x="105" y="107"/>
                    <a:pt x="108" y="110"/>
                    <a:pt x="108" y="115"/>
                  </a:cubicBezTo>
                  <a:cubicBezTo>
                    <a:pt x="109" y="129"/>
                    <a:pt x="109" y="129"/>
                    <a:pt x="109" y="129"/>
                  </a:cubicBezTo>
                  <a:cubicBezTo>
                    <a:pt x="111" y="129"/>
                    <a:pt x="114" y="130"/>
                    <a:pt x="116" y="130"/>
                  </a:cubicBezTo>
                  <a:cubicBezTo>
                    <a:pt x="119" y="130"/>
                    <a:pt x="121" y="129"/>
                    <a:pt x="124" y="129"/>
                  </a:cubicBezTo>
                  <a:cubicBezTo>
                    <a:pt x="125" y="115"/>
                    <a:pt x="125" y="115"/>
                    <a:pt x="125" y="115"/>
                  </a:cubicBezTo>
                  <a:cubicBezTo>
                    <a:pt x="125" y="110"/>
                    <a:pt x="128" y="107"/>
                    <a:pt x="131" y="106"/>
                  </a:cubicBezTo>
                  <a:cubicBezTo>
                    <a:pt x="132" y="106"/>
                    <a:pt x="134" y="105"/>
                    <a:pt x="135" y="105"/>
                  </a:cubicBezTo>
                  <a:cubicBezTo>
                    <a:pt x="136" y="105"/>
                    <a:pt x="138" y="106"/>
                    <a:pt x="139" y="106"/>
                  </a:cubicBezTo>
                  <a:cubicBezTo>
                    <a:pt x="142" y="108"/>
                    <a:pt x="145" y="111"/>
                    <a:pt x="145" y="115"/>
                  </a:cubicBezTo>
                  <a:cubicBezTo>
                    <a:pt x="145" y="124"/>
                    <a:pt x="138" y="130"/>
                    <a:pt x="128" y="133"/>
                  </a:cubicBezTo>
                  <a:cubicBezTo>
                    <a:pt x="124" y="206"/>
                    <a:pt x="124" y="206"/>
                    <a:pt x="124" y="206"/>
                  </a:cubicBezTo>
                  <a:cubicBezTo>
                    <a:pt x="130" y="206"/>
                    <a:pt x="130" y="206"/>
                    <a:pt x="130" y="206"/>
                  </a:cubicBezTo>
                  <a:cubicBezTo>
                    <a:pt x="130" y="206"/>
                    <a:pt x="131" y="205"/>
                    <a:pt x="131" y="205"/>
                  </a:cubicBezTo>
                  <a:cubicBezTo>
                    <a:pt x="131" y="203"/>
                    <a:pt x="131" y="203"/>
                    <a:pt x="131" y="203"/>
                  </a:cubicBezTo>
                  <a:cubicBezTo>
                    <a:pt x="132" y="191"/>
                    <a:pt x="135" y="182"/>
                    <a:pt x="140" y="172"/>
                  </a:cubicBezTo>
                  <a:cubicBezTo>
                    <a:pt x="145" y="164"/>
                    <a:pt x="150" y="156"/>
                    <a:pt x="154" y="149"/>
                  </a:cubicBezTo>
                  <a:cubicBezTo>
                    <a:pt x="161" y="138"/>
                    <a:pt x="164" y="128"/>
                    <a:pt x="164" y="115"/>
                  </a:cubicBezTo>
                  <a:cubicBezTo>
                    <a:pt x="164" y="103"/>
                    <a:pt x="159" y="90"/>
                    <a:pt x="150" y="81"/>
                  </a:cubicBezTo>
                  <a:cubicBezTo>
                    <a:pt x="120" y="51"/>
                    <a:pt x="68" y="73"/>
                    <a:pt x="68" y="115"/>
                  </a:cubicBezTo>
                  <a:cubicBezTo>
                    <a:pt x="68" y="128"/>
                    <a:pt x="72" y="138"/>
                    <a:pt x="78" y="149"/>
                  </a:cubicBezTo>
                  <a:cubicBezTo>
                    <a:pt x="83" y="156"/>
                    <a:pt x="88" y="164"/>
                    <a:pt x="92" y="172"/>
                  </a:cubicBezTo>
                  <a:cubicBezTo>
                    <a:pt x="98" y="182"/>
                    <a:pt x="101" y="191"/>
                    <a:pt x="101" y="203"/>
                  </a:cubicBezTo>
                  <a:cubicBezTo>
                    <a:pt x="102" y="205"/>
                    <a:pt x="102" y="205"/>
                    <a:pt x="102" y="205"/>
                  </a:cubicBezTo>
                  <a:cubicBezTo>
                    <a:pt x="102" y="205"/>
                    <a:pt x="102" y="206"/>
                    <a:pt x="103" y="206"/>
                  </a:cubicBezTo>
                  <a:cubicBezTo>
                    <a:pt x="109" y="206"/>
                    <a:pt x="109" y="206"/>
                    <a:pt x="109" y="206"/>
                  </a:cubicBezTo>
                  <a:close/>
                  <a:moveTo>
                    <a:pt x="119" y="206"/>
                  </a:moveTo>
                  <a:cubicBezTo>
                    <a:pt x="124" y="134"/>
                    <a:pt x="124" y="134"/>
                    <a:pt x="124" y="134"/>
                  </a:cubicBezTo>
                  <a:cubicBezTo>
                    <a:pt x="121" y="134"/>
                    <a:pt x="119" y="134"/>
                    <a:pt x="116" y="134"/>
                  </a:cubicBezTo>
                  <a:cubicBezTo>
                    <a:pt x="114" y="134"/>
                    <a:pt x="111" y="134"/>
                    <a:pt x="109" y="134"/>
                  </a:cubicBezTo>
                  <a:cubicBezTo>
                    <a:pt x="113" y="206"/>
                    <a:pt x="113" y="206"/>
                    <a:pt x="113" y="206"/>
                  </a:cubicBezTo>
                  <a:cubicBezTo>
                    <a:pt x="119" y="206"/>
                    <a:pt x="119" y="206"/>
                    <a:pt x="119" y="206"/>
                  </a:cubicBezTo>
                  <a:close/>
                  <a:moveTo>
                    <a:pt x="104" y="128"/>
                  </a:moveTo>
                  <a:cubicBezTo>
                    <a:pt x="103" y="115"/>
                    <a:pt x="103" y="115"/>
                    <a:pt x="103" y="115"/>
                  </a:cubicBezTo>
                  <a:cubicBezTo>
                    <a:pt x="103" y="113"/>
                    <a:pt x="102" y="111"/>
                    <a:pt x="100" y="110"/>
                  </a:cubicBezTo>
                  <a:cubicBezTo>
                    <a:pt x="99" y="110"/>
                    <a:pt x="99" y="110"/>
                    <a:pt x="98" y="110"/>
                  </a:cubicBezTo>
                  <a:cubicBezTo>
                    <a:pt x="97" y="110"/>
                    <a:pt x="96" y="110"/>
                    <a:pt x="96" y="111"/>
                  </a:cubicBezTo>
                  <a:cubicBezTo>
                    <a:pt x="94" y="111"/>
                    <a:pt x="93" y="113"/>
                    <a:pt x="93" y="115"/>
                  </a:cubicBezTo>
                  <a:cubicBezTo>
                    <a:pt x="93" y="121"/>
                    <a:pt x="98" y="125"/>
                    <a:pt x="104" y="128"/>
                  </a:cubicBezTo>
                  <a:close/>
                  <a:moveTo>
                    <a:pt x="129" y="128"/>
                  </a:moveTo>
                  <a:cubicBezTo>
                    <a:pt x="135" y="125"/>
                    <a:pt x="140" y="121"/>
                    <a:pt x="140" y="115"/>
                  </a:cubicBezTo>
                  <a:cubicBezTo>
                    <a:pt x="140" y="113"/>
                    <a:pt x="139" y="111"/>
                    <a:pt x="137" y="111"/>
                  </a:cubicBezTo>
                  <a:cubicBezTo>
                    <a:pt x="136" y="110"/>
                    <a:pt x="136" y="110"/>
                    <a:pt x="135" y="110"/>
                  </a:cubicBezTo>
                  <a:cubicBezTo>
                    <a:pt x="134" y="110"/>
                    <a:pt x="133" y="110"/>
                    <a:pt x="133" y="110"/>
                  </a:cubicBezTo>
                  <a:cubicBezTo>
                    <a:pt x="131" y="111"/>
                    <a:pt x="130" y="113"/>
                    <a:pt x="129" y="115"/>
                  </a:cubicBezTo>
                  <a:cubicBezTo>
                    <a:pt x="129" y="128"/>
                    <a:pt x="129" y="128"/>
                    <a:pt x="129" y="128"/>
                  </a:cubicBezTo>
                  <a:close/>
                  <a:moveTo>
                    <a:pt x="137" y="218"/>
                  </a:moveTo>
                  <a:cubicBezTo>
                    <a:pt x="96" y="218"/>
                    <a:pt x="96" y="218"/>
                    <a:pt x="96" y="218"/>
                  </a:cubicBezTo>
                  <a:cubicBezTo>
                    <a:pt x="93" y="218"/>
                    <a:pt x="90" y="215"/>
                    <a:pt x="90" y="212"/>
                  </a:cubicBezTo>
                  <a:cubicBezTo>
                    <a:pt x="90" y="166"/>
                    <a:pt x="57" y="159"/>
                    <a:pt x="57" y="115"/>
                  </a:cubicBezTo>
                  <a:cubicBezTo>
                    <a:pt x="57" y="62"/>
                    <a:pt x="121" y="36"/>
                    <a:pt x="159" y="73"/>
                  </a:cubicBezTo>
                  <a:cubicBezTo>
                    <a:pt x="169" y="84"/>
                    <a:pt x="176" y="99"/>
                    <a:pt x="176" y="115"/>
                  </a:cubicBezTo>
                  <a:cubicBezTo>
                    <a:pt x="176" y="159"/>
                    <a:pt x="143" y="166"/>
                    <a:pt x="143" y="212"/>
                  </a:cubicBezTo>
                  <a:cubicBezTo>
                    <a:pt x="143" y="215"/>
                    <a:pt x="140" y="218"/>
                    <a:pt x="137" y="2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latin typeface="SimSun" panose="02010600030101010101" pitchFamily="2" charset="-122"/>
                <a:ea typeface="SimSun" panose="02010600030101010101" pitchFamily="2" charset="-122"/>
              </a:endParaRPr>
            </a:p>
          </p:txBody>
        </p:sp>
        <p:cxnSp>
          <p:nvCxnSpPr>
            <p:cNvPr id="76" name="Straight Connector 75"/>
            <p:cNvCxnSpPr/>
            <p:nvPr/>
          </p:nvCxnSpPr>
          <p:spPr>
            <a:xfrm>
              <a:off x="3438525" y="3300814"/>
              <a:ext cx="2533650" cy="0"/>
            </a:xfrm>
            <a:prstGeom prst="line">
              <a:avLst/>
            </a:prstGeom>
            <a:ln w="28575" cap="rnd">
              <a:solidFill>
                <a:schemeClr val="accent2"/>
              </a:solidFill>
              <a:headEnd type="none" w="med" len="med"/>
              <a:tailEnd type="arrow" w="lg" len="lg"/>
            </a:ln>
          </p:spPr>
          <p:style>
            <a:lnRef idx="1">
              <a:schemeClr val="accent1"/>
            </a:lnRef>
            <a:fillRef idx="0">
              <a:schemeClr val="accent1"/>
            </a:fillRef>
            <a:effectRef idx="0">
              <a:schemeClr val="accent1"/>
            </a:effectRef>
            <a:fontRef idx="minor">
              <a:schemeClr val="tx1"/>
            </a:fontRef>
          </p:style>
        </p:cxnSp>
      </p:grpSp>
      <p:sp>
        <p:nvSpPr>
          <p:cNvPr id="8" name="Footer Placeholder 7"/>
          <p:cNvSpPr>
            <a:spLocks noGrp="1"/>
          </p:cNvSpPr>
          <p:nvPr>
            <p:ph type="ftr" sz="quarter" idx="3"/>
          </p:nvPr>
        </p:nvSpPr>
        <p:spPr/>
        <p:txBody>
          <a:bodyPr/>
          <a:lstStyle/>
          <a:p>
            <a:r>
              <a:rPr lang="en-US" dirty="0" smtClean="0"/>
              <a:t>Copyright © 201</a:t>
            </a:r>
            <a:r>
              <a:rPr lang="en-US" altLang="zh-CN" dirty="0" smtClean="0"/>
              <a:t>6</a:t>
            </a:r>
            <a:r>
              <a:rPr lang="en-US" dirty="0" smtClean="0"/>
              <a:t> Accenture  All rights reserved.</a:t>
            </a:r>
            <a:endParaRPr lang="en-US" dirty="0"/>
          </a:p>
        </p:txBody>
      </p:sp>
      <p:sp>
        <p:nvSpPr>
          <p:cNvPr id="31" name="Rectangle 30"/>
          <p:cNvSpPr/>
          <p:nvPr/>
        </p:nvSpPr>
        <p:spPr>
          <a:xfrm>
            <a:off x="248357" y="525847"/>
            <a:ext cx="8692444" cy="584775"/>
          </a:xfrm>
          <a:prstGeom prst="rect">
            <a:avLst/>
          </a:prstGeom>
        </p:spPr>
        <p:txBody>
          <a:bodyPr wrap="square">
            <a:spAutoFit/>
          </a:bodyPr>
          <a:lstStyle/>
          <a:p>
            <a:r>
              <a:rPr lang="zh-CN" altLang="en-US" sz="3200" dirty="0">
                <a:latin typeface="SimSun" panose="02010600030101010101" pitchFamily="2" charset="-122"/>
                <a:ea typeface="SimSun" panose="02010600030101010101" pitchFamily="2" charset="-122"/>
              </a:rPr>
              <a:t>持续集成 </a:t>
            </a:r>
            <a:r>
              <a:rPr lang="en-US" altLang="zh-CN" sz="3200" dirty="0">
                <a:latin typeface="SimSun" panose="02010600030101010101" pitchFamily="2" charset="-122"/>
                <a:ea typeface="SimSun" panose="02010600030101010101" pitchFamily="2" charset="-122"/>
              </a:rPr>
              <a:t>&amp; </a:t>
            </a:r>
            <a:r>
              <a:rPr lang="zh-CN" altLang="en-US" sz="3200" dirty="0">
                <a:latin typeface="SimSun" panose="02010600030101010101" pitchFamily="2" charset="-122"/>
                <a:ea typeface="SimSun" panose="02010600030101010101" pitchFamily="2" charset="-122"/>
              </a:rPr>
              <a:t>持续交付</a:t>
            </a:r>
            <a:endParaRPr lang="en-US" altLang="ja-JP" sz="32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2016914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42" presetClass="path" presetSubtype="0" decel="100000" fill="hold" grpId="1" nodeType="withEffect">
                                  <p:stCondLst>
                                    <p:cond delay="0"/>
                                  </p:stCondLst>
                                  <p:childTnLst>
                                    <p:animMotion origin="layout" path="M -1.11111E-6 2.02715E-6 L -1.11111E-6 0.14378 " pathEditMode="relative" rAng="0" ptsTypes="AA">
                                      <p:cBhvr>
                                        <p:cTn id="9" dur="750" spd="-100000" fill="hold"/>
                                        <p:tgtEl>
                                          <p:spTgt spid="43"/>
                                        </p:tgtEl>
                                        <p:attrNameLst>
                                          <p:attrName>ppt_x</p:attrName>
                                          <p:attrName>ppt_y</p:attrName>
                                        </p:attrNameLst>
                                      </p:cBhvr>
                                      <p:rCtr x="0" y="7189"/>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par>
                          <p:cTn id="13" fill="hold">
                            <p:stCondLst>
                              <p:cond delay="750"/>
                            </p:stCondLst>
                            <p:childTnLst>
                              <p:par>
                                <p:cTn id="14" presetID="10"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42" presetClass="path" presetSubtype="0" decel="100000" fill="hold" nodeType="withEffect">
                                  <p:stCondLst>
                                    <p:cond delay="0"/>
                                  </p:stCondLst>
                                  <p:childTnLst>
                                    <p:animMotion origin="layout" path="M -1.11111E-6 2.02715E-6 L -1.11111E-6 0.14378 " pathEditMode="relative" rAng="0" ptsTypes="AA">
                                      <p:cBhvr>
                                        <p:cTn id="18" dur="750" spd="-100000" fill="hold"/>
                                        <p:tgtEl>
                                          <p:spTgt spid="23"/>
                                        </p:tgtEl>
                                        <p:attrNameLst>
                                          <p:attrName>ppt_x</p:attrName>
                                          <p:attrName>ppt_y</p:attrName>
                                        </p:attrNameLst>
                                      </p:cBhvr>
                                      <p:rCtr x="0" y="7189"/>
                                    </p:animMotion>
                                  </p:childTnLst>
                                </p:cTn>
                              </p:par>
                              <p:par>
                                <p:cTn id="19" presetID="10"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63" presetClass="path" presetSubtype="0" decel="100000" fill="hold" nodeType="withEffect">
                                  <p:stCondLst>
                                    <p:cond delay="0"/>
                                  </p:stCondLst>
                                  <p:childTnLst>
                                    <p:animMotion origin="layout" path="M -0.08924 -4.47701E-6 L 4.16667E-6 -4.47701E-6 " pathEditMode="relative" rAng="0" ptsTypes="AA">
                                      <p:cBhvr>
                                        <p:cTn id="27" dur="750" fill="hold"/>
                                        <p:tgtEl>
                                          <p:spTgt spid="45"/>
                                        </p:tgtEl>
                                        <p:attrNameLst>
                                          <p:attrName>ppt_x</p:attrName>
                                          <p:attrName>ppt_y</p:attrName>
                                        </p:attrNameLst>
                                      </p:cBhvr>
                                      <p:rCtr x="4462" y="0"/>
                                    </p:animMotion>
                                  </p:childTnLst>
                                </p:cTn>
                              </p:par>
                              <p:par>
                                <p:cTn id="28" presetID="10" presetClass="entr" presetSubtype="0"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500"/>
                                        <p:tgtEl>
                                          <p:spTgt spid="44"/>
                                        </p:tgtEl>
                                      </p:cBhvr>
                                    </p:animEffect>
                                  </p:childTnLst>
                                </p:cTn>
                              </p:par>
                              <p:par>
                                <p:cTn id="31" presetID="63" presetClass="path" presetSubtype="0" decel="100000" fill="hold" grpId="1" nodeType="withEffect">
                                  <p:stCondLst>
                                    <p:cond delay="0"/>
                                  </p:stCondLst>
                                  <p:childTnLst>
                                    <p:animMotion origin="layout" path="M -0.08924 -4.47701E-6 L 4.16667E-6 -4.47701E-6 " pathEditMode="relative" rAng="0" ptsTypes="AA">
                                      <p:cBhvr>
                                        <p:cTn id="32" dur="750" fill="hold"/>
                                        <p:tgtEl>
                                          <p:spTgt spid="44"/>
                                        </p:tgtEl>
                                        <p:attrNameLst>
                                          <p:attrName>ppt_x</p:attrName>
                                          <p:attrName>ppt_y</p:attrName>
                                        </p:attrNameLst>
                                      </p:cBhvr>
                                      <p:rCtr x="4462" y="0"/>
                                    </p:animMotion>
                                  </p:childTnLst>
                                </p:cTn>
                              </p:par>
                            </p:childTnLst>
                          </p:cTn>
                        </p:par>
                        <p:par>
                          <p:cTn id="33" fill="hold">
                            <p:stCondLst>
                              <p:cond delay="2250"/>
                            </p:stCondLst>
                            <p:childTnLst>
                              <p:par>
                                <p:cTn id="34" presetID="10" presetClass="exit" presetSubtype="0" fill="hold" grpId="2" nodeType="afterEffect">
                                  <p:stCondLst>
                                    <p:cond delay="500"/>
                                  </p:stCondLst>
                                  <p:childTnLst>
                                    <p:animEffect transition="out" filter="fade">
                                      <p:cBhvr>
                                        <p:cTn id="35" dur="500"/>
                                        <p:tgtEl>
                                          <p:spTgt spid="43"/>
                                        </p:tgtEl>
                                      </p:cBhvr>
                                    </p:animEffect>
                                    <p:set>
                                      <p:cBhvr>
                                        <p:cTn id="36" dur="1" fill="hold">
                                          <p:stCondLst>
                                            <p:cond delay="499"/>
                                          </p:stCondLst>
                                        </p:cTn>
                                        <p:tgtEl>
                                          <p:spTgt spid="43"/>
                                        </p:tgtEl>
                                        <p:attrNameLst>
                                          <p:attrName>style.visibility</p:attrName>
                                        </p:attrNameLst>
                                      </p:cBhvr>
                                      <p:to>
                                        <p:strVal val="hidden"/>
                                      </p:to>
                                    </p:set>
                                  </p:childTnLst>
                                </p:cTn>
                              </p:par>
                              <p:par>
                                <p:cTn id="37" presetID="10" presetClass="exit" presetSubtype="0" fill="hold" grpId="1" nodeType="withEffect">
                                  <p:stCondLst>
                                    <p:cond delay="500"/>
                                  </p:stCondLst>
                                  <p:childTnLst>
                                    <p:animEffect transition="out" filter="fade">
                                      <p:cBhvr>
                                        <p:cTn id="38" dur="500"/>
                                        <p:tgtEl>
                                          <p:spTgt spid="21"/>
                                        </p:tgtEl>
                                      </p:cBhvr>
                                    </p:animEffect>
                                    <p:set>
                                      <p:cBhvr>
                                        <p:cTn id="39" dur="1" fill="hold">
                                          <p:stCondLst>
                                            <p:cond delay="499"/>
                                          </p:stCondLst>
                                        </p:cTn>
                                        <p:tgtEl>
                                          <p:spTgt spid="21"/>
                                        </p:tgtEl>
                                        <p:attrNameLst>
                                          <p:attrName>style.visibility</p:attrName>
                                        </p:attrNameLst>
                                      </p:cBhvr>
                                      <p:to>
                                        <p:strVal val="hidden"/>
                                      </p:to>
                                    </p:set>
                                  </p:childTnLst>
                                </p:cTn>
                              </p:par>
                              <p:par>
                                <p:cTn id="40" presetID="10" presetClass="exit" presetSubtype="0" fill="hold" nodeType="withEffect">
                                  <p:stCondLst>
                                    <p:cond delay="500"/>
                                  </p:stCondLst>
                                  <p:childTnLst>
                                    <p:animEffect transition="out" filter="fade">
                                      <p:cBhvr>
                                        <p:cTn id="41" dur="500"/>
                                        <p:tgtEl>
                                          <p:spTgt spid="23"/>
                                        </p:tgtEl>
                                      </p:cBhvr>
                                    </p:animEffect>
                                    <p:set>
                                      <p:cBhvr>
                                        <p:cTn id="42" dur="1" fill="hold">
                                          <p:stCondLst>
                                            <p:cond delay="499"/>
                                          </p:stCondLst>
                                        </p:cTn>
                                        <p:tgtEl>
                                          <p:spTgt spid="23"/>
                                        </p:tgtEl>
                                        <p:attrNameLst>
                                          <p:attrName>style.visibility</p:attrName>
                                        </p:attrNameLst>
                                      </p:cBhvr>
                                      <p:to>
                                        <p:strVal val="hidden"/>
                                      </p:to>
                                    </p:set>
                                  </p:childTnLst>
                                </p:cTn>
                              </p:par>
                              <p:par>
                                <p:cTn id="43" presetID="10" presetClass="exit" presetSubtype="0" fill="hold" grpId="1" nodeType="withEffect">
                                  <p:stCondLst>
                                    <p:cond delay="500"/>
                                  </p:stCondLst>
                                  <p:childTnLst>
                                    <p:animEffect transition="out" filter="fade">
                                      <p:cBhvr>
                                        <p:cTn id="44" dur="500"/>
                                        <p:tgtEl>
                                          <p:spTgt spid="22"/>
                                        </p:tgtEl>
                                      </p:cBhvr>
                                    </p:animEffect>
                                    <p:set>
                                      <p:cBhvr>
                                        <p:cTn id="45" dur="1" fill="hold">
                                          <p:stCondLst>
                                            <p:cond delay="499"/>
                                          </p:stCondLst>
                                        </p:cTn>
                                        <p:tgtEl>
                                          <p:spTgt spid="22"/>
                                        </p:tgtEl>
                                        <p:attrNameLst>
                                          <p:attrName>style.visibility</p:attrName>
                                        </p:attrNameLst>
                                      </p:cBhvr>
                                      <p:to>
                                        <p:strVal val="hidden"/>
                                      </p:to>
                                    </p:set>
                                  </p:childTnLst>
                                </p:cTn>
                              </p:par>
                              <p:par>
                                <p:cTn id="46" presetID="10" presetClass="exit" presetSubtype="0" fill="hold" nodeType="withEffect">
                                  <p:stCondLst>
                                    <p:cond delay="500"/>
                                  </p:stCondLst>
                                  <p:childTnLst>
                                    <p:animEffect transition="out" filter="fade">
                                      <p:cBhvr>
                                        <p:cTn id="47" dur="500"/>
                                        <p:tgtEl>
                                          <p:spTgt spid="45"/>
                                        </p:tgtEl>
                                      </p:cBhvr>
                                    </p:animEffect>
                                    <p:set>
                                      <p:cBhvr>
                                        <p:cTn id="48" dur="1" fill="hold">
                                          <p:stCondLst>
                                            <p:cond delay="499"/>
                                          </p:stCondLst>
                                        </p:cTn>
                                        <p:tgtEl>
                                          <p:spTgt spid="45"/>
                                        </p:tgtEl>
                                        <p:attrNameLst>
                                          <p:attrName>style.visibility</p:attrName>
                                        </p:attrNameLst>
                                      </p:cBhvr>
                                      <p:to>
                                        <p:strVal val="hidden"/>
                                      </p:to>
                                    </p:set>
                                  </p:childTnLst>
                                </p:cTn>
                              </p:par>
                              <p:par>
                                <p:cTn id="49" presetID="10" presetClass="exit" presetSubtype="0" fill="hold" grpId="2" nodeType="withEffect">
                                  <p:stCondLst>
                                    <p:cond delay="500"/>
                                  </p:stCondLst>
                                  <p:childTnLst>
                                    <p:animEffect transition="out" filter="fade">
                                      <p:cBhvr>
                                        <p:cTn id="50" dur="500"/>
                                        <p:tgtEl>
                                          <p:spTgt spid="44"/>
                                        </p:tgtEl>
                                      </p:cBhvr>
                                    </p:animEffect>
                                    <p:set>
                                      <p:cBhvr>
                                        <p:cTn id="51" dur="1" fill="hold">
                                          <p:stCondLst>
                                            <p:cond delay="499"/>
                                          </p:stCondLst>
                                        </p:cTn>
                                        <p:tgtEl>
                                          <p:spTgt spid="44"/>
                                        </p:tgtEl>
                                        <p:attrNameLst>
                                          <p:attrName>style.visibility</p:attrName>
                                        </p:attrNameLst>
                                      </p:cBhvr>
                                      <p:to>
                                        <p:strVal val="hidden"/>
                                      </p:to>
                                    </p:set>
                                  </p:childTnLst>
                                </p:cTn>
                              </p:par>
                              <p:par>
                                <p:cTn id="52" presetID="1" presetClass="entr" presetSubtype="0" fill="hold" nodeType="withEffect">
                                  <p:stCondLst>
                                    <p:cond delay="500"/>
                                  </p:stCondLst>
                                  <p:childTnLst>
                                    <p:set>
                                      <p:cBhvr>
                                        <p:cTn id="53" dur="1" fill="hold">
                                          <p:stCondLst>
                                            <p:cond delay="0"/>
                                          </p:stCondLst>
                                        </p:cTn>
                                        <p:tgtEl>
                                          <p:spTgt spid="70"/>
                                        </p:tgtEl>
                                        <p:attrNameLst>
                                          <p:attrName>style.visibility</p:attrName>
                                        </p:attrNameLst>
                                      </p:cBhvr>
                                      <p:to>
                                        <p:strVal val="visible"/>
                                      </p:to>
                                    </p:set>
                                  </p:childTnLst>
                                </p:cTn>
                              </p:par>
                            </p:childTnLst>
                          </p:cTn>
                        </p:par>
                        <p:par>
                          <p:cTn id="54" fill="hold">
                            <p:stCondLst>
                              <p:cond delay="3250"/>
                            </p:stCondLst>
                            <p:childTnLst>
                              <p:par>
                                <p:cTn id="55" presetID="64" presetClass="path" presetSubtype="0" accel="50000" decel="50000" fill="hold" nodeType="afterEffect">
                                  <p:stCondLst>
                                    <p:cond delay="0"/>
                                  </p:stCondLst>
                                  <p:childTnLst>
                                    <p:animMotion origin="layout" path="M 0 -4.30819E-6 L 0 -0.1018 " pathEditMode="relative" rAng="0" ptsTypes="AA">
                                      <p:cBhvr>
                                        <p:cTn id="56" dur="1500" fill="hold"/>
                                        <p:tgtEl>
                                          <p:spTgt spid="70"/>
                                        </p:tgtEl>
                                        <p:attrNameLst>
                                          <p:attrName>ppt_x</p:attrName>
                                          <p:attrName>ppt_y</p:attrName>
                                        </p:attrNameLst>
                                      </p:cBhvr>
                                      <p:rCtr x="0" y="-5090"/>
                                    </p:animMotion>
                                  </p:childTnLst>
                                </p:cTn>
                              </p:par>
                              <p:par>
                                <p:cTn id="57" presetID="22" presetClass="entr" presetSubtype="8" fill="hold" nodeType="withEffect">
                                  <p:stCondLst>
                                    <p:cond delay="500"/>
                                  </p:stCondLst>
                                  <p:childTnLst>
                                    <p:set>
                                      <p:cBhvr>
                                        <p:cTn id="58" dur="1" fill="hold">
                                          <p:stCondLst>
                                            <p:cond delay="0"/>
                                          </p:stCondLst>
                                        </p:cTn>
                                        <p:tgtEl>
                                          <p:spTgt spid="3"/>
                                        </p:tgtEl>
                                        <p:attrNameLst>
                                          <p:attrName>style.visibility</p:attrName>
                                        </p:attrNameLst>
                                      </p:cBhvr>
                                      <p:to>
                                        <p:strVal val="visible"/>
                                      </p:to>
                                    </p:set>
                                    <p:animEffect transition="in" filter="wipe(left)">
                                      <p:cBhvr>
                                        <p:cTn id="59" dur="500"/>
                                        <p:tgtEl>
                                          <p:spTgt spid="3"/>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35"/>
                                        </p:tgtEl>
                                        <p:attrNameLst>
                                          <p:attrName>style.visibility</p:attrName>
                                        </p:attrNameLst>
                                      </p:cBhvr>
                                      <p:to>
                                        <p:strVal val="visible"/>
                                      </p:to>
                                    </p:set>
                                    <p:animEffect transition="in" filter="fade">
                                      <p:cBhvr>
                                        <p:cTn id="6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21" grpId="0"/>
      <p:bldP spid="21" grpId="1"/>
      <p:bldP spid="22" grpId="0"/>
      <p:bldP spid="22" grpId="1"/>
      <p:bldP spid="43" grpId="0" animBg="1"/>
      <p:bldP spid="43" grpId="1" animBg="1"/>
      <p:bldP spid="43" grpId="2" animBg="1"/>
      <p:bldP spid="44" grpId="0"/>
      <p:bldP spid="44" grpId="1"/>
      <p:bldP spid="44" grpId="2"/>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推荐的工具</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推荐的持续集成持续交付的工具</a:t>
            </a:r>
            <a:endParaRPr lang="en-GB" dirty="0">
              <a:latin typeface="SimSun" panose="02010600030101010101" pitchFamily="2" charset="-122"/>
              <a:ea typeface="SimSun" panose="02010600030101010101" pitchFamily="2" charset="-122"/>
            </a:endParaRPr>
          </a:p>
        </p:txBody>
      </p:sp>
      <p:pic>
        <p:nvPicPr>
          <p:cNvPr id="5"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941" y="5472171"/>
            <a:ext cx="2746674" cy="890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80"/>
          <p:cNvSpPr>
            <a:spLocks noChangeArrowheads="1"/>
          </p:cNvSpPr>
          <p:nvPr/>
        </p:nvSpPr>
        <p:spPr bwMode="auto">
          <a:xfrm>
            <a:off x="603509" y="2262794"/>
            <a:ext cx="3862129" cy="648000"/>
          </a:xfrm>
          <a:prstGeom prst="rect">
            <a:avLst/>
          </a:prstGeom>
          <a:solidFill>
            <a:schemeClr val="accent4"/>
          </a:solidFill>
          <a:ln w="19050">
            <a:noFill/>
            <a:miter lim="800000"/>
            <a:headEnd/>
            <a:tailEnd/>
          </a:ln>
          <a:extLst/>
        </p:spPr>
        <p:txBody>
          <a:bodyPr wrap="square" lIns="684000" tIns="72000" rIns="108000" bIns="72000" anchor="ctr">
            <a:noAutofit/>
          </a:bodyPr>
          <a:lstStyle/>
          <a:p>
            <a:pPr eaLnBrk="0" hangingPunct="0">
              <a:lnSpc>
                <a:spcPct val="95000"/>
              </a:lnSpc>
              <a:buClrTx/>
              <a:buFontTx/>
              <a:buNone/>
            </a:pPr>
            <a:r>
              <a:rPr lang="zh-CN" altLang="en-US" sz="1200" i="0" spc="-20" dirty="0" smtClean="0">
                <a:solidFill>
                  <a:schemeClr val="accent5"/>
                </a:solidFill>
                <a:latin typeface="SimSun" panose="02010600030101010101" pitchFamily="2" charset="-122"/>
                <a:ea typeface="SimSun" panose="02010600030101010101" pitchFamily="2" charset="-122"/>
              </a:rPr>
              <a:t>一个开源的持续集成的服务器</a:t>
            </a:r>
            <a:endParaRPr lang="en-GB" altLang="en-US" sz="1200" i="0" spc="-20" dirty="0">
              <a:solidFill>
                <a:schemeClr val="accent5"/>
              </a:solidFill>
              <a:latin typeface="SimSun" panose="02010600030101010101" pitchFamily="2" charset="-122"/>
              <a:ea typeface="SimSun" panose="02010600030101010101" pitchFamily="2" charset="-122"/>
            </a:endParaRPr>
          </a:p>
        </p:txBody>
      </p:sp>
      <p:sp>
        <p:nvSpPr>
          <p:cNvPr id="8" name="Rectangle 80"/>
          <p:cNvSpPr>
            <a:spLocks noChangeArrowheads="1"/>
          </p:cNvSpPr>
          <p:nvPr/>
        </p:nvSpPr>
        <p:spPr bwMode="auto">
          <a:xfrm>
            <a:off x="603509" y="3161708"/>
            <a:ext cx="3862129" cy="648000"/>
          </a:xfrm>
          <a:prstGeom prst="rect">
            <a:avLst/>
          </a:prstGeom>
          <a:solidFill>
            <a:schemeClr val="accent4"/>
          </a:solidFill>
          <a:ln w="19050">
            <a:noFill/>
            <a:miter lim="800000"/>
            <a:headEnd/>
            <a:tailEnd/>
          </a:ln>
          <a:extLst/>
        </p:spPr>
        <p:txBody>
          <a:bodyPr wrap="square" lIns="684000" tIns="72000" rIns="108000" bIns="72000" anchor="ctr">
            <a:noAutofit/>
          </a:bodyPr>
          <a:lstStyle/>
          <a:p>
            <a:pPr>
              <a:lnSpc>
                <a:spcPct val="95000"/>
              </a:lnSpc>
            </a:pPr>
            <a:r>
              <a:rPr lang="zh-CN" altLang="en-US" sz="1200" dirty="0">
                <a:solidFill>
                  <a:schemeClr val="accent5"/>
                </a:solidFill>
                <a:latin typeface="SimSun" panose="02010600030101010101" pitchFamily="2" charset="-122"/>
                <a:ea typeface="SimSun" panose="02010600030101010101" pitchFamily="2" charset="-122"/>
              </a:rPr>
              <a:t>在</a:t>
            </a:r>
            <a:r>
              <a:rPr lang="zh-CN" altLang="en-US" sz="1200" dirty="0" smtClean="0">
                <a:solidFill>
                  <a:schemeClr val="accent5"/>
                </a:solidFill>
                <a:latin typeface="SimSun" panose="02010600030101010101" pitchFamily="2" charset="-122"/>
                <a:ea typeface="SimSun" panose="02010600030101010101" pitchFamily="2" charset="-122"/>
              </a:rPr>
              <a:t>类</a:t>
            </a:r>
            <a:r>
              <a:rPr lang="zh-CN" altLang="en-US" sz="1200" dirty="0">
                <a:solidFill>
                  <a:schemeClr val="accent5"/>
                </a:solidFill>
                <a:latin typeface="SimSun" panose="02010600030101010101" pitchFamily="2" charset="-122"/>
                <a:ea typeface="SimSun" panose="02010600030101010101" pitchFamily="2" charset="-122"/>
              </a:rPr>
              <a:t>似</a:t>
            </a:r>
            <a:r>
              <a:rPr lang="en-US" altLang="zh-CN" sz="1200" dirty="0" smtClean="0">
                <a:solidFill>
                  <a:schemeClr val="accent5"/>
                </a:solidFill>
                <a:latin typeface="SimSun" panose="02010600030101010101" pitchFamily="2" charset="-122"/>
                <a:ea typeface="SimSun" panose="02010600030101010101" pitchFamily="2" charset="-122"/>
              </a:rPr>
              <a:t>Tomcat</a:t>
            </a:r>
            <a:r>
              <a:rPr lang="zh-CN" altLang="en-US" sz="1200" dirty="0" smtClean="0">
                <a:solidFill>
                  <a:schemeClr val="accent5"/>
                </a:solidFill>
                <a:latin typeface="SimSun" panose="02010600030101010101" pitchFamily="2" charset="-122"/>
                <a:ea typeface="SimSun" panose="02010600030101010101" pitchFamily="2" charset="-122"/>
              </a:rPr>
              <a:t>这种</a:t>
            </a:r>
            <a:r>
              <a:rPr lang="en-US" altLang="zh-CN" sz="1200" dirty="0" smtClean="0">
                <a:solidFill>
                  <a:schemeClr val="accent5"/>
                </a:solidFill>
                <a:latin typeface="SimSun" panose="02010600030101010101" pitchFamily="2" charset="-122"/>
                <a:ea typeface="SimSun" panose="02010600030101010101" pitchFamily="2" charset="-122"/>
              </a:rPr>
              <a:t>ava Web</a:t>
            </a:r>
            <a:r>
              <a:rPr lang="zh-CN" altLang="en-US" sz="1200" dirty="0" smtClean="0">
                <a:solidFill>
                  <a:schemeClr val="accent5"/>
                </a:solidFill>
                <a:latin typeface="SimSun" panose="02010600030101010101" pitchFamily="2" charset="-122"/>
                <a:ea typeface="SimSun" panose="02010600030101010101" pitchFamily="2" charset="-122"/>
              </a:rPr>
              <a:t>程序的容器上运行</a:t>
            </a:r>
            <a:endParaRPr lang="en-GB" sz="1200" dirty="0">
              <a:solidFill>
                <a:schemeClr val="accent5"/>
              </a:solidFill>
              <a:latin typeface="SimSun" panose="02010600030101010101" pitchFamily="2" charset="-122"/>
              <a:ea typeface="SimSun" panose="02010600030101010101" pitchFamily="2" charset="-122"/>
            </a:endParaRPr>
          </a:p>
        </p:txBody>
      </p:sp>
      <p:sp>
        <p:nvSpPr>
          <p:cNvPr id="9" name="Rectangle 80"/>
          <p:cNvSpPr>
            <a:spLocks noChangeArrowheads="1"/>
          </p:cNvSpPr>
          <p:nvPr/>
        </p:nvSpPr>
        <p:spPr bwMode="auto">
          <a:xfrm>
            <a:off x="603509" y="4094437"/>
            <a:ext cx="3862129" cy="648000"/>
          </a:xfrm>
          <a:prstGeom prst="rect">
            <a:avLst/>
          </a:prstGeom>
          <a:solidFill>
            <a:schemeClr val="accent4"/>
          </a:solidFill>
          <a:ln w="19050">
            <a:noFill/>
            <a:miter lim="800000"/>
            <a:headEnd/>
            <a:tailEnd/>
          </a:ln>
          <a:extLst/>
        </p:spPr>
        <p:txBody>
          <a:bodyPr wrap="square" lIns="684000" tIns="72000" rIns="108000" bIns="72000" anchor="ctr">
            <a:noAutofit/>
          </a:bodyPr>
          <a:lstStyle/>
          <a:p>
            <a:pPr>
              <a:lnSpc>
                <a:spcPct val="95000"/>
              </a:lnSpc>
            </a:pPr>
            <a:r>
              <a:rPr lang="zh-CN" altLang="en-US" sz="1200" dirty="0" smtClean="0">
                <a:solidFill>
                  <a:schemeClr val="accent5"/>
                </a:solidFill>
                <a:latin typeface="SimSun" panose="02010600030101010101" pitchFamily="2" charset="-122"/>
                <a:ea typeface="SimSun" panose="02010600030101010101" pitchFamily="2" charset="-122"/>
              </a:rPr>
              <a:t>安装仅需几分钟</a:t>
            </a:r>
            <a:endParaRPr lang="en-GB" sz="1200" dirty="0">
              <a:solidFill>
                <a:schemeClr val="accent5"/>
              </a:solidFill>
              <a:latin typeface="SimSun" panose="02010600030101010101" pitchFamily="2" charset="-122"/>
              <a:ea typeface="SimSun" panose="02010600030101010101" pitchFamily="2" charset="-122"/>
            </a:endParaRPr>
          </a:p>
        </p:txBody>
      </p:sp>
      <p:grpSp>
        <p:nvGrpSpPr>
          <p:cNvPr id="12" name="Group 11"/>
          <p:cNvGrpSpPr/>
          <p:nvPr/>
        </p:nvGrpSpPr>
        <p:grpSpPr>
          <a:xfrm>
            <a:off x="408386" y="2204730"/>
            <a:ext cx="795477" cy="764129"/>
            <a:chOff x="3336134" y="2007395"/>
            <a:chExt cx="805657" cy="773907"/>
          </a:xfrm>
        </p:grpSpPr>
        <p:grpSp>
          <p:nvGrpSpPr>
            <p:cNvPr id="13" name="Group 12"/>
            <p:cNvGrpSpPr/>
            <p:nvPr/>
          </p:nvGrpSpPr>
          <p:grpSpPr>
            <a:xfrm>
              <a:off x="3336134" y="2007395"/>
              <a:ext cx="805657" cy="773907"/>
              <a:chOff x="3336134" y="2007395"/>
              <a:chExt cx="805657" cy="773907"/>
            </a:xfrm>
          </p:grpSpPr>
          <p:sp>
            <p:nvSpPr>
              <p:cNvPr id="15" name="Oval 14"/>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4" name="Oval 13"/>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17" name="Group 16"/>
          <p:cNvGrpSpPr/>
          <p:nvPr/>
        </p:nvGrpSpPr>
        <p:grpSpPr>
          <a:xfrm>
            <a:off x="408386" y="3103644"/>
            <a:ext cx="795477" cy="764129"/>
            <a:chOff x="3336134" y="2007395"/>
            <a:chExt cx="805657" cy="773907"/>
          </a:xfrm>
        </p:grpSpPr>
        <p:grpSp>
          <p:nvGrpSpPr>
            <p:cNvPr id="18" name="Group 17"/>
            <p:cNvGrpSpPr/>
            <p:nvPr/>
          </p:nvGrpSpPr>
          <p:grpSpPr>
            <a:xfrm>
              <a:off x="3336134" y="2007395"/>
              <a:ext cx="805657" cy="773907"/>
              <a:chOff x="3336134" y="2007395"/>
              <a:chExt cx="805657" cy="773907"/>
            </a:xfrm>
          </p:grpSpPr>
          <p:sp>
            <p:nvSpPr>
              <p:cNvPr id="20" name="Oval 19"/>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Rectangle 20"/>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9" name="Oval 18"/>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2" name="Group 21"/>
          <p:cNvGrpSpPr/>
          <p:nvPr/>
        </p:nvGrpSpPr>
        <p:grpSpPr>
          <a:xfrm>
            <a:off x="408386" y="4036373"/>
            <a:ext cx="795477" cy="764129"/>
            <a:chOff x="3336134" y="2007395"/>
            <a:chExt cx="805657" cy="773907"/>
          </a:xfrm>
        </p:grpSpPr>
        <p:grpSp>
          <p:nvGrpSpPr>
            <p:cNvPr id="23" name="Group 22"/>
            <p:cNvGrpSpPr/>
            <p:nvPr/>
          </p:nvGrpSpPr>
          <p:grpSpPr>
            <a:xfrm>
              <a:off x="3336134" y="2007395"/>
              <a:ext cx="805657" cy="773907"/>
              <a:chOff x="3336134" y="2007395"/>
              <a:chExt cx="805657" cy="773907"/>
            </a:xfrm>
          </p:grpSpPr>
          <p:sp>
            <p:nvSpPr>
              <p:cNvPr id="25" name="Oval 24"/>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Rectangle 25"/>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4" name="Oval 23"/>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50" name="Rectangle 80"/>
          <p:cNvSpPr>
            <a:spLocks noChangeArrowheads="1"/>
          </p:cNvSpPr>
          <p:nvPr/>
        </p:nvSpPr>
        <p:spPr bwMode="auto">
          <a:xfrm>
            <a:off x="4824671" y="2262794"/>
            <a:ext cx="3863717" cy="648000"/>
          </a:xfrm>
          <a:prstGeom prst="rect">
            <a:avLst/>
          </a:prstGeom>
          <a:solidFill>
            <a:schemeClr val="accent4"/>
          </a:solidFill>
          <a:ln w="19050">
            <a:noFill/>
            <a:miter lim="800000"/>
            <a:headEnd/>
            <a:tailEnd/>
          </a:ln>
          <a:extLst/>
        </p:spPr>
        <p:txBody>
          <a:bodyPr wrap="square" lIns="684000" tIns="72000" rIns="108000" bIns="72000" anchor="ctr">
            <a:noAutofit/>
          </a:bodyPr>
          <a:lstStyle/>
          <a:p>
            <a:pPr>
              <a:lnSpc>
                <a:spcPct val="95000"/>
              </a:lnSpc>
            </a:pPr>
            <a:r>
              <a:rPr lang="zh-CN" altLang="en-US" sz="1200" dirty="0" smtClean="0">
                <a:solidFill>
                  <a:schemeClr val="accent5"/>
                </a:solidFill>
                <a:latin typeface="SimSun" panose="02010600030101010101" pitchFamily="2" charset="-122"/>
                <a:ea typeface="SimSun" panose="02010600030101010101" pitchFamily="2" charset="-122"/>
              </a:rPr>
              <a:t>大量的开发插</a:t>
            </a:r>
            <a:r>
              <a:rPr lang="zh-CN" altLang="en-US" sz="1200" dirty="0">
                <a:solidFill>
                  <a:schemeClr val="accent5"/>
                </a:solidFill>
                <a:latin typeface="SimSun" panose="02010600030101010101" pitchFamily="2" charset="-122"/>
                <a:ea typeface="SimSun" panose="02010600030101010101" pitchFamily="2" charset="-122"/>
              </a:rPr>
              <a:t>件</a:t>
            </a:r>
            <a:r>
              <a:rPr lang="en-GB" sz="1200" dirty="0" smtClean="0">
                <a:solidFill>
                  <a:schemeClr val="accent5"/>
                </a:solidFill>
                <a:latin typeface="SimSun" panose="02010600030101010101" pitchFamily="2" charset="-122"/>
                <a:ea typeface="SimSun" panose="02010600030101010101" pitchFamily="2" charset="-122"/>
              </a:rPr>
              <a:t>,</a:t>
            </a:r>
            <a:r>
              <a:rPr lang="zh-CN" altLang="en-US" sz="1200" dirty="0" smtClean="0">
                <a:solidFill>
                  <a:schemeClr val="accent5"/>
                </a:solidFill>
                <a:latin typeface="SimSun" panose="02010600030101010101" pitchFamily="2" charset="-122"/>
                <a:ea typeface="SimSun" panose="02010600030101010101" pitchFamily="2" charset="-122"/>
              </a:rPr>
              <a:t>可定期扩展以便更好的整合到不同的项目环境</a:t>
            </a:r>
            <a:endParaRPr lang="en-GB" sz="1200" dirty="0">
              <a:solidFill>
                <a:schemeClr val="accent5"/>
              </a:solidFill>
              <a:latin typeface="SimSun" panose="02010600030101010101" pitchFamily="2" charset="-122"/>
              <a:ea typeface="SimSun" panose="02010600030101010101" pitchFamily="2" charset="-122"/>
            </a:endParaRPr>
          </a:p>
        </p:txBody>
      </p:sp>
      <p:sp>
        <p:nvSpPr>
          <p:cNvPr id="51" name="Rectangle 80"/>
          <p:cNvSpPr>
            <a:spLocks noChangeArrowheads="1"/>
          </p:cNvSpPr>
          <p:nvPr/>
        </p:nvSpPr>
        <p:spPr bwMode="auto">
          <a:xfrm>
            <a:off x="4824671" y="3161708"/>
            <a:ext cx="3863717" cy="648000"/>
          </a:xfrm>
          <a:prstGeom prst="rect">
            <a:avLst/>
          </a:prstGeom>
          <a:solidFill>
            <a:schemeClr val="accent4"/>
          </a:solidFill>
          <a:ln w="19050">
            <a:noFill/>
            <a:miter lim="800000"/>
            <a:headEnd/>
            <a:tailEnd/>
          </a:ln>
          <a:extLst/>
        </p:spPr>
        <p:txBody>
          <a:bodyPr wrap="square" lIns="684000" tIns="72000" rIns="108000" bIns="72000" anchor="ctr">
            <a:noAutofit/>
          </a:bodyPr>
          <a:lstStyle/>
          <a:p>
            <a:pPr>
              <a:lnSpc>
                <a:spcPct val="95000"/>
              </a:lnSpc>
            </a:pPr>
            <a:r>
              <a:rPr lang="zh-CN" altLang="en-US" sz="1200" dirty="0" smtClean="0">
                <a:solidFill>
                  <a:schemeClr val="accent5"/>
                </a:solidFill>
                <a:latin typeface="SimSun" panose="02010600030101010101" pitchFamily="2" charset="-122"/>
                <a:ea typeface="SimSun" panose="02010600030101010101" pitchFamily="2" charset="-122"/>
              </a:rPr>
              <a:t>易于操作和管理</a:t>
            </a:r>
            <a:endParaRPr lang="en-GB" sz="1200" dirty="0">
              <a:solidFill>
                <a:schemeClr val="accent5"/>
              </a:solidFill>
              <a:latin typeface="SimSun" panose="02010600030101010101" pitchFamily="2" charset="-122"/>
              <a:ea typeface="SimSun" panose="02010600030101010101" pitchFamily="2" charset="-122"/>
            </a:endParaRPr>
          </a:p>
        </p:txBody>
      </p:sp>
      <p:sp>
        <p:nvSpPr>
          <p:cNvPr id="52" name="Rectangle 80"/>
          <p:cNvSpPr>
            <a:spLocks noChangeArrowheads="1"/>
          </p:cNvSpPr>
          <p:nvPr/>
        </p:nvSpPr>
        <p:spPr bwMode="auto">
          <a:xfrm>
            <a:off x="4824671" y="4094437"/>
            <a:ext cx="3863717" cy="648000"/>
          </a:xfrm>
          <a:prstGeom prst="rect">
            <a:avLst/>
          </a:prstGeom>
          <a:solidFill>
            <a:schemeClr val="accent4"/>
          </a:solidFill>
          <a:ln w="19050">
            <a:noFill/>
            <a:miter lim="800000"/>
            <a:headEnd/>
            <a:tailEnd/>
          </a:ln>
          <a:extLst/>
        </p:spPr>
        <p:txBody>
          <a:bodyPr wrap="square" lIns="684000" tIns="72000" rIns="108000" bIns="72000" anchor="ctr">
            <a:noAutofit/>
          </a:bodyPr>
          <a:lstStyle/>
          <a:p>
            <a:pPr>
              <a:lnSpc>
                <a:spcPct val="95000"/>
              </a:lnSpc>
            </a:pPr>
            <a:r>
              <a:rPr lang="zh-CN" altLang="en-US" sz="1200" dirty="0">
                <a:solidFill>
                  <a:schemeClr val="accent5"/>
                </a:solidFill>
                <a:latin typeface="SimSun" panose="02010600030101010101" pitchFamily="2" charset="-122"/>
                <a:ea typeface="SimSun" panose="02010600030101010101" pitchFamily="2" charset="-122"/>
              </a:rPr>
              <a:t>可安装在大多数操作系统（</a:t>
            </a:r>
            <a:r>
              <a:rPr lang="en-US" altLang="zh-CN" sz="1200" dirty="0">
                <a:solidFill>
                  <a:schemeClr val="accent5"/>
                </a:solidFill>
                <a:latin typeface="SimSun" panose="02010600030101010101" pitchFamily="2" charset="-122"/>
                <a:ea typeface="SimSun" panose="02010600030101010101" pitchFamily="2" charset="-122"/>
              </a:rPr>
              <a:t>java</a:t>
            </a:r>
            <a:r>
              <a:rPr lang="zh-CN" altLang="en-US" sz="1200" dirty="0" smtClean="0">
                <a:solidFill>
                  <a:schemeClr val="accent5"/>
                </a:solidFill>
                <a:latin typeface="SimSun" panose="02010600030101010101" pitchFamily="2" charset="-122"/>
                <a:ea typeface="SimSun" panose="02010600030101010101" pitchFamily="2" charset="-122"/>
              </a:rPr>
              <a:t>），并与大多数流行的版本控制系统兼容</a:t>
            </a:r>
            <a:endParaRPr lang="en-GB" sz="1200" dirty="0">
              <a:solidFill>
                <a:schemeClr val="accent5"/>
              </a:solidFill>
              <a:latin typeface="SimSun" panose="02010600030101010101" pitchFamily="2" charset="-122"/>
              <a:ea typeface="SimSun" panose="02010600030101010101" pitchFamily="2" charset="-122"/>
            </a:endParaRPr>
          </a:p>
        </p:txBody>
      </p:sp>
      <p:grpSp>
        <p:nvGrpSpPr>
          <p:cNvPr id="54" name="Group 53"/>
          <p:cNvGrpSpPr/>
          <p:nvPr/>
        </p:nvGrpSpPr>
        <p:grpSpPr>
          <a:xfrm>
            <a:off x="4629548" y="2204730"/>
            <a:ext cx="795477" cy="764129"/>
            <a:chOff x="3336134" y="2007395"/>
            <a:chExt cx="805657" cy="773907"/>
          </a:xfrm>
        </p:grpSpPr>
        <p:grpSp>
          <p:nvGrpSpPr>
            <p:cNvPr id="55" name="Group 54"/>
            <p:cNvGrpSpPr/>
            <p:nvPr/>
          </p:nvGrpSpPr>
          <p:grpSpPr>
            <a:xfrm>
              <a:off x="3336134" y="2007395"/>
              <a:ext cx="805657" cy="773907"/>
              <a:chOff x="3336134" y="2007395"/>
              <a:chExt cx="805657" cy="773907"/>
            </a:xfrm>
          </p:grpSpPr>
          <p:sp>
            <p:nvSpPr>
              <p:cNvPr id="57" name="Oval 56"/>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8" name="Rectangle 57"/>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56" name="Oval 55"/>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9" name="Group 58"/>
          <p:cNvGrpSpPr/>
          <p:nvPr/>
        </p:nvGrpSpPr>
        <p:grpSpPr>
          <a:xfrm>
            <a:off x="4629548" y="3103644"/>
            <a:ext cx="795477" cy="764129"/>
            <a:chOff x="3336134" y="2007395"/>
            <a:chExt cx="805657" cy="773907"/>
          </a:xfrm>
        </p:grpSpPr>
        <p:grpSp>
          <p:nvGrpSpPr>
            <p:cNvPr id="60" name="Group 59"/>
            <p:cNvGrpSpPr/>
            <p:nvPr/>
          </p:nvGrpSpPr>
          <p:grpSpPr>
            <a:xfrm>
              <a:off x="3336134" y="2007395"/>
              <a:ext cx="805657" cy="773907"/>
              <a:chOff x="3336134" y="2007395"/>
              <a:chExt cx="805657" cy="773907"/>
            </a:xfrm>
          </p:grpSpPr>
          <p:sp>
            <p:nvSpPr>
              <p:cNvPr id="62" name="Oval 61"/>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 name="Rectangle 62"/>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61" name="Oval 60"/>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64" name="Group 63"/>
          <p:cNvGrpSpPr/>
          <p:nvPr/>
        </p:nvGrpSpPr>
        <p:grpSpPr>
          <a:xfrm>
            <a:off x="4629548" y="4036373"/>
            <a:ext cx="795477" cy="764129"/>
            <a:chOff x="3336134" y="2007395"/>
            <a:chExt cx="805657" cy="773907"/>
          </a:xfrm>
        </p:grpSpPr>
        <p:grpSp>
          <p:nvGrpSpPr>
            <p:cNvPr id="65" name="Group 64"/>
            <p:cNvGrpSpPr/>
            <p:nvPr/>
          </p:nvGrpSpPr>
          <p:grpSpPr>
            <a:xfrm>
              <a:off x="3336134" y="2007395"/>
              <a:ext cx="805657" cy="773907"/>
              <a:chOff x="3336134" y="2007395"/>
              <a:chExt cx="805657" cy="773907"/>
            </a:xfrm>
          </p:grpSpPr>
          <p:sp>
            <p:nvSpPr>
              <p:cNvPr id="67" name="Oval 66"/>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Rectangle 67"/>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66" name="Oval 65"/>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85" name="Text Placeholder 1"/>
          <p:cNvSpPr txBox="1">
            <a:spLocks/>
          </p:cNvSpPr>
          <p:nvPr/>
        </p:nvSpPr>
        <p:spPr>
          <a:xfrm>
            <a:off x="455613" y="1656330"/>
            <a:ext cx="8232775" cy="396000"/>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2400" kern="1200">
                <a:solidFill>
                  <a:schemeClr val="accent1"/>
                </a:solidFill>
                <a:latin typeface="+mj-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000" dirty="0" smtClean="0">
                <a:solidFill>
                  <a:schemeClr val="accent2"/>
                </a:solidFill>
              </a:rPr>
              <a:t>Jenkins</a:t>
            </a:r>
            <a:endParaRPr lang="en-GB" sz="2000" dirty="0">
              <a:solidFill>
                <a:schemeClr val="accent2"/>
              </a:solidFill>
            </a:endParaRPr>
          </a:p>
        </p:txBody>
      </p:sp>
      <p:grpSp>
        <p:nvGrpSpPr>
          <p:cNvPr id="86" name="Group 5"/>
          <p:cNvGrpSpPr>
            <a:grpSpLocks noChangeAspect="1"/>
          </p:cNvGrpSpPr>
          <p:nvPr/>
        </p:nvGrpSpPr>
        <p:grpSpPr bwMode="auto">
          <a:xfrm>
            <a:off x="645368" y="2404526"/>
            <a:ext cx="321512" cy="364536"/>
            <a:chOff x="2603" y="1764"/>
            <a:chExt cx="553" cy="627"/>
          </a:xfrm>
          <a:solidFill>
            <a:schemeClr val="accent1"/>
          </a:solidFill>
        </p:grpSpPr>
        <p:sp>
          <p:nvSpPr>
            <p:cNvPr id="88" name="Freeform 6"/>
            <p:cNvSpPr>
              <a:spLocks noEditPoints="1"/>
            </p:cNvSpPr>
            <p:nvPr/>
          </p:nvSpPr>
          <p:spPr bwMode="auto">
            <a:xfrm>
              <a:off x="2660" y="2079"/>
              <a:ext cx="442" cy="146"/>
            </a:xfrm>
            <a:custGeom>
              <a:avLst/>
              <a:gdLst>
                <a:gd name="T0" fmla="*/ 442 w 442"/>
                <a:gd name="T1" fmla="*/ 146 h 146"/>
                <a:gd name="T2" fmla="*/ 0 w 442"/>
                <a:gd name="T3" fmla="*/ 146 h 146"/>
                <a:gd name="T4" fmla="*/ 0 w 442"/>
                <a:gd name="T5" fmla="*/ 0 h 146"/>
                <a:gd name="T6" fmla="*/ 442 w 442"/>
                <a:gd name="T7" fmla="*/ 0 h 146"/>
                <a:gd name="T8" fmla="*/ 442 w 442"/>
                <a:gd name="T9" fmla="*/ 146 h 146"/>
                <a:gd name="T10" fmla="*/ 73 w 442"/>
                <a:gd name="T11" fmla="*/ 35 h 146"/>
                <a:gd name="T12" fmla="*/ 35 w 442"/>
                <a:gd name="T13" fmla="*/ 35 h 146"/>
                <a:gd name="T14" fmla="*/ 35 w 442"/>
                <a:gd name="T15" fmla="*/ 111 h 146"/>
                <a:gd name="T16" fmla="*/ 73 w 442"/>
                <a:gd name="T17" fmla="*/ 111 h 146"/>
                <a:gd name="T18" fmla="*/ 73 w 442"/>
                <a:gd name="T19" fmla="*/ 35 h 146"/>
                <a:gd name="T20" fmla="*/ 127 w 442"/>
                <a:gd name="T21" fmla="*/ 35 h 146"/>
                <a:gd name="T22" fmla="*/ 92 w 442"/>
                <a:gd name="T23" fmla="*/ 35 h 146"/>
                <a:gd name="T24" fmla="*/ 92 w 442"/>
                <a:gd name="T25" fmla="*/ 111 h 146"/>
                <a:gd name="T26" fmla="*/ 127 w 442"/>
                <a:gd name="T27" fmla="*/ 111 h 146"/>
                <a:gd name="T28" fmla="*/ 127 w 442"/>
                <a:gd name="T29" fmla="*/ 35 h 146"/>
                <a:gd name="T30" fmla="*/ 182 w 442"/>
                <a:gd name="T31" fmla="*/ 35 h 146"/>
                <a:gd name="T32" fmla="*/ 146 w 442"/>
                <a:gd name="T33" fmla="*/ 35 h 146"/>
                <a:gd name="T34" fmla="*/ 146 w 442"/>
                <a:gd name="T35" fmla="*/ 111 h 146"/>
                <a:gd name="T36" fmla="*/ 182 w 442"/>
                <a:gd name="T37" fmla="*/ 111 h 146"/>
                <a:gd name="T38" fmla="*/ 182 w 442"/>
                <a:gd name="T39" fmla="*/ 35 h 146"/>
                <a:gd name="T40" fmla="*/ 404 w 442"/>
                <a:gd name="T41" fmla="*/ 35 h 146"/>
                <a:gd name="T42" fmla="*/ 366 w 442"/>
                <a:gd name="T43" fmla="*/ 35 h 146"/>
                <a:gd name="T44" fmla="*/ 366 w 442"/>
                <a:gd name="T45" fmla="*/ 111 h 146"/>
                <a:gd name="T46" fmla="*/ 404 w 442"/>
                <a:gd name="T47" fmla="*/ 111 h 146"/>
                <a:gd name="T48" fmla="*/ 404 w 442"/>
                <a:gd name="T49" fmla="*/ 35 h 146"/>
                <a:gd name="T50" fmla="*/ 293 w 442"/>
                <a:gd name="T51" fmla="*/ 35 h 146"/>
                <a:gd name="T52" fmla="*/ 257 w 442"/>
                <a:gd name="T53" fmla="*/ 35 h 146"/>
                <a:gd name="T54" fmla="*/ 257 w 442"/>
                <a:gd name="T55" fmla="*/ 111 h 146"/>
                <a:gd name="T56" fmla="*/ 293 w 442"/>
                <a:gd name="T57" fmla="*/ 111 h 146"/>
                <a:gd name="T58" fmla="*/ 293 w 442"/>
                <a:gd name="T59" fmla="*/ 35 h 146"/>
                <a:gd name="T60" fmla="*/ 331 w 442"/>
                <a:gd name="T61" fmla="*/ 108 h 146"/>
                <a:gd name="T62" fmla="*/ 312 w 442"/>
                <a:gd name="T63" fmla="*/ 108 h 146"/>
                <a:gd name="T64" fmla="*/ 312 w 442"/>
                <a:gd name="T65" fmla="*/ 127 h 146"/>
                <a:gd name="T66" fmla="*/ 331 w 442"/>
                <a:gd name="T67" fmla="*/ 127 h 146"/>
                <a:gd name="T68" fmla="*/ 331 w 442"/>
                <a:gd name="T69" fmla="*/ 108 h 146"/>
                <a:gd name="T70" fmla="*/ 238 w 442"/>
                <a:gd name="T71" fmla="*/ 108 h 146"/>
                <a:gd name="T72" fmla="*/ 220 w 442"/>
                <a:gd name="T73" fmla="*/ 108 h 146"/>
                <a:gd name="T74" fmla="*/ 220 w 442"/>
                <a:gd name="T75" fmla="*/ 127 h 146"/>
                <a:gd name="T76" fmla="*/ 238 w 442"/>
                <a:gd name="T77" fmla="*/ 127 h 146"/>
                <a:gd name="T78" fmla="*/ 238 w 442"/>
                <a:gd name="T79"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2" h="146">
                  <a:moveTo>
                    <a:pt x="442" y="146"/>
                  </a:moveTo>
                  <a:lnTo>
                    <a:pt x="0" y="146"/>
                  </a:lnTo>
                  <a:lnTo>
                    <a:pt x="0" y="0"/>
                  </a:lnTo>
                  <a:lnTo>
                    <a:pt x="442" y="0"/>
                  </a:lnTo>
                  <a:lnTo>
                    <a:pt x="442" y="146"/>
                  </a:lnTo>
                  <a:close/>
                  <a:moveTo>
                    <a:pt x="73" y="35"/>
                  </a:moveTo>
                  <a:lnTo>
                    <a:pt x="35" y="35"/>
                  </a:lnTo>
                  <a:lnTo>
                    <a:pt x="35" y="111"/>
                  </a:lnTo>
                  <a:lnTo>
                    <a:pt x="73" y="111"/>
                  </a:lnTo>
                  <a:lnTo>
                    <a:pt x="73" y="35"/>
                  </a:lnTo>
                  <a:close/>
                  <a:moveTo>
                    <a:pt x="127" y="35"/>
                  </a:moveTo>
                  <a:lnTo>
                    <a:pt x="92" y="35"/>
                  </a:lnTo>
                  <a:lnTo>
                    <a:pt x="92" y="111"/>
                  </a:lnTo>
                  <a:lnTo>
                    <a:pt x="127" y="111"/>
                  </a:lnTo>
                  <a:lnTo>
                    <a:pt x="127" y="35"/>
                  </a:lnTo>
                  <a:close/>
                  <a:moveTo>
                    <a:pt x="182" y="35"/>
                  </a:moveTo>
                  <a:lnTo>
                    <a:pt x="146" y="35"/>
                  </a:lnTo>
                  <a:lnTo>
                    <a:pt x="146" y="111"/>
                  </a:lnTo>
                  <a:lnTo>
                    <a:pt x="182" y="111"/>
                  </a:lnTo>
                  <a:lnTo>
                    <a:pt x="182" y="35"/>
                  </a:lnTo>
                  <a:close/>
                  <a:moveTo>
                    <a:pt x="404" y="35"/>
                  </a:moveTo>
                  <a:lnTo>
                    <a:pt x="366" y="35"/>
                  </a:lnTo>
                  <a:lnTo>
                    <a:pt x="366" y="111"/>
                  </a:lnTo>
                  <a:lnTo>
                    <a:pt x="404" y="111"/>
                  </a:lnTo>
                  <a:lnTo>
                    <a:pt x="404" y="35"/>
                  </a:lnTo>
                  <a:close/>
                  <a:moveTo>
                    <a:pt x="293" y="35"/>
                  </a:moveTo>
                  <a:lnTo>
                    <a:pt x="257" y="35"/>
                  </a:lnTo>
                  <a:lnTo>
                    <a:pt x="257" y="111"/>
                  </a:lnTo>
                  <a:lnTo>
                    <a:pt x="293" y="111"/>
                  </a:lnTo>
                  <a:lnTo>
                    <a:pt x="293" y="35"/>
                  </a:lnTo>
                  <a:close/>
                  <a:moveTo>
                    <a:pt x="331" y="108"/>
                  </a:moveTo>
                  <a:lnTo>
                    <a:pt x="312" y="108"/>
                  </a:lnTo>
                  <a:lnTo>
                    <a:pt x="312" y="127"/>
                  </a:lnTo>
                  <a:lnTo>
                    <a:pt x="331" y="127"/>
                  </a:lnTo>
                  <a:lnTo>
                    <a:pt x="331" y="108"/>
                  </a:lnTo>
                  <a:close/>
                  <a:moveTo>
                    <a:pt x="238" y="108"/>
                  </a:moveTo>
                  <a:lnTo>
                    <a:pt x="220" y="108"/>
                  </a:lnTo>
                  <a:lnTo>
                    <a:pt x="220" y="127"/>
                  </a:lnTo>
                  <a:lnTo>
                    <a:pt x="238" y="127"/>
                  </a:lnTo>
                  <a:lnTo>
                    <a:pt x="23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7"/>
            <p:cNvSpPr>
              <a:spLocks noEditPoints="1"/>
            </p:cNvSpPr>
            <p:nvPr/>
          </p:nvSpPr>
          <p:spPr bwMode="auto">
            <a:xfrm>
              <a:off x="2660" y="1913"/>
              <a:ext cx="442" cy="147"/>
            </a:xfrm>
            <a:custGeom>
              <a:avLst/>
              <a:gdLst>
                <a:gd name="T0" fmla="*/ 442 w 442"/>
                <a:gd name="T1" fmla="*/ 147 h 147"/>
                <a:gd name="T2" fmla="*/ 0 w 442"/>
                <a:gd name="T3" fmla="*/ 147 h 147"/>
                <a:gd name="T4" fmla="*/ 0 w 442"/>
                <a:gd name="T5" fmla="*/ 0 h 147"/>
                <a:gd name="T6" fmla="*/ 442 w 442"/>
                <a:gd name="T7" fmla="*/ 0 h 147"/>
                <a:gd name="T8" fmla="*/ 442 w 442"/>
                <a:gd name="T9" fmla="*/ 147 h 147"/>
                <a:gd name="T10" fmla="*/ 73 w 442"/>
                <a:gd name="T11" fmla="*/ 36 h 147"/>
                <a:gd name="T12" fmla="*/ 35 w 442"/>
                <a:gd name="T13" fmla="*/ 36 h 147"/>
                <a:gd name="T14" fmla="*/ 35 w 442"/>
                <a:gd name="T15" fmla="*/ 109 h 147"/>
                <a:gd name="T16" fmla="*/ 73 w 442"/>
                <a:gd name="T17" fmla="*/ 109 h 147"/>
                <a:gd name="T18" fmla="*/ 73 w 442"/>
                <a:gd name="T19" fmla="*/ 36 h 147"/>
                <a:gd name="T20" fmla="*/ 127 w 442"/>
                <a:gd name="T21" fmla="*/ 36 h 147"/>
                <a:gd name="T22" fmla="*/ 92 w 442"/>
                <a:gd name="T23" fmla="*/ 36 h 147"/>
                <a:gd name="T24" fmla="*/ 92 w 442"/>
                <a:gd name="T25" fmla="*/ 109 h 147"/>
                <a:gd name="T26" fmla="*/ 127 w 442"/>
                <a:gd name="T27" fmla="*/ 109 h 147"/>
                <a:gd name="T28" fmla="*/ 127 w 442"/>
                <a:gd name="T29" fmla="*/ 36 h 147"/>
                <a:gd name="T30" fmla="*/ 182 w 442"/>
                <a:gd name="T31" fmla="*/ 36 h 147"/>
                <a:gd name="T32" fmla="*/ 146 w 442"/>
                <a:gd name="T33" fmla="*/ 36 h 147"/>
                <a:gd name="T34" fmla="*/ 146 w 442"/>
                <a:gd name="T35" fmla="*/ 109 h 147"/>
                <a:gd name="T36" fmla="*/ 182 w 442"/>
                <a:gd name="T37" fmla="*/ 109 h 147"/>
                <a:gd name="T38" fmla="*/ 182 w 442"/>
                <a:gd name="T39" fmla="*/ 36 h 147"/>
                <a:gd name="T40" fmla="*/ 404 w 442"/>
                <a:gd name="T41" fmla="*/ 36 h 147"/>
                <a:gd name="T42" fmla="*/ 366 w 442"/>
                <a:gd name="T43" fmla="*/ 36 h 147"/>
                <a:gd name="T44" fmla="*/ 366 w 442"/>
                <a:gd name="T45" fmla="*/ 109 h 147"/>
                <a:gd name="T46" fmla="*/ 404 w 442"/>
                <a:gd name="T47" fmla="*/ 109 h 147"/>
                <a:gd name="T48" fmla="*/ 404 w 442"/>
                <a:gd name="T49" fmla="*/ 36 h 147"/>
                <a:gd name="T50" fmla="*/ 293 w 442"/>
                <a:gd name="T51" fmla="*/ 36 h 147"/>
                <a:gd name="T52" fmla="*/ 257 w 442"/>
                <a:gd name="T53" fmla="*/ 36 h 147"/>
                <a:gd name="T54" fmla="*/ 257 w 442"/>
                <a:gd name="T55" fmla="*/ 109 h 147"/>
                <a:gd name="T56" fmla="*/ 293 w 442"/>
                <a:gd name="T57" fmla="*/ 109 h 147"/>
                <a:gd name="T58" fmla="*/ 293 w 442"/>
                <a:gd name="T5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2" h="147">
                  <a:moveTo>
                    <a:pt x="442" y="147"/>
                  </a:moveTo>
                  <a:lnTo>
                    <a:pt x="0" y="147"/>
                  </a:lnTo>
                  <a:lnTo>
                    <a:pt x="0" y="0"/>
                  </a:lnTo>
                  <a:lnTo>
                    <a:pt x="442" y="0"/>
                  </a:lnTo>
                  <a:lnTo>
                    <a:pt x="442" y="147"/>
                  </a:lnTo>
                  <a:close/>
                  <a:moveTo>
                    <a:pt x="73" y="36"/>
                  </a:moveTo>
                  <a:lnTo>
                    <a:pt x="35" y="36"/>
                  </a:lnTo>
                  <a:lnTo>
                    <a:pt x="35" y="109"/>
                  </a:lnTo>
                  <a:lnTo>
                    <a:pt x="73" y="109"/>
                  </a:lnTo>
                  <a:lnTo>
                    <a:pt x="73" y="36"/>
                  </a:lnTo>
                  <a:close/>
                  <a:moveTo>
                    <a:pt x="127" y="36"/>
                  </a:moveTo>
                  <a:lnTo>
                    <a:pt x="92" y="36"/>
                  </a:lnTo>
                  <a:lnTo>
                    <a:pt x="92" y="109"/>
                  </a:lnTo>
                  <a:lnTo>
                    <a:pt x="127" y="109"/>
                  </a:lnTo>
                  <a:lnTo>
                    <a:pt x="127" y="36"/>
                  </a:lnTo>
                  <a:close/>
                  <a:moveTo>
                    <a:pt x="182" y="36"/>
                  </a:moveTo>
                  <a:lnTo>
                    <a:pt x="146" y="36"/>
                  </a:lnTo>
                  <a:lnTo>
                    <a:pt x="146" y="109"/>
                  </a:lnTo>
                  <a:lnTo>
                    <a:pt x="182" y="109"/>
                  </a:lnTo>
                  <a:lnTo>
                    <a:pt x="182" y="36"/>
                  </a:lnTo>
                  <a:close/>
                  <a:moveTo>
                    <a:pt x="404" y="36"/>
                  </a:moveTo>
                  <a:lnTo>
                    <a:pt x="366" y="36"/>
                  </a:lnTo>
                  <a:lnTo>
                    <a:pt x="366" y="109"/>
                  </a:lnTo>
                  <a:lnTo>
                    <a:pt x="404" y="109"/>
                  </a:lnTo>
                  <a:lnTo>
                    <a:pt x="404" y="36"/>
                  </a:lnTo>
                  <a:close/>
                  <a:moveTo>
                    <a:pt x="293" y="36"/>
                  </a:moveTo>
                  <a:lnTo>
                    <a:pt x="257" y="36"/>
                  </a:lnTo>
                  <a:lnTo>
                    <a:pt x="257" y="109"/>
                  </a:lnTo>
                  <a:lnTo>
                    <a:pt x="293" y="109"/>
                  </a:lnTo>
                  <a:lnTo>
                    <a:pt x="29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Rectangle 8"/>
            <p:cNvSpPr>
              <a:spLocks noChangeArrowheads="1"/>
            </p:cNvSpPr>
            <p:nvPr/>
          </p:nvSpPr>
          <p:spPr bwMode="auto">
            <a:xfrm>
              <a:off x="2972" y="2022"/>
              <a:ext cx="16"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Rectangle 9"/>
            <p:cNvSpPr>
              <a:spLocks noChangeArrowheads="1"/>
            </p:cNvSpPr>
            <p:nvPr/>
          </p:nvSpPr>
          <p:spPr bwMode="auto">
            <a:xfrm>
              <a:off x="2880" y="2022"/>
              <a:ext cx="1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10"/>
            <p:cNvSpPr>
              <a:spLocks/>
            </p:cNvSpPr>
            <p:nvPr/>
          </p:nvSpPr>
          <p:spPr bwMode="auto">
            <a:xfrm>
              <a:off x="2660" y="1764"/>
              <a:ext cx="442" cy="130"/>
            </a:xfrm>
            <a:custGeom>
              <a:avLst/>
              <a:gdLst>
                <a:gd name="T0" fmla="*/ 366 w 442"/>
                <a:gd name="T1" fmla="*/ 0 h 130"/>
                <a:gd name="T2" fmla="*/ 73 w 442"/>
                <a:gd name="T3" fmla="*/ 0 h 130"/>
                <a:gd name="T4" fmla="*/ 0 w 442"/>
                <a:gd name="T5" fmla="*/ 130 h 130"/>
                <a:gd name="T6" fmla="*/ 442 w 442"/>
                <a:gd name="T7" fmla="*/ 130 h 130"/>
                <a:gd name="T8" fmla="*/ 366 w 442"/>
                <a:gd name="T9" fmla="*/ 0 h 130"/>
              </a:gdLst>
              <a:ahLst/>
              <a:cxnLst>
                <a:cxn ang="0">
                  <a:pos x="T0" y="T1"/>
                </a:cxn>
                <a:cxn ang="0">
                  <a:pos x="T2" y="T3"/>
                </a:cxn>
                <a:cxn ang="0">
                  <a:pos x="T4" y="T5"/>
                </a:cxn>
                <a:cxn ang="0">
                  <a:pos x="T6" y="T7"/>
                </a:cxn>
                <a:cxn ang="0">
                  <a:pos x="T8" y="T9"/>
                </a:cxn>
              </a:cxnLst>
              <a:rect l="0" t="0" r="r" b="b"/>
              <a:pathLst>
                <a:path w="442" h="130">
                  <a:moveTo>
                    <a:pt x="366" y="0"/>
                  </a:moveTo>
                  <a:lnTo>
                    <a:pt x="73" y="0"/>
                  </a:lnTo>
                  <a:lnTo>
                    <a:pt x="0" y="130"/>
                  </a:lnTo>
                  <a:lnTo>
                    <a:pt x="442" y="130"/>
                  </a:lnTo>
                  <a:lnTo>
                    <a:pt x="3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Rectangle 11"/>
            <p:cNvSpPr>
              <a:spLocks noChangeArrowheads="1"/>
            </p:cNvSpPr>
            <p:nvPr/>
          </p:nvSpPr>
          <p:spPr bwMode="auto">
            <a:xfrm>
              <a:off x="2861" y="2244"/>
              <a:ext cx="37"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4" name="Rectangle 12"/>
            <p:cNvSpPr>
              <a:spLocks noChangeArrowheads="1"/>
            </p:cNvSpPr>
            <p:nvPr/>
          </p:nvSpPr>
          <p:spPr bwMode="auto">
            <a:xfrm>
              <a:off x="2603" y="2336"/>
              <a:ext cx="222"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5" name="Rectangle 13"/>
            <p:cNvSpPr>
              <a:spLocks noChangeArrowheads="1"/>
            </p:cNvSpPr>
            <p:nvPr/>
          </p:nvSpPr>
          <p:spPr bwMode="auto">
            <a:xfrm>
              <a:off x="2936" y="2336"/>
              <a:ext cx="22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24" name="Oval 14"/>
            <p:cNvSpPr>
              <a:spLocks noChangeArrowheads="1"/>
            </p:cNvSpPr>
            <p:nvPr/>
          </p:nvSpPr>
          <p:spPr bwMode="auto">
            <a:xfrm>
              <a:off x="2842" y="2317"/>
              <a:ext cx="75" cy="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028" name="Freeform 19"/>
          <p:cNvSpPr>
            <a:spLocks noEditPoints="1"/>
          </p:cNvSpPr>
          <p:nvPr/>
        </p:nvSpPr>
        <p:spPr bwMode="auto">
          <a:xfrm>
            <a:off x="616461" y="3319075"/>
            <a:ext cx="379326" cy="333266"/>
          </a:xfrm>
          <a:custGeom>
            <a:avLst/>
            <a:gdLst>
              <a:gd name="T0" fmla="*/ 279 w 296"/>
              <a:gd name="T1" fmla="*/ 0 h 260"/>
              <a:gd name="T2" fmla="*/ 18 w 296"/>
              <a:gd name="T3" fmla="*/ 0 h 260"/>
              <a:gd name="T4" fmla="*/ 0 w 296"/>
              <a:gd name="T5" fmla="*/ 17 h 260"/>
              <a:gd name="T6" fmla="*/ 0 w 296"/>
              <a:gd name="T7" fmla="*/ 242 h 260"/>
              <a:gd name="T8" fmla="*/ 18 w 296"/>
              <a:gd name="T9" fmla="*/ 260 h 260"/>
              <a:gd name="T10" fmla="*/ 279 w 296"/>
              <a:gd name="T11" fmla="*/ 260 h 260"/>
              <a:gd name="T12" fmla="*/ 296 w 296"/>
              <a:gd name="T13" fmla="*/ 242 h 260"/>
              <a:gd name="T14" fmla="*/ 296 w 296"/>
              <a:gd name="T15" fmla="*/ 17 h 260"/>
              <a:gd name="T16" fmla="*/ 279 w 296"/>
              <a:gd name="T17" fmla="*/ 0 h 260"/>
              <a:gd name="T18" fmla="*/ 234 w 296"/>
              <a:gd name="T19" fmla="*/ 11 h 260"/>
              <a:gd name="T20" fmla="*/ 246 w 296"/>
              <a:gd name="T21" fmla="*/ 23 h 260"/>
              <a:gd name="T22" fmla="*/ 234 w 296"/>
              <a:gd name="T23" fmla="*/ 35 h 260"/>
              <a:gd name="T24" fmla="*/ 222 w 296"/>
              <a:gd name="T25" fmla="*/ 23 h 260"/>
              <a:gd name="T26" fmla="*/ 234 w 296"/>
              <a:gd name="T27" fmla="*/ 11 h 260"/>
              <a:gd name="T28" fmla="*/ 201 w 296"/>
              <a:gd name="T29" fmla="*/ 11 h 260"/>
              <a:gd name="T30" fmla="*/ 213 w 296"/>
              <a:gd name="T31" fmla="*/ 23 h 260"/>
              <a:gd name="T32" fmla="*/ 201 w 296"/>
              <a:gd name="T33" fmla="*/ 35 h 260"/>
              <a:gd name="T34" fmla="*/ 189 w 296"/>
              <a:gd name="T35" fmla="*/ 23 h 260"/>
              <a:gd name="T36" fmla="*/ 201 w 296"/>
              <a:gd name="T37" fmla="*/ 11 h 260"/>
              <a:gd name="T38" fmla="*/ 97 w 296"/>
              <a:gd name="T39" fmla="*/ 242 h 260"/>
              <a:gd name="T40" fmla="*/ 148 w 296"/>
              <a:gd name="T41" fmla="*/ 199 h 260"/>
              <a:gd name="T42" fmla="*/ 199 w 296"/>
              <a:gd name="T43" fmla="*/ 242 h 260"/>
              <a:gd name="T44" fmla="*/ 97 w 296"/>
              <a:gd name="T45" fmla="*/ 242 h 260"/>
              <a:gd name="T46" fmla="*/ 279 w 296"/>
              <a:gd name="T47" fmla="*/ 236 h 260"/>
              <a:gd name="T48" fmla="*/ 268 w 296"/>
              <a:gd name="T49" fmla="*/ 225 h 260"/>
              <a:gd name="T50" fmla="*/ 249 w 296"/>
              <a:gd name="T51" fmla="*/ 225 h 260"/>
              <a:gd name="T52" fmla="*/ 238 w 296"/>
              <a:gd name="T53" fmla="*/ 198 h 260"/>
              <a:gd name="T54" fmla="*/ 252 w 296"/>
              <a:gd name="T55" fmla="*/ 185 h 260"/>
              <a:gd name="T56" fmla="*/ 252 w 296"/>
              <a:gd name="T57" fmla="*/ 170 h 260"/>
              <a:gd name="T58" fmla="*/ 229 w 296"/>
              <a:gd name="T59" fmla="*/ 148 h 260"/>
              <a:gd name="T60" fmla="*/ 215 w 296"/>
              <a:gd name="T61" fmla="*/ 148 h 260"/>
              <a:gd name="T62" fmla="*/ 201 w 296"/>
              <a:gd name="T63" fmla="*/ 162 h 260"/>
              <a:gd name="T64" fmla="*/ 174 w 296"/>
              <a:gd name="T65" fmla="*/ 150 h 260"/>
              <a:gd name="T66" fmla="*/ 174 w 296"/>
              <a:gd name="T67" fmla="*/ 132 h 260"/>
              <a:gd name="T68" fmla="*/ 164 w 296"/>
              <a:gd name="T69" fmla="*/ 121 h 260"/>
              <a:gd name="T70" fmla="*/ 133 w 296"/>
              <a:gd name="T71" fmla="*/ 121 h 260"/>
              <a:gd name="T72" fmla="*/ 122 w 296"/>
              <a:gd name="T73" fmla="*/ 132 h 260"/>
              <a:gd name="T74" fmla="*/ 122 w 296"/>
              <a:gd name="T75" fmla="*/ 150 h 260"/>
              <a:gd name="T76" fmla="*/ 95 w 296"/>
              <a:gd name="T77" fmla="*/ 162 h 260"/>
              <a:gd name="T78" fmla="*/ 82 w 296"/>
              <a:gd name="T79" fmla="*/ 148 h 260"/>
              <a:gd name="T80" fmla="*/ 67 w 296"/>
              <a:gd name="T81" fmla="*/ 148 h 260"/>
              <a:gd name="T82" fmla="*/ 45 w 296"/>
              <a:gd name="T83" fmla="*/ 170 h 260"/>
              <a:gd name="T84" fmla="*/ 45 w 296"/>
              <a:gd name="T85" fmla="*/ 185 h 260"/>
              <a:gd name="T86" fmla="*/ 59 w 296"/>
              <a:gd name="T87" fmla="*/ 198 h 260"/>
              <a:gd name="T88" fmla="*/ 47 w 296"/>
              <a:gd name="T89" fmla="*/ 225 h 260"/>
              <a:gd name="T90" fmla="*/ 29 w 296"/>
              <a:gd name="T91" fmla="*/ 225 h 260"/>
              <a:gd name="T92" fmla="*/ 18 w 296"/>
              <a:gd name="T93" fmla="*/ 236 h 260"/>
              <a:gd name="T94" fmla="*/ 18 w 296"/>
              <a:gd name="T95" fmla="*/ 47 h 260"/>
              <a:gd name="T96" fmla="*/ 279 w 296"/>
              <a:gd name="T97" fmla="*/ 47 h 260"/>
              <a:gd name="T98" fmla="*/ 279 w 296"/>
              <a:gd name="T99" fmla="*/ 236 h 260"/>
              <a:gd name="T100" fmla="*/ 267 w 296"/>
              <a:gd name="T101" fmla="*/ 35 h 260"/>
              <a:gd name="T102" fmla="*/ 255 w 296"/>
              <a:gd name="T103" fmla="*/ 23 h 260"/>
              <a:gd name="T104" fmla="*/ 267 w 296"/>
              <a:gd name="T105" fmla="*/ 11 h 260"/>
              <a:gd name="T106" fmla="*/ 279 w 296"/>
              <a:gd name="T107" fmla="*/ 23 h 260"/>
              <a:gd name="T108" fmla="*/ 267 w 296"/>
              <a:gd name="T109"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6" h="260">
                <a:moveTo>
                  <a:pt x="279" y="0"/>
                </a:moveTo>
                <a:cubicBezTo>
                  <a:pt x="18" y="0"/>
                  <a:pt x="18" y="0"/>
                  <a:pt x="18" y="0"/>
                </a:cubicBezTo>
                <a:cubicBezTo>
                  <a:pt x="8" y="0"/>
                  <a:pt x="0" y="8"/>
                  <a:pt x="0" y="17"/>
                </a:cubicBezTo>
                <a:cubicBezTo>
                  <a:pt x="0" y="242"/>
                  <a:pt x="0" y="242"/>
                  <a:pt x="0" y="242"/>
                </a:cubicBezTo>
                <a:cubicBezTo>
                  <a:pt x="0" y="252"/>
                  <a:pt x="8" y="260"/>
                  <a:pt x="18" y="260"/>
                </a:cubicBezTo>
                <a:cubicBezTo>
                  <a:pt x="279" y="260"/>
                  <a:pt x="279" y="260"/>
                  <a:pt x="279" y="260"/>
                </a:cubicBezTo>
                <a:cubicBezTo>
                  <a:pt x="289" y="260"/>
                  <a:pt x="296" y="252"/>
                  <a:pt x="296" y="242"/>
                </a:cubicBezTo>
                <a:cubicBezTo>
                  <a:pt x="296" y="17"/>
                  <a:pt x="296" y="17"/>
                  <a:pt x="296" y="17"/>
                </a:cubicBezTo>
                <a:cubicBezTo>
                  <a:pt x="296" y="7"/>
                  <a:pt x="288" y="0"/>
                  <a:pt x="279" y="0"/>
                </a:cubicBezTo>
                <a:close/>
                <a:moveTo>
                  <a:pt x="234" y="11"/>
                </a:moveTo>
                <a:cubicBezTo>
                  <a:pt x="241" y="11"/>
                  <a:pt x="246" y="16"/>
                  <a:pt x="246" y="23"/>
                </a:cubicBezTo>
                <a:cubicBezTo>
                  <a:pt x="246" y="30"/>
                  <a:pt x="241" y="35"/>
                  <a:pt x="234" y="35"/>
                </a:cubicBezTo>
                <a:cubicBezTo>
                  <a:pt x="228" y="35"/>
                  <a:pt x="222" y="30"/>
                  <a:pt x="222" y="23"/>
                </a:cubicBezTo>
                <a:cubicBezTo>
                  <a:pt x="222" y="16"/>
                  <a:pt x="227" y="11"/>
                  <a:pt x="234" y="11"/>
                </a:cubicBezTo>
                <a:close/>
                <a:moveTo>
                  <a:pt x="201" y="11"/>
                </a:moveTo>
                <a:cubicBezTo>
                  <a:pt x="208" y="11"/>
                  <a:pt x="213" y="16"/>
                  <a:pt x="213" y="23"/>
                </a:cubicBezTo>
                <a:cubicBezTo>
                  <a:pt x="213" y="30"/>
                  <a:pt x="208" y="35"/>
                  <a:pt x="201" y="35"/>
                </a:cubicBezTo>
                <a:cubicBezTo>
                  <a:pt x="195" y="35"/>
                  <a:pt x="189" y="30"/>
                  <a:pt x="189" y="23"/>
                </a:cubicBezTo>
                <a:cubicBezTo>
                  <a:pt x="189" y="16"/>
                  <a:pt x="195" y="11"/>
                  <a:pt x="201" y="11"/>
                </a:cubicBezTo>
                <a:close/>
                <a:moveTo>
                  <a:pt x="97" y="242"/>
                </a:moveTo>
                <a:cubicBezTo>
                  <a:pt x="101" y="218"/>
                  <a:pt x="123" y="199"/>
                  <a:pt x="148" y="199"/>
                </a:cubicBezTo>
                <a:cubicBezTo>
                  <a:pt x="174" y="199"/>
                  <a:pt x="195" y="218"/>
                  <a:pt x="199" y="242"/>
                </a:cubicBezTo>
                <a:lnTo>
                  <a:pt x="97" y="242"/>
                </a:lnTo>
                <a:close/>
                <a:moveTo>
                  <a:pt x="279" y="236"/>
                </a:moveTo>
                <a:cubicBezTo>
                  <a:pt x="279" y="230"/>
                  <a:pt x="274" y="225"/>
                  <a:pt x="268" y="225"/>
                </a:cubicBezTo>
                <a:cubicBezTo>
                  <a:pt x="249" y="225"/>
                  <a:pt x="249" y="225"/>
                  <a:pt x="249" y="225"/>
                </a:cubicBezTo>
                <a:cubicBezTo>
                  <a:pt x="247" y="216"/>
                  <a:pt x="243" y="206"/>
                  <a:pt x="238" y="198"/>
                </a:cubicBezTo>
                <a:cubicBezTo>
                  <a:pt x="252" y="185"/>
                  <a:pt x="252" y="185"/>
                  <a:pt x="252" y="185"/>
                </a:cubicBezTo>
                <a:cubicBezTo>
                  <a:pt x="256" y="181"/>
                  <a:pt x="256" y="174"/>
                  <a:pt x="252" y="170"/>
                </a:cubicBezTo>
                <a:cubicBezTo>
                  <a:pt x="229" y="148"/>
                  <a:pt x="229" y="148"/>
                  <a:pt x="229" y="148"/>
                </a:cubicBezTo>
                <a:cubicBezTo>
                  <a:pt x="225" y="144"/>
                  <a:pt x="219" y="144"/>
                  <a:pt x="215" y="148"/>
                </a:cubicBezTo>
                <a:cubicBezTo>
                  <a:pt x="201" y="162"/>
                  <a:pt x="201" y="162"/>
                  <a:pt x="201" y="162"/>
                </a:cubicBezTo>
                <a:cubicBezTo>
                  <a:pt x="193" y="157"/>
                  <a:pt x="183" y="153"/>
                  <a:pt x="174" y="150"/>
                </a:cubicBezTo>
                <a:cubicBezTo>
                  <a:pt x="174" y="132"/>
                  <a:pt x="174" y="132"/>
                  <a:pt x="174" y="132"/>
                </a:cubicBezTo>
                <a:cubicBezTo>
                  <a:pt x="174" y="126"/>
                  <a:pt x="170" y="121"/>
                  <a:pt x="164" y="121"/>
                </a:cubicBezTo>
                <a:cubicBezTo>
                  <a:pt x="133" y="121"/>
                  <a:pt x="133" y="121"/>
                  <a:pt x="133" y="121"/>
                </a:cubicBezTo>
                <a:cubicBezTo>
                  <a:pt x="127" y="121"/>
                  <a:pt x="122" y="126"/>
                  <a:pt x="122" y="132"/>
                </a:cubicBezTo>
                <a:cubicBezTo>
                  <a:pt x="122" y="150"/>
                  <a:pt x="122" y="150"/>
                  <a:pt x="122" y="150"/>
                </a:cubicBezTo>
                <a:cubicBezTo>
                  <a:pt x="113" y="153"/>
                  <a:pt x="103" y="157"/>
                  <a:pt x="95" y="162"/>
                </a:cubicBezTo>
                <a:cubicBezTo>
                  <a:pt x="82" y="148"/>
                  <a:pt x="82" y="148"/>
                  <a:pt x="82" y="148"/>
                </a:cubicBezTo>
                <a:cubicBezTo>
                  <a:pt x="78" y="144"/>
                  <a:pt x="71" y="144"/>
                  <a:pt x="67" y="148"/>
                </a:cubicBezTo>
                <a:cubicBezTo>
                  <a:pt x="45" y="170"/>
                  <a:pt x="45" y="170"/>
                  <a:pt x="45" y="170"/>
                </a:cubicBezTo>
                <a:cubicBezTo>
                  <a:pt x="41" y="174"/>
                  <a:pt x="41" y="181"/>
                  <a:pt x="45" y="185"/>
                </a:cubicBezTo>
                <a:cubicBezTo>
                  <a:pt x="59" y="198"/>
                  <a:pt x="59" y="198"/>
                  <a:pt x="59" y="198"/>
                </a:cubicBezTo>
                <a:cubicBezTo>
                  <a:pt x="54" y="207"/>
                  <a:pt x="50" y="216"/>
                  <a:pt x="47" y="225"/>
                </a:cubicBezTo>
                <a:cubicBezTo>
                  <a:pt x="29" y="225"/>
                  <a:pt x="29" y="225"/>
                  <a:pt x="29" y="225"/>
                </a:cubicBezTo>
                <a:cubicBezTo>
                  <a:pt x="23" y="225"/>
                  <a:pt x="18" y="230"/>
                  <a:pt x="18" y="236"/>
                </a:cubicBezTo>
                <a:cubicBezTo>
                  <a:pt x="18" y="47"/>
                  <a:pt x="18" y="47"/>
                  <a:pt x="18" y="47"/>
                </a:cubicBezTo>
                <a:cubicBezTo>
                  <a:pt x="279" y="47"/>
                  <a:pt x="279" y="47"/>
                  <a:pt x="279" y="47"/>
                </a:cubicBezTo>
                <a:cubicBezTo>
                  <a:pt x="279" y="236"/>
                  <a:pt x="279" y="236"/>
                  <a:pt x="279" y="236"/>
                </a:cubicBezTo>
                <a:close/>
                <a:moveTo>
                  <a:pt x="267" y="35"/>
                </a:moveTo>
                <a:cubicBezTo>
                  <a:pt x="260" y="35"/>
                  <a:pt x="255" y="30"/>
                  <a:pt x="255" y="23"/>
                </a:cubicBezTo>
                <a:cubicBezTo>
                  <a:pt x="255" y="16"/>
                  <a:pt x="260" y="11"/>
                  <a:pt x="267" y="11"/>
                </a:cubicBezTo>
                <a:cubicBezTo>
                  <a:pt x="273" y="11"/>
                  <a:pt x="279" y="16"/>
                  <a:pt x="279" y="23"/>
                </a:cubicBezTo>
                <a:cubicBezTo>
                  <a:pt x="279" y="30"/>
                  <a:pt x="273" y="35"/>
                  <a:pt x="267"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1029" name="Group 23"/>
          <p:cNvGrpSpPr>
            <a:grpSpLocks noChangeAspect="1"/>
          </p:cNvGrpSpPr>
          <p:nvPr/>
        </p:nvGrpSpPr>
        <p:grpSpPr bwMode="auto">
          <a:xfrm>
            <a:off x="603509" y="4204779"/>
            <a:ext cx="363321" cy="427317"/>
            <a:chOff x="420" y="2320"/>
            <a:chExt cx="721" cy="848"/>
          </a:xfrm>
          <a:solidFill>
            <a:schemeClr val="accent1"/>
          </a:solidFill>
        </p:grpSpPr>
        <p:sp>
          <p:nvSpPr>
            <p:cNvPr id="1031" name="Freeform 24"/>
            <p:cNvSpPr>
              <a:spLocks noEditPoints="1"/>
            </p:cNvSpPr>
            <p:nvPr/>
          </p:nvSpPr>
          <p:spPr bwMode="auto">
            <a:xfrm>
              <a:off x="420" y="2320"/>
              <a:ext cx="721" cy="848"/>
            </a:xfrm>
            <a:custGeom>
              <a:avLst/>
              <a:gdLst>
                <a:gd name="T0" fmla="*/ 275 w 305"/>
                <a:gd name="T1" fmla="*/ 116 h 359"/>
                <a:gd name="T2" fmla="*/ 295 w 305"/>
                <a:gd name="T3" fmla="*/ 95 h 359"/>
                <a:gd name="T4" fmla="*/ 260 w 305"/>
                <a:gd name="T5" fmla="*/ 60 h 359"/>
                <a:gd name="T6" fmla="*/ 239 w 305"/>
                <a:gd name="T7" fmla="*/ 81 h 359"/>
                <a:gd name="T8" fmla="*/ 169 w 305"/>
                <a:gd name="T9" fmla="*/ 55 h 359"/>
                <a:gd name="T10" fmla="*/ 182 w 305"/>
                <a:gd name="T11" fmla="*/ 31 h 359"/>
                <a:gd name="T12" fmla="*/ 152 w 305"/>
                <a:gd name="T13" fmla="*/ 0 h 359"/>
                <a:gd name="T14" fmla="*/ 122 w 305"/>
                <a:gd name="T15" fmla="*/ 31 h 359"/>
                <a:gd name="T16" fmla="*/ 135 w 305"/>
                <a:gd name="T17" fmla="*/ 55 h 359"/>
                <a:gd name="T18" fmla="*/ 0 w 305"/>
                <a:gd name="T19" fmla="*/ 207 h 359"/>
                <a:gd name="T20" fmla="*/ 152 w 305"/>
                <a:gd name="T21" fmla="*/ 359 h 359"/>
                <a:gd name="T22" fmla="*/ 304 w 305"/>
                <a:gd name="T23" fmla="*/ 207 h 359"/>
                <a:gd name="T24" fmla="*/ 275 w 305"/>
                <a:gd name="T25" fmla="*/ 116 h 359"/>
                <a:gd name="T26" fmla="*/ 152 w 305"/>
                <a:gd name="T27" fmla="*/ 20 h 359"/>
                <a:gd name="T28" fmla="*/ 163 w 305"/>
                <a:gd name="T29" fmla="*/ 31 h 359"/>
                <a:gd name="T30" fmla="*/ 152 w 305"/>
                <a:gd name="T31" fmla="*/ 41 h 359"/>
                <a:gd name="T32" fmla="*/ 142 w 305"/>
                <a:gd name="T33" fmla="*/ 31 h 359"/>
                <a:gd name="T34" fmla="*/ 152 w 305"/>
                <a:gd name="T35" fmla="*/ 20 h 359"/>
                <a:gd name="T36" fmla="*/ 152 w 305"/>
                <a:gd name="T37" fmla="*/ 327 h 359"/>
                <a:gd name="T38" fmla="*/ 32 w 305"/>
                <a:gd name="T39" fmla="*/ 207 h 359"/>
                <a:gd name="T40" fmla="*/ 152 w 305"/>
                <a:gd name="T41" fmla="*/ 86 h 359"/>
                <a:gd name="T42" fmla="*/ 273 w 305"/>
                <a:gd name="T43" fmla="*/ 207 h 359"/>
                <a:gd name="T44" fmla="*/ 152 w 305"/>
                <a:gd name="T45" fmla="*/ 32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59">
                  <a:moveTo>
                    <a:pt x="275" y="116"/>
                  </a:moveTo>
                  <a:cubicBezTo>
                    <a:pt x="295" y="95"/>
                    <a:pt x="295" y="95"/>
                    <a:pt x="295" y="95"/>
                  </a:cubicBezTo>
                  <a:cubicBezTo>
                    <a:pt x="260" y="60"/>
                    <a:pt x="260" y="60"/>
                    <a:pt x="260" y="60"/>
                  </a:cubicBezTo>
                  <a:cubicBezTo>
                    <a:pt x="239" y="81"/>
                    <a:pt x="239" y="81"/>
                    <a:pt x="239" y="81"/>
                  </a:cubicBezTo>
                  <a:cubicBezTo>
                    <a:pt x="218" y="67"/>
                    <a:pt x="195" y="58"/>
                    <a:pt x="169" y="55"/>
                  </a:cubicBezTo>
                  <a:cubicBezTo>
                    <a:pt x="177" y="50"/>
                    <a:pt x="182" y="41"/>
                    <a:pt x="182" y="31"/>
                  </a:cubicBezTo>
                  <a:cubicBezTo>
                    <a:pt x="182" y="14"/>
                    <a:pt x="169" y="0"/>
                    <a:pt x="152" y="0"/>
                  </a:cubicBezTo>
                  <a:cubicBezTo>
                    <a:pt x="135" y="0"/>
                    <a:pt x="122" y="14"/>
                    <a:pt x="122" y="31"/>
                  </a:cubicBezTo>
                  <a:cubicBezTo>
                    <a:pt x="122" y="41"/>
                    <a:pt x="127" y="50"/>
                    <a:pt x="135" y="55"/>
                  </a:cubicBezTo>
                  <a:cubicBezTo>
                    <a:pt x="59" y="64"/>
                    <a:pt x="0" y="129"/>
                    <a:pt x="0" y="207"/>
                  </a:cubicBezTo>
                  <a:cubicBezTo>
                    <a:pt x="0" y="291"/>
                    <a:pt x="68" y="359"/>
                    <a:pt x="152" y="359"/>
                  </a:cubicBezTo>
                  <a:cubicBezTo>
                    <a:pt x="236" y="359"/>
                    <a:pt x="304" y="291"/>
                    <a:pt x="304" y="207"/>
                  </a:cubicBezTo>
                  <a:cubicBezTo>
                    <a:pt x="305" y="173"/>
                    <a:pt x="294" y="141"/>
                    <a:pt x="275" y="116"/>
                  </a:cubicBezTo>
                  <a:close/>
                  <a:moveTo>
                    <a:pt x="152" y="20"/>
                  </a:moveTo>
                  <a:cubicBezTo>
                    <a:pt x="158" y="20"/>
                    <a:pt x="163" y="25"/>
                    <a:pt x="163" y="31"/>
                  </a:cubicBezTo>
                  <a:cubicBezTo>
                    <a:pt x="163" y="36"/>
                    <a:pt x="158" y="41"/>
                    <a:pt x="152" y="41"/>
                  </a:cubicBezTo>
                  <a:cubicBezTo>
                    <a:pt x="147" y="41"/>
                    <a:pt x="142" y="37"/>
                    <a:pt x="142" y="31"/>
                  </a:cubicBezTo>
                  <a:cubicBezTo>
                    <a:pt x="142" y="25"/>
                    <a:pt x="147" y="20"/>
                    <a:pt x="152" y="20"/>
                  </a:cubicBezTo>
                  <a:close/>
                  <a:moveTo>
                    <a:pt x="152" y="327"/>
                  </a:moveTo>
                  <a:cubicBezTo>
                    <a:pt x="86" y="327"/>
                    <a:pt x="32" y="273"/>
                    <a:pt x="32" y="207"/>
                  </a:cubicBezTo>
                  <a:cubicBezTo>
                    <a:pt x="32" y="140"/>
                    <a:pt x="86" y="86"/>
                    <a:pt x="152" y="86"/>
                  </a:cubicBezTo>
                  <a:cubicBezTo>
                    <a:pt x="219" y="86"/>
                    <a:pt x="273" y="140"/>
                    <a:pt x="273" y="207"/>
                  </a:cubicBezTo>
                  <a:cubicBezTo>
                    <a:pt x="273" y="273"/>
                    <a:pt x="219" y="327"/>
                    <a:pt x="152" y="3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32" name="Freeform 25"/>
            <p:cNvSpPr>
              <a:spLocks/>
            </p:cNvSpPr>
            <p:nvPr/>
          </p:nvSpPr>
          <p:spPr bwMode="auto">
            <a:xfrm>
              <a:off x="779" y="2589"/>
              <a:ext cx="217" cy="217"/>
            </a:xfrm>
            <a:custGeom>
              <a:avLst/>
              <a:gdLst>
                <a:gd name="T0" fmla="*/ 0 w 92"/>
                <a:gd name="T1" fmla="*/ 0 h 92"/>
                <a:gd name="T2" fmla="*/ 0 w 92"/>
                <a:gd name="T3" fmla="*/ 92 h 92"/>
                <a:gd name="T4" fmla="*/ 92 w 92"/>
                <a:gd name="T5" fmla="*/ 92 h 92"/>
                <a:gd name="T6" fmla="*/ 0 w 92"/>
                <a:gd name="T7" fmla="*/ 0 h 92"/>
              </a:gdLst>
              <a:ahLst/>
              <a:cxnLst>
                <a:cxn ang="0">
                  <a:pos x="T0" y="T1"/>
                </a:cxn>
                <a:cxn ang="0">
                  <a:pos x="T2" y="T3"/>
                </a:cxn>
                <a:cxn ang="0">
                  <a:pos x="T4" y="T5"/>
                </a:cxn>
                <a:cxn ang="0">
                  <a:pos x="T6" y="T7"/>
                </a:cxn>
              </a:cxnLst>
              <a:rect l="0" t="0" r="r" b="b"/>
              <a:pathLst>
                <a:path w="92" h="92">
                  <a:moveTo>
                    <a:pt x="0" y="0"/>
                  </a:moveTo>
                  <a:cubicBezTo>
                    <a:pt x="0" y="92"/>
                    <a:pt x="0" y="92"/>
                    <a:pt x="0" y="92"/>
                  </a:cubicBezTo>
                  <a:cubicBezTo>
                    <a:pt x="92" y="92"/>
                    <a:pt x="92" y="92"/>
                    <a:pt x="92" y="92"/>
                  </a:cubicBezTo>
                  <a:cubicBezTo>
                    <a:pt x="92" y="41"/>
                    <a:pt x="5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033" name="Group 29"/>
          <p:cNvGrpSpPr>
            <a:grpSpLocks noChangeAspect="1"/>
          </p:cNvGrpSpPr>
          <p:nvPr/>
        </p:nvGrpSpPr>
        <p:grpSpPr bwMode="auto">
          <a:xfrm>
            <a:off x="4849977" y="2396762"/>
            <a:ext cx="330888" cy="380064"/>
            <a:chOff x="2771" y="1135"/>
            <a:chExt cx="794" cy="912"/>
          </a:xfrm>
          <a:solidFill>
            <a:schemeClr val="accent1"/>
          </a:solidFill>
        </p:grpSpPr>
        <p:sp>
          <p:nvSpPr>
            <p:cNvPr id="1035" name="Freeform 30"/>
            <p:cNvSpPr>
              <a:spLocks noEditPoints="1"/>
            </p:cNvSpPr>
            <p:nvPr/>
          </p:nvSpPr>
          <p:spPr bwMode="auto">
            <a:xfrm>
              <a:off x="2846" y="1135"/>
              <a:ext cx="719" cy="711"/>
            </a:xfrm>
            <a:custGeom>
              <a:avLst/>
              <a:gdLst>
                <a:gd name="T0" fmla="*/ 80 w 304"/>
                <a:gd name="T1" fmla="*/ 279 h 301"/>
                <a:gd name="T2" fmla="*/ 45 w 304"/>
                <a:gd name="T3" fmla="*/ 235 h 301"/>
                <a:gd name="T4" fmla="*/ 54 w 304"/>
                <a:gd name="T5" fmla="*/ 234 h 301"/>
                <a:gd name="T6" fmla="*/ 91 w 304"/>
                <a:gd name="T7" fmla="*/ 235 h 301"/>
                <a:gd name="T8" fmla="*/ 136 w 304"/>
                <a:gd name="T9" fmla="*/ 279 h 301"/>
                <a:gd name="T10" fmla="*/ 145 w 304"/>
                <a:gd name="T11" fmla="*/ 234 h 301"/>
                <a:gd name="T12" fmla="*/ 155 w 304"/>
                <a:gd name="T13" fmla="*/ 279 h 301"/>
                <a:gd name="T14" fmla="*/ 160 w 304"/>
                <a:gd name="T15" fmla="*/ 279 h 301"/>
                <a:gd name="T16" fmla="*/ 198 w 304"/>
                <a:gd name="T17" fmla="*/ 234 h 301"/>
                <a:gd name="T18" fmla="*/ 175 w 304"/>
                <a:gd name="T19" fmla="*/ 295 h 301"/>
                <a:gd name="T20" fmla="*/ 303 w 304"/>
                <a:gd name="T21" fmla="*/ 149 h 301"/>
                <a:gd name="T22" fmla="*/ 1 w 304"/>
                <a:gd name="T23" fmla="*/ 153 h 301"/>
                <a:gd name="T24" fmla="*/ 162 w 304"/>
                <a:gd name="T25" fmla="*/ 219 h 301"/>
                <a:gd name="T26" fmla="*/ 160 w 304"/>
                <a:gd name="T27" fmla="*/ 159 h 301"/>
                <a:gd name="T28" fmla="*/ 214 w 304"/>
                <a:gd name="T29" fmla="*/ 179 h 301"/>
                <a:gd name="T30" fmla="*/ 203 w 304"/>
                <a:gd name="T31" fmla="*/ 219 h 301"/>
                <a:gd name="T32" fmla="*/ 160 w 304"/>
                <a:gd name="T33" fmla="*/ 144 h 301"/>
                <a:gd name="T34" fmla="*/ 162 w 304"/>
                <a:gd name="T35" fmla="*/ 83 h 301"/>
                <a:gd name="T36" fmla="*/ 206 w 304"/>
                <a:gd name="T37" fmla="*/ 85 h 301"/>
                <a:gd name="T38" fmla="*/ 216 w 304"/>
                <a:gd name="T39" fmla="*/ 144 h 301"/>
                <a:gd name="T40" fmla="*/ 184 w 304"/>
                <a:gd name="T41" fmla="*/ 284 h 301"/>
                <a:gd name="T42" fmla="*/ 214 w 304"/>
                <a:gd name="T43" fmla="*/ 236 h 301"/>
                <a:gd name="T44" fmla="*/ 260 w 304"/>
                <a:gd name="T45" fmla="*/ 234 h 301"/>
                <a:gd name="T46" fmla="*/ 184 w 304"/>
                <a:gd name="T47" fmla="*/ 284 h 301"/>
                <a:gd name="T48" fmla="*/ 272 w 304"/>
                <a:gd name="T49" fmla="*/ 217 h 301"/>
                <a:gd name="T50" fmla="*/ 222 w 304"/>
                <a:gd name="T51" fmla="*/ 219 h 301"/>
                <a:gd name="T52" fmla="*/ 231 w 304"/>
                <a:gd name="T53" fmla="*/ 159 h 301"/>
                <a:gd name="T54" fmla="*/ 286 w 304"/>
                <a:gd name="T55" fmla="*/ 181 h 301"/>
                <a:gd name="T56" fmla="*/ 288 w 304"/>
                <a:gd name="T57" fmla="*/ 140 h 301"/>
                <a:gd name="T58" fmla="*/ 231 w 304"/>
                <a:gd name="T59" fmla="*/ 144 h 301"/>
                <a:gd name="T60" fmla="*/ 224 w 304"/>
                <a:gd name="T61" fmla="*/ 84 h 301"/>
                <a:gd name="T62" fmla="*/ 272 w 304"/>
                <a:gd name="T63" fmla="*/ 85 h 301"/>
                <a:gd name="T64" fmla="*/ 260 w 304"/>
                <a:gd name="T65" fmla="*/ 69 h 301"/>
                <a:gd name="T66" fmla="*/ 218 w 304"/>
                <a:gd name="T67" fmla="*/ 69 h 301"/>
                <a:gd name="T68" fmla="*/ 186 w 304"/>
                <a:gd name="T69" fmla="*/ 20 h 301"/>
                <a:gd name="T70" fmla="*/ 261 w 304"/>
                <a:gd name="T71" fmla="*/ 68 h 301"/>
                <a:gd name="T72" fmla="*/ 198 w 304"/>
                <a:gd name="T73" fmla="*/ 69 h 301"/>
                <a:gd name="T74" fmla="*/ 160 w 304"/>
                <a:gd name="T75" fmla="*/ 16 h 301"/>
                <a:gd name="T76" fmla="*/ 37 w 304"/>
                <a:gd name="T77" fmla="*/ 219 h 301"/>
                <a:gd name="T78" fmla="*/ 17 w 304"/>
                <a:gd name="T79" fmla="*/ 164 h 301"/>
                <a:gd name="T80" fmla="*/ 17 w 304"/>
                <a:gd name="T81" fmla="*/ 159 h 301"/>
                <a:gd name="T82" fmla="*/ 84 w 304"/>
                <a:gd name="T83" fmla="*/ 219 h 301"/>
                <a:gd name="T84" fmla="*/ 145 w 304"/>
                <a:gd name="T85" fmla="*/ 219 h 301"/>
                <a:gd name="T86" fmla="*/ 102 w 304"/>
                <a:gd name="T87" fmla="*/ 219 h 301"/>
                <a:gd name="T88" fmla="*/ 89 w 304"/>
                <a:gd name="T89" fmla="*/ 161 h 301"/>
                <a:gd name="T90" fmla="*/ 145 w 304"/>
                <a:gd name="T91" fmla="*/ 159 h 301"/>
                <a:gd name="T92" fmla="*/ 145 w 304"/>
                <a:gd name="T93" fmla="*/ 144 h 301"/>
                <a:gd name="T94" fmla="*/ 90 w 304"/>
                <a:gd name="T95" fmla="*/ 129 h 301"/>
                <a:gd name="T96" fmla="*/ 102 w 304"/>
                <a:gd name="T97" fmla="*/ 83 h 301"/>
                <a:gd name="T98" fmla="*/ 144 w 304"/>
                <a:gd name="T99" fmla="*/ 83 h 301"/>
                <a:gd name="T100" fmla="*/ 145 w 304"/>
                <a:gd name="T101" fmla="*/ 16 h 301"/>
                <a:gd name="T102" fmla="*/ 106 w 304"/>
                <a:gd name="T103" fmla="*/ 69 h 301"/>
                <a:gd name="T104" fmla="*/ 120 w 304"/>
                <a:gd name="T105" fmla="*/ 19 h 301"/>
                <a:gd name="T106" fmla="*/ 91 w 304"/>
                <a:gd name="T107" fmla="*/ 67 h 301"/>
                <a:gd name="T108" fmla="*/ 46 w 304"/>
                <a:gd name="T109" fmla="*/ 69 h 301"/>
                <a:gd name="T110" fmla="*/ 120 w 304"/>
                <a:gd name="T111" fmla="*/ 19 h 301"/>
                <a:gd name="T112" fmla="*/ 33 w 304"/>
                <a:gd name="T113" fmla="*/ 86 h 301"/>
                <a:gd name="T114" fmla="*/ 84 w 304"/>
                <a:gd name="T115" fmla="*/ 84 h 301"/>
                <a:gd name="T116" fmla="*/ 16 w 304"/>
                <a:gd name="T117" fmla="*/ 14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4" h="301">
                  <a:moveTo>
                    <a:pt x="72" y="279"/>
                  </a:moveTo>
                  <a:cubicBezTo>
                    <a:pt x="74" y="279"/>
                    <a:pt x="77" y="279"/>
                    <a:pt x="80" y="279"/>
                  </a:cubicBezTo>
                  <a:cubicBezTo>
                    <a:pt x="104" y="279"/>
                    <a:pt x="104" y="279"/>
                    <a:pt x="104" y="279"/>
                  </a:cubicBezTo>
                  <a:cubicBezTo>
                    <a:pt x="80" y="270"/>
                    <a:pt x="61" y="255"/>
                    <a:pt x="45" y="235"/>
                  </a:cubicBezTo>
                  <a:cubicBezTo>
                    <a:pt x="45" y="234"/>
                    <a:pt x="45" y="234"/>
                    <a:pt x="45" y="234"/>
                  </a:cubicBezTo>
                  <a:cubicBezTo>
                    <a:pt x="48" y="234"/>
                    <a:pt x="51" y="234"/>
                    <a:pt x="54" y="234"/>
                  </a:cubicBezTo>
                  <a:cubicBezTo>
                    <a:pt x="65" y="234"/>
                    <a:pt x="77" y="234"/>
                    <a:pt x="88" y="234"/>
                  </a:cubicBezTo>
                  <a:cubicBezTo>
                    <a:pt x="90" y="234"/>
                    <a:pt x="91" y="234"/>
                    <a:pt x="91" y="235"/>
                  </a:cubicBezTo>
                  <a:cubicBezTo>
                    <a:pt x="98" y="251"/>
                    <a:pt x="106" y="265"/>
                    <a:pt x="117" y="279"/>
                  </a:cubicBezTo>
                  <a:cubicBezTo>
                    <a:pt x="136" y="279"/>
                    <a:pt x="136" y="279"/>
                    <a:pt x="136" y="279"/>
                  </a:cubicBezTo>
                  <a:cubicBezTo>
                    <a:pt x="124" y="265"/>
                    <a:pt x="114" y="251"/>
                    <a:pt x="106" y="234"/>
                  </a:cubicBezTo>
                  <a:cubicBezTo>
                    <a:pt x="119" y="234"/>
                    <a:pt x="132" y="234"/>
                    <a:pt x="145" y="234"/>
                  </a:cubicBezTo>
                  <a:cubicBezTo>
                    <a:pt x="145" y="249"/>
                    <a:pt x="145" y="264"/>
                    <a:pt x="145" y="279"/>
                  </a:cubicBezTo>
                  <a:cubicBezTo>
                    <a:pt x="155" y="279"/>
                    <a:pt x="155" y="279"/>
                    <a:pt x="155" y="279"/>
                  </a:cubicBezTo>
                  <a:cubicBezTo>
                    <a:pt x="156" y="279"/>
                    <a:pt x="157" y="279"/>
                    <a:pt x="158" y="279"/>
                  </a:cubicBezTo>
                  <a:cubicBezTo>
                    <a:pt x="158" y="279"/>
                    <a:pt x="159" y="279"/>
                    <a:pt x="160" y="279"/>
                  </a:cubicBezTo>
                  <a:cubicBezTo>
                    <a:pt x="160" y="263"/>
                    <a:pt x="160" y="249"/>
                    <a:pt x="160" y="234"/>
                  </a:cubicBezTo>
                  <a:cubicBezTo>
                    <a:pt x="172" y="234"/>
                    <a:pt x="185" y="234"/>
                    <a:pt x="198" y="234"/>
                  </a:cubicBezTo>
                  <a:cubicBezTo>
                    <a:pt x="190" y="251"/>
                    <a:pt x="180" y="267"/>
                    <a:pt x="166" y="281"/>
                  </a:cubicBezTo>
                  <a:cubicBezTo>
                    <a:pt x="172" y="283"/>
                    <a:pt x="175" y="289"/>
                    <a:pt x="175" y="295"/>
                  </a:cubicBezTo>
                  <a:cubicBezTo>
                    <a:pt x="175" y="297"/>
                    <a:pt x="174" y="299"/>
                    <a:pt x="174" y="301"/>
                  </a:cubicBezTo>
                  <a:cubicBezTo>
                    <a:pt x="248" y="290"/>
                    <a:pt x="304" y="226"/>
                    <a:pt x="303" y="149"/>
                  </a:cubicBezTo>
                  <a:cubicBezTo>
                    <a:pt x="303" y="68"/>
                    <a:pt x="236" y="0"/>
                    <a:pt x="152" y="0"/>
                  </a:cubicBezTo>
                  <a:cubicBezTo>
                    <a:pt x="68" y="0"/>
                    <a:pt x="0" y="69"/>
                    <a:pt x="1" y="153"/>
                  </a:cubicBezTo>
                  <a:cubicBezTo>
                    <a:pt x="2" y="206"/>
                    <a:pt x="30" y="252"/>
                    <a:pt x="72" y="279"/>
                  </a:cubicBezTo>
                  <a:close/>
                  <a:moveTo>
                    <a:pt x="162" y="219"/>
                  </a:moveTo>
                  <a:cubicBezTo>
                    <a:pt x="161" y="219"/>
                    <a:pt x="161" y="219"/>
                    <a:pt x="160" y="219"/>
                  </a:cubicBezTo>
                  <a:cubicBezTo>
                    <a:pt x="160" y="199"/>
                    <a:pt x="160" y="179"/>
                    <a:pt x="160" y="159"/>
                  </a:cubicBezTo>
                  <a:cubicBezTo>
                    <a:pt x="179" y="159"/>
                    <a:pt x="197" y="159"/>
                    <a:pt x="216" y="159"/>
                  </a:cubicBezTo>
                  <a:cubicBezTo>
                    <a:pt x="216" y="166"/>
                    <a:pt x="216" y="172"/>
                    <a:pt x="214" y="179"/>
                  </a:cubicBezTo>
                  <a:cubicBezTo>
                    <a:pt x="213" y="191"/>
                    <a:pt x="210" y="204"/>
                    <a:pt x="206" y="217"/>
                  </a:cubicBezTo>
                  <a:cubicBezTo>
                    <a:pt x="205" y="218"/>
                    <a:pt x="204" y="219"/>
                    <a:pt x="203" y="219"/>
                  </a:cubicBezTo>
                  <a:cubicBezTo>
                    <a:pt x="189" y="219"/>
                    <a:pt x="175" y="219"/>
                    <a:pt x="162" y="219"/>
                  </a:cubicBezTo>
                  <a:close/>
                  <a:moveTo>
                    <a:pt x="160" y="144"/>
                  </a:moveTo>
                  <a:cubicBezTo>
                    <a:pt x="160" y="124"/>
                    <a:pt x="160" y="104"/>
                    <a:pt x="160" y="84"/>
                  </a:cubicBezTo>
                  <a:cubicBezTo>
                    <a:pt x="161" y="84"/>
                    <a:pt x="162" y="83"/>
                    <a:pt x="162" y="83"/>
                  </a:cubicBezTo>
                  <a:cubicBezTo>
                    <a:pt x="176" y="83"/>
                    <a:pt x="189" y="83"/>
                    <a:pt x="202" y="83"/>
                  </a:cubicBezTo>
                  <a:cubicBezTo>
                    <a:pt x="204" y="83"/>
                    <a:pt x="205" y="83"/>
                    <a:pt x="206" y="85"/>
                  </a:cubicBezTo>
                  <a:cubicBezTo>
                    <a:pt x="212" y="104"/>
                    <a:pt x="216" y="123"/>
                    <a:pt x="216" y="143"/>
                  </a:cubicBezTo>
                  <a:cubicBezTo>
                    <a:pt x="216" y="143"/>
                    <a:pt x="216" y="143"/>
                    <a:pt x="216" y="144"/>
                  </a:cubicBezTo>
                  <a:cubicBezTo>
                    <a:pt x="197" y="144"/>
                    <a:pt x="179" y="144"/>
                    <a:pt x="160" y="144"/>
                  </a:cubicBezTo>
                  <a:close/>
                  <a:moveTo>
                    <a:pt x="184" y="284"/>
                  </a:moveTo>
                  <a:cubicBezTo>
                    <a:pt x="186" y="282"/>
                    <a:pt x="186" y="281"/>
                    <a:pt x="187" y="280"/>
                  </a:cubicBezTo>
                  <a:cubicBezTo>
                    <a:pt x="198" y="267"/>
                    <a:pt x="208" y="252"/>
                    <a:pt x="214" y="236"/>
                  </a:cubicBezTo>
                  <a:cubicBezTo>
                    <a:pt x="215" y="235"/>
                    <a:pt x="216" y="234"/>
                    <a:pt x="217" y="234"/>
                  </a:cubicBezTo>
                  <a:cubicBezTo>
                    <a:pt x="231" y="234"/>
                    <a:pt x="246" y="234"/>
                    <a:pt x="260" y="234"/>
                  </a:cubicBezTo>
                  <a:cubicBezTo>
                    <a:pt x="260" y="234"/>
                    <a:pt x="260" y="234"/>
                    <a:pt x="262" y="234"/>
                  </a:cubicBezTo>
                  <a:cubicBezTo>
                    <a:pt x="241" y="259"/>
                    <a:pt x="216" y="276"/>
                    <a:pt x="184" y="284"/>
                  </a:cubicBezTo>
                  <a:close/>
                  <a:moveTo>
                    <a:pt x="286" y="181"/>
                  </a:moveTo>
                  <a:cubicBezTo>
                    <a:pt x="283" y="193"/>
                    <a:pt x="278" y="205"/>
                    <a:pt x="272" y="217"/>
                  </a:cubicBezTo>
                  <a:cubicBezTo>
                    <a:pt x="271" y="218"/>
                    <a:pt x="271" y="219"/>
                    <a:pt x="269" y="219"/>
                  </a:cubicBezTo>
                  <a:cubicBezTo>
                    <a:pt x="253" y="219"/>
                    <a:pt x="238" y="219"/>
                    <a:pt x="222" y="219"/>
                  </a:cubicBezTo>
                  <a:cubicBezTo>
                    <a:pt x="222" y="219"/>
                    <a:pt x="221" y="219"/>
                    <a:pt x="220" y="219"/>
                  </a:cubicBezTo>
                  <a:cubicBezTo>
                    <a:pt x="227" y="199"/>
                    <a:pt x="230" y="179"/>
                    <a:pt x="231" y="159"/>
                  </a:cubicBezTo>
                  <a:cubicBezTo>
                    <a:pt x="250" y="159"/>
                    <a:pt x="269" y="159"/>
                    <a:pt x="289" y="159"/>
                  </a:cubicBezTo>
                  <a:cubicBezTo>
                    <a:pt x="288" y="166"/>
                    <a:pt x="287" y="173"/>
                    <a:pt x="286" y="181"/>
                  </a:cubicBezTo>
                  <a:close/>
                  <a:moveTo>
                    <a:pt x="272" y="85"/>
                  </a:moveTo>
                  <a:cubicBezTo>
                    <a:pt x="281" y="103"/>
                    <a:pt x="287" y="121"/>
                    <a:pt x="288" y="140"/>
                  </a:cubicBezTo>
                  <a:cubicBezTo>
                    <a:pt x="288" y="141"/>
                    <a:pt x="288" y="143"/>
                    <a:pt x="288" y="144"/>
                  </a:cubicBezTo>
                  <a:cubicBezTo>
                    <a:pt x="269" y="144"/>
                    <a:pt x="250" y="144"/>
                    <a:pt x="231" y="144"/>
                  </a:cubicBezTo>
                  <a:cubicBezTo>
                    <a:pt x="230" y="123"/>
                    <a:pt x="227" y="103"/>
                    <a:pt x="221" y="84"/>
                  </a:cubicBezTo>
                  <a:cubicBezTo>
                    <a:pt x="222" y="84"/>
                    <a:pt x="223" y="84"/>
                    <a:pt x="224" y="84"/>
                  </a:cubicBezTo>
                  <a:cubicBezTo>
                    <a:pt x="239" y="84"/>
                    <a:pt x="254" y="84"/>
                    <a:pt x="269" y="84"/>
                  </a:cubicBezTo>
                  <a:cubicBezTo>
                    <a:pt x="270" y="84"/>
                    <a:pt x="271" y="85"/>
                    <a:pt x="272" y="85"/>
                  </a:cubicBezTo>
                  <a:close/>
                  <a:moveTo>
                    <a:pt x="261" y="68"/>
                  </a:moveTo>
                  <a:cubicBezTo>
                    <a:pt x="261" y="68"/>
                    <a:pt x="260" y="69"/>
                    <a:pt x="260" y="69"/>
                  </a:cubicBezTo>
                  <a:cubicBezTo>
                    <a:pt x="259" y="69"/>
                    <a:pt x="258" y="69"/>
                    <a:pt x="257" y="69"/>
                  </a:cubicBezTo>
                  <a:cubicBezTo>
                    <a:pt x="244" y="69"/>
                    <a:pt x="231" y="69"/>
                    <a:pt x="218" y="69"/>
                  </a:cubicBezTo>
                  <a:cubicBezTo>
                    <a:pt x="216" y="69"/>
                    <a:pt x="215" y="69"/>
                    <a:pt x="214" y="67"/>
                  </a:cubicBezTo>
                  <a:cubicBezTo>
                    <a:pt x="207" y="50"/>
                    <a:pt x="197" y="35"/>
                    <a:pt x="186" y="20"/>
                  </a:cubicBezTo>
                  <a:cubicBezTo>
                    <a:pt x="185" y="20"/>
                    <a:pt x="185" y="19"/>
                    <a:pt x="185" y="19"/>
                  </a:cubicBezTo>
                  <a:cubicBezTo>
                    <a:pt x="216" y="27"/>
                    <a:pt x="241" y="43"/>
                    <a:pt x="261" y="68"/>
                  </a:cubicBezTo>
                  <a:close/>
                  <a:moveTo>
                    <a:pt x="160" y="16"/>
                  </a:moveTo>
                  <a:cubicBezTo>
                    <a:pt x="170" y="21"/>
                    <a:pt x="195" y="56"/>
                    <a:pt x="198" y="69"/>
                  </a:cubicBezTo>
                  <a:cubicBezTo>
                    <a:pt x="186" y="69"/>
                    <a:pt x="173" y="69"/>
                    <a:pt x="160" y="69"/>
                  </a:cubicBezTo>
                  <a:cubicBezTo>
                    <a:pt x="160" y="51"/>
                    <a:pt x="160" y="33"/>
                    <a:pt x="160" y="16"/>
                  </a:cubicBezTo>
                  <a:close/>
                  <a:moveTo>
                    <a:pt x="82" y="219"/>
                  </a:moveTo>
                  <a:cubicBezTo>
                    <a:pt x="67" y="219"/>
                    <a:pt x="52" y="219"/>
                    <a:pt x="37" y="219"/>
                  </a:cubicBezTo>
                  <a:cubicBezTo>
                    <a:pt x="36" y="219"/>
                    <a:pt x="34" y="218"/>
                    <a:pt x="34" y="217"/>
                  </a:cubicBezTo>
                  <a:cubicBezTo>
                    <a:pt x="24" y="201"/>
                    <a:pt x="19" y="183"/>
                    <a:pt x="17" y="164"/>
                  </a:cubicBezTo>
                  <a:cubicBezTo>
                    <a:pt x="17" y="163"/>
                    <a:pt x="17" y="161"/>
                    <a:pt x="17" y="161"/>
                  </a:cubicBezTo>
                  <a:cubicBezTo>
                    <a:pt x="17" y="160"/>
                    <a:pt x="17" y="160"/>
                    <a:pt x="17" y="159"/>
                  </a:cubicBezTo>
                  <a:cubicBezTo>
                    <a:pt x="36" y="159"/>
                    <a:pt x="55" y="159"/>
                    <a:pt x="74" y="159"/>
                  </a:cubicBezTo>
                  <a:cubicBezTo>
                    <a:pt x="75" y="179"/>
                    <a:pt x="78" y="199"/>
                    <a:pt x="84" y="219"/>
                  </a:cubicBezTo>
                  <a:cubicBezTo>
                    <a:pt x="83" y="219"/>
                    <a:pt x="82" y="219"/>
                    <a:pt x="82" y="219"/>
                  </a:cubicBezTo>
                  <a:close/>
                  <a:moveTo>
                    <a:pt x="145" y="219"/>
                  </a:moveTo>
                  <a:cubicBezTo>
                    <a:pt x="144" y="219"/>
                    <a:pt x="143" y="219"/>
                    <a:pt x="142" y="219"/>
                  </a:cubicBezTo>
                  <a:cubicBezTo>
                    <a:pt x="129" y="219"/>
                    <a:pt x="116" y="219"/>
                    <a:pt x="102" y="219"/>
                  </a:cubicBezTo>
                  <a:cubicBezTo>
                    <a:pt x="101" y="219"/>
                    <a:pt x="100" y="219"/>
                    <a:pt x="99" y="217"/>
                  </a:cubicBezTo>
                  <a:cubicBezTo>
                    <a:pt x="93" y="199"/>
                    <a:pt x="89" y="180"/>
                    <a:pt x="89" y="161"/>
                  </a:cubicBezTo>
                  <a:cubicBezTo>
                    <a:pt x="89" y="160"/>
                    <a:pt x="89" y="160"/>
                    <a:pt x="89" y="159"/>
                  </a:cubicBezTo>
                  <a:cubicBezTo>
                    <a:pt x="107" y="159"/>
                    <a:pt x="126" y="159"/>
                    <a:pt x="145" y="159"/>
                  </a:cubicBezTo>
                  <a:cubicBezTo>
                    <a:pt x="145" y="179"/>
                    <a:pt x="145" y="199"/>
                    <a:pt x="145" y="219"/>
                  </a:cubicBezTo>
                  <a:close/>
                  <a:moveTo>
                    <a:pt x="145" y="144"/>
                  </a:moveTo>
                  <a:cubicBezTo>
                    <a:pt x="126" y="144"/>
                    <a:pt x="108" y="144"/>
                    <a:pt x="88" y="144"/>
                  </a:cubicBezTo>
                  <a:cubicBezTo>
                    <a:pt x="89" y="139"/>
                    <a:pt x="89" y="134"/>
                    <a:pt x="90" y="129"/>
                  </a:cubicBezTo>
                  <a:cubicBezTo>
                    <a:pt x="91" y="114"/>
                    <a:pt x="94" y="100"/>
                    <a:pt x="99" y="86"/>
                  </a:cubicBezTo>
                  <a:cubicBezTo>
                    <a:pt x="100" y="84"/>
                    <a:pt x="100" y="83"/>
                    <a:pt x="102" y="83"/>
                  </a:cubicBezTo>
                  <a:cubicBezTo>
                    <a:pt x="116" y="83"/>
                    <a:pt x="128" y="83"/>
                    <a:pt x="142" y="83"/>
                  </a:cubicBezTo>
                  <a:cubicBezTo>
                    <a:pt x="142" y="83"/>
                    <a:pt x="143" y="83"/>
                    <a:pt x="144" y="83"/>
                  </a:cubicBezTo>
                  <a:cubicBezTo>
                    <a:pt x="145" y="104"/>
                    <a:pt x="145" y="124"/>
                    <a:pt x="145" y="144"/>
                  </a:cubicBezTo>
                  <a:close/>
                  <a:moveTo>
                    <a:pt x="145" y="16"/>
                  </a:moveTo>
                  <a:cubicBezTo>
                    <a:pt x="145" y="33"/>
                    <a:pt x="145" y="51"/>
                    <a:pt x="145" y="69"/>
                  </a:cubicBezTo>
                  <a:cubicBezTo>
                    <a:pt x="132" y="69"/>
                    <a:pt x="119" y="69"/>
                    <a:pt x="106" y="69"/>
                  </a:cubicBezTo>
                  <a:cubicBezTo>
                    <a:pt x="110" y="57"/>
                    <a:pt x="132" y="25"/>
                    <a:pt x="145" y="16"/>
                  </a:cubicBezTo>
                  <a:close/>
                  <a:moveTo>
                    <a:pt x="120" y="19"/>
                  </a:moveTo>
                  <a:cubicBezTo>
                    <a:pt x="116" y="25"/>
                    <a:pt x="112" y="30"/>
                    <a:pt x="108" y="36"/>
                  </a:cubicBezTo>
                  <a:cubicBezTo>
                    <a:pt x="101" y="45"/>
                    <a:pt x="96" y="56"/>
                    <a:pt x="91" y="67"/>
                  </a:cubicBezTo>
                  <a:cubicBezTo>
                    <a:pt x="90" y="68"/>
                    <a:pt x="90" y="69"/>
                    <a:pt x="88" y="69"/>
                  </a:cubicBezTo>
                  <a:cubicBezTo>
                    <a:pt x="74" y="69"/>
                    <a:pt x="60" y="69"/>
                    <a:pt x="46" y="69"/>
                  </a:cubicBezTo>
                  <a:cubicBezTo>
                    <a:pt x="46" y="69"/>
                    <a:pt x="45" y="69"/>
                    <a:pt x="44" y="69"/>
                  </a:cubicBezTo>
                  <a:cubicBezTo>
                    <a:pt x="64" y="43"/>
                    <a:pt x="89" y="27"/>
                    <a:pt x="120" y="19"/>
                  </a:cubicBezTo>
                  <a:close/>
                  <a:moveTo>
                    <a:pt x="17" y="133"/>
                  </a:moveTo>
                  <a:cubicBezTo>
                    <a:pt x="20" y="116"/>
                    <a:pt x="25" y="101"/>
                    <a:pt x="33" y="86"/>
                  </a:cubicBezTo>
                  <a:cubicBezTo>
                    <a:pt x="33" y="85"/>
                    <a:pt x="34" y="84"/>
                    <a:pt x="35" y="84"/>
                  </a:cubicBezTo>
                  <a:cubicBezTo>
                    <a:pt x="51" y="84"/>
                    <a:pt x="68" y="84"/>
                    <a:pt x="84" y="84"/>
                  </a:cubicBezTo>
                  <a:cubicBezTo>
                    <a:pt x="78" y="104"/>
                    <a:pt x="74" y="124"/>
                    <a:pt x="74" y="144"/>
                  </a:cubicBezTo>
                  <a:cubicBezTo>
                    <a:pt x="54" y="144"/>
                    <a:pt x="36" y="144"/>
                    <a:pt x="16" y="144"/>
                  </a:cubicBezTo>
                  <a:cubicBezTo>
                    <a:pt x="17" y="140"/>
                    <a:pt x="17" y="137"/>
                    <a:pt x="1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36" name="Freeform 31"/>
            <p:cNvSpPr>
              <a:spLocks/>
            </p:cNvSpPr>
            <p:nvPr/>
          </p:nvSpPr>
          <p:spPr bwMode="auto">
            <a:xfrm>
              <a:off x="3272" y="1813"/>
              <a:ext cx="108" cy="69"/>
            </a:xfrm>
            <a:custGeom>
              <a:avLst/>
              <a:gdLst>
                <a:gd name="T0" fmla="*/ 46 w 46"/>
                <a:gd name="T1" fmla="*/ 0 h 29"/>
                <a:gd name="T2" fmla="*/ 12 w 46"/>
                <a:gd name="T3" fmla="*/ 14 h 29"/>
                <a:gd name="T4" fmla="*/ 0 w 46"/>
                <a:gd name="T5" fmla="*/ 29 h 29"/>
                <a:gd name="T6" fmla="*/ 20 w 46"/>
                <a:gd name="T7" fmla="*/ 29 h 29"/>
                <a:gd name="T8" fmla="*/ 46 w 46"/>
                <a:gd name="T9" fmla="*/ 0 h 29"/>
              </a:gdLst>
              <a:ahLst/>
              <a:cxnLst>
                <a:cxn ang="0">
                  <a:pos x="T0" y="T1"/>
                </a:cxn>
                <a:cxn ang="0">
                  <a:pos x="T2" y="T3"/>
                </a:cxn>
                <a:cxn ang="0">
                  <a:pos x="T4" y="T5"/>
                </a:cxn>
                <a:cxn ang="0">
                  <a:pos x="T6" y="T7"/>
                </a:cxn>
                <a:cxn ang="0">
                  <a:pos x="T8" y="T9"/>
                </a:cxn>
              </a:cxnLst>
              <a:rect l="0" t="0" r="r" b="b"/>
              <a:pathLst>
                <a:path w="46" h="29">
                  <a:moveTo>
                    <a:pt x="46" y="0"/>
                  </a:moveTo>
                  <a:cubicBezTo>
                    <a:pt x="35" y="6"/>
                    <a:pt x="24" y="10"/>
                    <a:pt x="12" y="14"/>
                  </a:cubicBezTo>
                  <a:cubicBezTo>
                    <a:pt x="7" y="19"/>
                    <a:pt x="2" y="25"/>
                    <a:pt x="0" y="29"/>
                  </a:cubicBezTo>
                  <a:cubicBezTo>
                    <a:pt x="20" y="29"/>
                    <a:pt x="20" y="29"/>
                    <a:pt x="20" y="29"/>
                  </a:cubicBez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37" name="Freeform 32"/>
            <p:cNvSpPr>
              <a:spLocks/>
            </p:cNvSpPr>
            <p:nvPr/>
          </p:nvSpPr>
          <p:spPr bwMode="auto">
            <a:xfrm>
              <a:off x="2771" y="1782"/>
              <a:ext cx="777" cy="265"/>
            </a:xfrm>
            <a:custGeom>
              <a:avLst/>
              <a:gdLst>
                <a:gd name="T0" fmla="*/ 328 w 329"/>
                <a:gd name="T1" fmla="*/ 13 h 112"/>
                <a:gd name="T2" fmla="*/ 315 w 329"/>
                <a:gd name="T3" fmla="*/ 0 h 112"/>
                <a:gd name="T4" fmla="*/ 305 w 329"/>
                <a:gd name="T5" fmla="*/ 4 h 112"/>
                <a:gd name="T6" fmla="*/ 305 w 329"/>
                <a:gd name="T7" fmla="*/ 4 h 112"/>
                <a:gd name="T8" fmla="*/ 304 w 329"/>
                <a:gd name="T9" fmla="*/ 5 h 112"/>
                <a:gd name="T10" fmla="*/ 301 w 329"/>
                <a:gd name="T11" fmla="*/ 8 h 112"/>
                <a:gd name="T12" fmla="*/ 278 w 329"/>
                <a:gd name="T13" fmla="*/ 31 h 112"/>
                <a:gd name="T14" fmla="*/ 263 w 329"/>
                <a:gd name="T15" fmla="*/ 46 h 112"/>
                <a:gd name="T16" fmla="*/ 134 w 329"/>
                <a:gd name="T17" fmla="*/ 46 h 112"/>
                <a:gd name="T18" fmla="*/ 125 w 329"/>
                <a:gd name="T19" fmla="*/ 40 h 112"/>
                <a:gd name="T20" fmla="*/ 190 w 329"/>
                <a:gd name="T21" fmla="*/ 40 h 112"/>
                <a:gd name="T22" fmla="*/ 194 w 329"/>
                <a:gd name="T23" fmla="*/ 39 h 112"/>
                <a:gd name="T24" fmla="*/ 205 w 329"/>
                <a:gd name="T25" fmla="*/ 24 h 112"/>
                <a:gd name="T26" fmla="*/ 189 w 329"/>
                <a:gd name="T27" fmla="*/ 8 h 112"/>
                <a:gd name="T28" fmla="*/ 186 w 329"/>
                <a:gd name="T29" fmla="*/ 8 h 112"/>
                <a:gd name="T30" fmla="*/ 115 w 329"/>
                <a:gd name="T31" fmla="*/ 8 h 112"/>
                <a:gd name="T32" fmla="*/ 43 w 329"/>
                <a:gd name="T33" fmla="*/ 49 h 112"/>
                <a:gd name="T34" fmla="*/ 0 w 329"/>
                <a:gd name="T35" fmla="*/ 112 h 112"/>
                <a:gd name="T36" fmla="*/ 104 w 329"/>
                <a:gd name="T37" fmla="*/ 112 h 112"/>
                <a:gd name="T38" fmla="*/ 132 w 329"/>
                <a:gd name="T39" fmla="*/ 87 h 112"/>
                <a:gd name="T40" fmla="*/ 240 w 329"/>
                <a:gd name="T41" fmla="*/ 87 h 112"/>
                <a:gd name="T42" fmla="*/ 274 w 329"/>
                <a:gd name="T43" fmla="*/ 76 h 112"/>
                <a:gd name="T44" fmla="*/ 278 w 329"/>
                <a:gd name="T45" fmla="*/ 72 h 112"/>
                <a:gd name="T46" fmla="*/ 324 w 329"/>
                <a:gd name="T47" fmla="*/ 24 h 112"/>
                <a:gd name="T48" fmla="*/ 324 w 329"/>
                <a:gd name="T49" fmla="*/ 24 h 112"/>
                <a:gd name="T50" fmla="*/ 327 w 329"/>
                <a:gd name="T51" fmla="*/ 20 h 112"/>
                <a:gd name="T52" fmla="*/ 329 w 329"/>
                <a:gd name="T53" fmla="*/ 15 h 112"/>
                <a:gd name="T54" fmla="*/ 328 w 329"/>
                <a:gd name="T55" fmla="*/ 1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9" h="112">
                  <a:moveTo>
                    <a:pt x="328" y="13"/>
                  </a:moveTo>
                  <a:cubicBezTo>
                    <a:pt x="328" y="6"/>
                    <a:pt x="322" y="0"/>
                    <a:pt x="315" y="0"/>
                  </a:cubicBezTo>
                  <a:cubicBezTo>
                    <a:pt x="311" y="0"/>
                    <a:pt x="308" y="1"/>
                    <a:pt x="305" y="4"/>
                  </a:cubicBezTo>
                  <a:cubicBezTo>
                    <a:pt x="305" y="4"/>
                    <a:pt x="305" y="4"/>
                    <a:pt x="305" y="4"/>
                  </a:cubicBezTo>
                  <a:cubicBezTo>
                    <a:pt x="304" y="5"/>
                    <a:pt x="304" y="5"/>
                    <a:pt x="304" y="5"/>
                  </a:cubicBezTo>
                  <a:cubicBezTo>
                    <a:pt x="302" y="6"/>
                    <a:pt x="301" y="8"/>
                    <a:pt x="301" y="8"/>
                  </a:cubicBezTo>
                  <a:cubicBezTo>
                    <a:pt x="278" y="31"/>
                    <a:pt x="278" y="31"/>
                    <a:pt x="278" y="31"/>
                  </a:cubicBezTo>
                  <a:cubicBezTo>
                    <a:pt x="263" y="46"/>
                    <a:pt x="263" y="46"/>
                    <a:pt x="263" y="46"/>
                  </a:cubicBezTo>
                  <a:cubicBezTo>
                    <a:pt x="134" y="46"/>
                    <a:pt x="134" y="46"/>
                    <a:pt x="134" y="46"/>
                  </a:cubicBezTo>
                  <a:cubicBezTo>
                    <a:pt x="116" y="46"/>
                    <a:pt x="125" y="40"/>
                    <a:pt x="125" y="40"/>
                  </a:cubicBezTo>
                  <a:cubicBezTo>
                    <a:pt x="125" y="40"/>
                    <a:pt x="183" y="40"/>
                    <a:pt x="190" y="40"/>
                  </a:cubicBezTo>
                  <a:cubicBezTo>
                    <a:pt x="192" y="40"/>
                    <a:pt x="193" y="39"/>
                    <a:pt x="194" y="39"/>
                  </a:cubicBezTo>
                  <a:cubicBezTo>
                    <a:pt x="200" y="37"/>
                    <a:pt x="205" y="31"/>
                    <a:pt x="205" y="24"/>
                  </a:cubicBezTo>
                  <a:cubicBezTo>
                    <a:pt x="205" y="15"/>
                    <a:pt x="198" y="8"/>
                    <a:pt x="189" y="8"/>
                  </a:cubicBezTo>
                  <a:cubicBezTo>
                    <a:pt x="188" y="8"/>
                    <a:pt x="187" y="8"/>
                    <a:pt x="186" y="8"/>
                  </a:cubicBezTo>
                  <a:cubicBezTo>
                    <a:pt x="115" y="8"/>
                    <a:pt x="115" y="8"/>
                    <a:pt x="115" y="8"/>
                  </a:cubicBezTo>
                  <a:cubicBezTo>
                    <a:pt x="55" y="8"/>
                    <a:pt x="43" y="49"/>
                    <a:pt x="43" y="49"/>
                  </a:cubicBezTo>
                  <a:cubicBezTo>
                    <a:pt x="0" y="112"/>
                    <a:pt x="0" y="112"/>
                    <a:pt x="0" y="112"/>
                  </a:cubicBezTo>
                  <a:cubicBezTo>
                    <a:pt x="104" y="112"/>
                    <a:pt x="104" y="112"/>
                    <a:pt x="104" y="112"/>
                  </a:cubicBezTo>
                  <a:cubicBezTo>
                    <a:pt x="112" y="89"/>
                    <a:pt x="132" y="87"/>
                    <a:pt x="132" y="87"/>
                  </a:cubicBezTo>
                  <a:cubicBezTo>
                    <a:pt x="240" y="87"/>
                    <a:pt x="240" y="87"/>
                    <a:pt x="240" y="87"/>
                  </a:cubicBezTo>
                  <a:cubicBezTo>
                    <a:pt x="260" y="87"/>
                    <a:pt x="274" y="76"/>
                    <a:pt x="274" y="76"/>
                  </a:cubicBezTo>
                  <a:cubicBezTo>
                    <a:pt x="278" y="72"/>
                    <a:pt x="278" y="72"/>
                    <a:pt x="278" y="72"/>
                  </a:cubicBezTo>
                  <a:cubicBezTo>
                    <a:pt x="324" y="24"/>
                    <a:pt x="324" y="24"/>
                    <a:pt x="324" y="24"/>
                  </a:cubicBezTo>
                  <a:cubicBezTo>
                    <a:pt x="324" y="24"/>
                    <a:pt x="324" y="24"/>
                    <a:pt x="324" y="24"/>
                  </a:cubicBezTo>
                  <a:cubicBezTo>
                    <a:pt x="326" y="23"/>
                    <a:pt x="326" y="21"/>
                    <a:pt x="327" y="20"/>
                  </a:cubicBezTo>
                  <a:cubicBezTo>
                    <a:pt x="328" y="18"/>
                    <a:pt x="329" y="16"/>
                    <a:pt x="329" y="15"/>
                  </a:cubicBezTo>
                  <a:cubicBezTo>
                    <a:pt x="328" y="14"/>
                    <a:pt x="328" y="14"/>
                    <a:pt x="32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38" name="Freeform 33"/>
            <p:cNvSpPr>
              <a:spLocks/>
            </p:cNvSpPr>
            <p:nvPr/>
          </p:nvSpPr>
          <p:spPr bwMode="auto">
            <a:xfrm>
              <a:off x="3333" y="1775"/>
              <a:ext cx="128" cy="104"/>
            </a:xfrm>
            <a:custGeom>
              <a:avLst/>
              <a:gdLst>
                <a:gd name="T0" fmla="*/ 22 w 54"/>
                <a:gd name="T1" fmla="*/ 44 h 44"/>
                <a:gd name="T2" fmla="*/ 51 w 54"/>
                <a:gd name="T3" fmla="*/ 14 h 44"/>
                <a:gd name="T4" fmla="*/ 51 w 54"/>
                <a:gd name="T5" fmla="*/ 14 h 44"/>
                <a:gd name="T6" fmla="*/ 54 w 54"/>
                <a:gd name="T7" fmla="*/ 8 h 44"/>
                <a:gd name="T8" fmla="*/ 46 w 54"/>
                <a:gd name="T9" fmla="*/ 0 h 44"/>
                <a:gd name="T10" fmla="*/ 40 w 54"/>
                <a:gd name="T11" fmla="*/ 3 h 44"/>
                <a:gd name="T12" fmla="*/ 40 w 54"/>
                <a:gd name="T13" fmla="*/ 3 h 44"/>
                <a:gd name="T14" fmla="*/ 0 w 54"/>
                <a:gd name="T15" fmla="*/ 44 h 44"/>
                <a:gd name="T16" fmla="*/ 22 w 54"/>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4">
                  <a:moveTo>
                    <a:pt x="22" y="44"/>
                  </a:moveTo>
                  <a:cubicBezTo>
                    <a:pt x="51" y="14"/>
                    <a:pt x="51" y="14"/>
                    <a:pt x="51" y="14"/>
                  </a:cubicBezTo>
                  <a:cubicBezTo>
                    <a:pt x="51" y="14"/>
                    <a:pt x="51" y="14"/>
                    <a:pt x="51" y="14"/>
                  </a:cubicBezTo>
                  <a:cubicBezTo>
                    <a:pt x="53" y="12"/>
                    <a:pt x="54" y="10"/>
                    <a:pt x="54" y="8"/>
                  </a:cubicBezTo>
                  <a:cubicBezTo>
                    <a:pt x="54" y="4"/>
                    <a:pt x="50" y="0"/>
                    <a:pt x="46" y="0"/>
                  </a:cubicBezTo>
                  <a:cubicBezTo>
                    <a:pt x="43" y="0"/>
                    <a:pt x="41" y="1"/>
                    <a:pt x="40" y="3"/>
                  </a:cubicBezTo>
                  <a:cubicBezTo>
                    <a:pt x="40" y="3"/>
                    <a:pt x="40" y="3"/>
                    <a:pt x="40" y="3"/>
                  </a:cubicBezTo>
                  <a:cubicBezTo>
                    <a:pt x="40" y="3"/>
                    <a:pt x="8" y="33"/>
                    <a:pt x="0" y="44"/>
                  </a:cubicBez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042" name="Freeform 38"/>
          <p:cNvSpPr>
            <a:spLocks noEditPoints="1"/>
          </p:cNvSpPr>
          <p:nvPr/>
        </p:nvSpPr>
        <p:spPr bwMode="auto">
          <a:xfrm>
            <a:off x="4838135" y="3296557"/>
            <a:ext cx="378302" cy="378302"/>
          </a:xfrm>
          <a:custGeom>
            <a:avLst/>
            <a:gdLst>
              <a:gd name="T0" fmla="*/ 380 w 393"/>
              <a:gd name="T1" fmla="*/ 161 h 393"/>
              <a:gd name="T2" fmla="*/ 341 w 393"/>
              <a:gd name="T3" fmla="*/ 149 h 393"/>
              <a:gd name="T4" fmla="*/ 335 w 393"/>
              <a:gd name="T5" fmla="*/ 111 h 393"/>
              <a:gd name="T6" fmla="*/ 351 w 393"/>
              <a:gd name="T7" fmla="*/ 77 h 393"/>
              <a:gd name="T8" fmla="*/ 301 w 393"/>
              <a:gd name="T9" fmla="*/ 42 h 393"/>
              <a:gd name="T10" fmla="*/ 266 w 393"/>
              <a:gd name="T11" fmla="*/ 61 h 393"/>
              <a:gd name="T12" fmla="*/ 233 w 393"/>
              <a:gd name="T13" fmla="*/ 38 h 393"/>
              <a:gd name="T14" fmla="*/ 221 w 393"/>
              <a:gd name="T15" fmla="*/ 2 h 393"/>
              <a:gd name="T16" fmla="*/ 171 w 393"/>
              <a:gd name="T17" fmla="*/ 2 h 393"/>
              <a:gd name="T18" fmla="*/ 159 w 393"/>
              <a:gd name="T19" fmla="*/ 38 h 393"/>
              <a:gd name="T20" fmla="*/ 127 w 393"/>
              <a:gd name="T21" fmla="*/ 61 h 393"/>
              <a:gd name="T22" fmla="*/ 92 w 393"/>
              <a:gd name="T23" fmla="*/ 42 h 393"/>
              <a:gd name="T24" fmla="*/ 42 w 393"/>
              <a:gd name="T25" fmla="*/ 77 h 393"/>
              <a:gd name="T26" fmla="*/ 58 w 393"/>
              <a:gd name="T27" fmla="*/ 111 h 393"/>
              <a:gd name="T28" fmla="*/ 51 w 393"/>
              <a:gd name="T29" fmla="*/ 149 h 393"/>
              <a:gd name="T30" fmla="*/ 13 w 393"/>
              <a:gd name="T31" fmla="*/ 161 h 393"/>
              <a:gd name="T32" fmla="*/ 0 w 393"/>
              <a:gd name="T33" fmla="*/ 197 h 393"/>
              <a:gd name="T34" fmla="*/ 13 w 393"/>
              <a:gd name="T35" fmla="*/ 232 h 393"/>
              <a:gd name="T36" fmla="*/ 51 w 393"/>
              <a:gd name="T37" fmla="*/ 244 h 393"/>
              <a:gd name="T38" fmla="*/ 58 w 393"/>
              <a:gd name="T39" fmla="*/ 282 h 393"/>
              <a:gd name="T40" fmla="*/ 42 w 393"/>
              <a:gd name="T41" fmla="*/ 316 h 393"/>
              <a:gd name="T42" fmla="*/ 92 w 393"/>
              <a:gd name="T43" fmla="*/ 351 h 393"/>
              <a:gd name="T44" fmla="*/ 127 w 393"/>
              <a:gd name="T45" fmla="*/ 333 h 393"/>
              <a:gd name="T46" fmla="*/ 159 w 393"/>
              <a:gd name="T47" fmla="*/ 355 h 393"/>
              <a:gd name="T48" fmla="*/ 171 w 393"/>
              <a:gd name="T49" fmla="*/ 391 h 393"/>
              <a:gd name="T50" fmla="*/ 221 w 393"/>
              <a:gd name="T51" fmla="*/ 391 h 393"/>
              <a:gd name="T52" fmla="*/ 233 w 393"/>
              <a:gd name="T53" fmla="*/ 355 h 393"/>
              <a:gd name="T54" fmla="*/ 266 w 393"/>
              <a:gd name="T55" fmla="*/ 333 h 393"/>
              <a:gd name="T56" fmla="*/ 301 w 393"/>
              <a:gd name="T57" fmla="*/ 351 h 393"/>
              <a:gd name="T58" fmla="*/ 351 w 393"/>
              <a:gd name="T59" fmla="*/ 316 h 393"/>
              <a:gd name="T60" fmla="*/ 335 w 393"/>
              <a:gd name="T61" fmla="*/ 282 h 393"/>
              <a:gd name="T62" fmla="*/ 341 w 393"/>
              <a:gd name="T63" fmla="*/ 244 h 393"/>
              <a:gd name="T64" fmla="*/ 380 w 393"/>
              <a:gd name="T65" fmla="*/ 232 h 393"/>
              <a:gd name="T66" fmla="*/ 393 w 393"/>
              <a:gd name="T67" fmla="*/ 197 h 393"/>
              <a:gd name="T68" fmla="*/ 196 w 393"/>
              <a:gd name="T69" fmla="*/ 246 h 393"/>
              <a:gd name="T70" fmla="*/ 196 w 393"/>
              <a:gd name="T71" fmla="*/ 147 h 393"/>
              <a:gd name="T72" fmla="*/ 196 w 393"/>
              <a:gd name="T73" fmla="*/ 24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3" h="393">
                <a:moveTo>
                  <a:pt x="391" y="172"/>
                </a:moveTo>
                <a:cubicBezTo>
                  <a:pt x="390" y="166"/>
                  <a:pt x="385" y="161"/>
                  <a:pt x="380" y="161"/>
                </a:cubicBezTo>
                <a:cubicBezTo>
                  <a:pt x="355" y="160"/>
                  <a:pt x="355" y="160"/>
                  <a:pt x="355" y="160"/>
                </a:cubicBezTo>
                <a:cubicBezTo>
                  <a:pt x="349" y="159"/>
                  <a:pt x="343" y="155"/>
                  <a:pt x="341" y="149"/>
                </a:cubicBezTo>
                <a:cubicBezTo>
                  <a:pt x="332" y="127"/>
                  <a:pt x="332" y="127"/>
                  <a:pt x="332" y="127"/>
                </a:cubicBezTo>
                <a:cubicBezTo>
                  <a:pt x="330" y="122"/>
                  <a:pt x="331" y="115"/>
                  <a:pt x="335" y="111"/>
                </a:cubicBezTo>
                <a:cubicBezTo>
                  <a:pt x="351" y="92"/>
                  <a:pt x="351" y="92"/>
                  <a:pt x="351" y="92"/>
                </a:cubicBezTo>
                <a:cubicBezTo>
                  <a:pt x="355" y="88"/>
                  <a:pt x="355" y="81"/>
                  <a:pt x="351" y="77"/>
                </a:cubicBezTo>
                <a:cubicBezTo>
                  <a:pt x="316" y="42"/>
                  <a:pt x="316" y="42"/>
                  <a:pt x="316" y="42"/>
                </a:cubicBezTo>
                <a:cubicBezTo>
                  <a:pt x="312" y="38"/>
                  <a:pt x="305" y="38"/>
                  <a:pt x="301" y="42"/>
                </a:cubicBezTo>
                <a:cubicBezTo>
                  <a:pt x="282" y="58"/>
                  <a:pt x="282" y="58"/>
                  <a:pt x="282" y="58"/>
                </a:cubicBezTo>
                <a:cubicBezTo>
                  <a:pt x="278" y="62"/>
                  <a:pt x="271" y="63"/>
                  <a:pt x="266" y="61"/>
                </a:cubicBezTo>
                <a:cubicBezTo>
                  <a:pt x="244" y="52"/>
                  <a:pt x="244" y="52"/>
                  <a:pt x="244" y="52"/>
                </a:cubicBezTo>
                <a:cubicBezTo>
                  <a:pt x="238" y="50"/>
                  <a:pt x="234" y="44"/>
                  <a:pt x="233" y="38"/>
                </a:cubicBezTo>
                <a:cubicBezTo>
                  <a:pt x="232" y="13"/>
                  <a:pt x="232" y="13"/>
                  <a:pt x="232" y="13"/>
                </a:cubicBezTo>
                <a:cubicBezTo>
                  <a:pt x="232" y="8"/>
                  <a:pt x="227" y="3"/>
                  <a:pt x="221" y="2"/>
                </a:cubicBezTo>
                <a:cubicBezTo>
                  <a:pt x="221" y="2"/>
                  <a:pt x="208" y="0"/>
                  <a:pt x="196" y="0"/>
                </a:cubicBezTo>
                <a:cubicBezTo>
                  <a:pt x="184" y="0"/>
                  <a:pt x="171" y="2"/>
                  <a:pt x="171" y="2"/>
                </a:cubicBezTo>
                <a:cubicBezTo>
                  <a:pt x="166" y="3"/>
                  <a:pt x="161" y="8"/>
                  <a:pt x="161" y="13"/>
                </a:cubicBezTo>
                <a:cubicBezTo>
                  <a:pt x="159" y="38"/>
                  <a:pt x="159" y="38"/>
                  <a:pt x="159" y="38"/>
                </a:cubicBezTo>
                <a:cubicBezTo>
                  <a:pt x="159" y="44"/>
                  <a:pt x="155" y="50"/>
                  <a:pt x="149" y="52"/>
                </a:cubicBezTo>
                <a:cubicBezTo>
                  <a:pt x="127" y="61"/>
                  <a:pt x="127" y="61"/>
                  <a:pt x="127" y="61"/>
                </a:cubicBezTo>
                <a:cubicBezTo>
                  <a:pt x="122" y="63"/>
                  <a:pt x="115" y="62"/>
                  <a:pt x="111" y="58"/>
                </a:cubicBezTo>
                <a:cubicBezTo>
                  <a:pt x="92" y="42"/>
                  <a:pt x="92" y="42"/>
                  <a:pt x="92" y="42"/>
                </a:cubicBezTo>
                <a:cubicBezTo>
                  <a:pt x="88" y="38"/>
                  <a:pt x="81" y="38"/>
                  <a:pt x="77" y="42"/>
                </a:cubicBezTo>
                <a:cubicBezTo>
                  <a:pt x="42" y="77"/>
                  <a:pt x="42" y="77"/>
                  <a:pt x="42" y="77"/>
                </a:cubicBezTo>
                <a:cubicBezTo>
                  <a:pt x="38" y="81"/>
                  <a:pt x="38" y="88"/>
                  <a:pt x="42" y="92"/>
                </a:cubicBezTo>
                <a:cubicBezTo>
                  <a:pt x="58" y="111"/>
                  <a:pt x="58" y="111"/>
                  <a:pt x="58" y="111"/>
                </a:cubicBezTo>
                <a:cubicBezTo>
                  <a:pt x="62" y="115"/>
                  <a:pt x="63" y="122"/>
                  <a:pt x="60" y="127"/>
                </a:cubicBezTo>
                <a:cubicBezTo>
                  <a:pt x="51" y="149"/>
                  <a:pt x="51" y="149"/>
                  <a:pt x="51" y="149"/>
                </a:cubicBezTo>
                <a:cubicBezTo>
                  <a:pt x="50" y="155"/>
                  <a:pt x="44" y="159"/>
                  <a:pt x="38" y="160"/>
                </a:cubicBezTo>
                <a:cubicBezTo>
                  <a:pt x="13" y="161"/>
                  <a:pt x="13" y="161"/>
                  <a:pt x="13" y="161"/>
                </a:cubicBezTo>
                <a:cubicBezTo>
                  <a:pt x="8" y="161"/>
                  <a:pt x="3" y="166"/>
                  <a:pt x="2" y="172"/>
                </a:cubicBezTo>
                <a:cubicBezTo>
                  <a:pt x="2" y="172"/>
                  <a:pt x="0" y="185"/>
                  <a:pt x="0" y="197"/>
                </a:cubicBezTo>
                <a:cubicBezTo>
                  <a:pt x="0" y="209"/>
                  <a:pt x="2" y="222"/>
                  <a:pt x="2" y="222"/>
                </a:cubicBezTo>
                <a:cubicBezTo>
                  <a:pt x="3" y="227"/>
                  <a:pt x="8" y="232"/>
                  <a:pt x="13" y="232"/>
                </a:cubicBezTo>
                <a:cubicBezTo>
                  <a:pt x="38" y="234"/>
                  <a:pt x="38" y="234"/>
                  <a:pt x="38" y="234"/>
                </a:cubicBezTo>
                <a:cubicBezTo>
                  <a:pt x="44" y="234"/>
                  <a:pt x="50" y="238"/>
                  <a:pt x="51" y="244"/>
                </a:cubicBezTo>
                <a:cubicBezTo>
                  <a:pt x="60" y="266"/>
                  <a:pt x="60" y="266"/>
                  <a:pt x="60" y="266"/>
                </a:cubicBezTo>
                <a:cubicBezTo>
                  <a:pt x="63" y="271"/>
                  <a:pt x="62" y="278"/>
                  <a:pt x="58" y="282"/>
                </a:cubicBezTo>
                <a:cubicBezTo>
                  <a:pt x="42" y="301"/>
                  <a:pt x="42" y="301"/>
                  <a:pt x="42" y="301"/>
                </a:cubicBezTo>
                <a:cubicBezTo>
                  <a:pt x="38" y="305"/>
                  <a:pt x="38" y="312"/>
                  <a:pt x="42" y="316"/>
                </a:cubicBezTo>
                <a:cubicBezTo>
                  <a:pt x="77" y="351"/>
                  <a:pt x="77" y="351"/>
                  <a:pt x="77" y="351"/>
                </a:cubicBezTo>
                <a:cubicBezTo>
                  <a:pt x="81" y="355"/>
                  <a:pt x="88" y="355"/>
                  <a:pt x="92" y="351"/>
                </a:cubicBezTo>
                <a:cubicBezTo>
                  <a:pt x="111" y="335"/>
                  <a:pt x="111" y="335"/>
                  <a:pt x="111" y="335"/>
                </a:cubicBezTo>
                <a:cubicBezTo>
                  <a:pt x="115" y="331"/>
                  <a:pt x="122" y="330"/>
                  <a:pt x="127" y="333"/>
                </a:cubicBezTo>
                <a:cubicBezTo>
                  <a:pt x="149" y="342"/>
                  <a:pt x="149" y="342"/>
                  <a:pt x="149" y="342"/>
                </a:cubicBezTo>
                <a:cubicBezTo>
                  <a:pt x="155" y="343"/>
                  <a:pt x="159" y="349"/>
                  <a:pt x="159" y="355"/>
                </a:cubicBezTo>
                <a:cubicBezTo>
                  <a:pt x="161" y="380"/>
                  <a:pt x="161" y="380"/>
                  <a:pt x="161" y="380"/>
                </a:cubicBezTo>
                <a:cubicBezTo>
                  <a:pt x="161" y="385"/>
                  <a:pt x="166" y="390"/>
                  <a:pt x="171" y="391"/>
                </a:cubicBezTo>
                <a:cubicBezTo>
                  <a:pt x="171" y="391"/>
                  <a:pt x="184" y="393"/>
                  <a:pt x="196" y="393"/>
                </a:cubicBezTo>
                <a:cubicBezTo>
                  <a:pt x="208" y="393"/>
                  <a:pt x="221" y="391"/>
                  <a:pt x="221" y="391"/>
                </a:cubicBezTo>
                <a:cubicBezTo>
                  <a:pt x="227" y="390"/>
                  <a:pt x="232" y="385"/>
                  <a:pt x="232" y="380"/>
                </a:cubicBezTo>
                <a:cubicBezTo>
                  <a:pt x="233" y="355"/>
                  <a:pt x="233" y="355"/>
                  <a:pt x="233" y="355"/>
                </a:cubicBezTo>
                <a:cubicBezTo>
                  <a:pt x="234" y="349"/>
                  <a:pt x="238" y="343"/>
                  <a:pt x="244" y="342"/>
                </a:cubicBezTo>
                <a:cubicBezTo>
                  <a:pt x="266" y="333"/>
                  <a:pt x="266" y="333"/>
                  <a:pt x="266" y="333"/>
                </a:cubicBezTo>
                <a:cubicBezTo>
                  <a:pt x="271" y="330"/>
                  <a:pt x="278" y="331"/>
                  <a:pt x="282" y="335"/>
                </a:cubicBezTo>
                <a:cubicBezTo>
                  <a:pt x="301" y="351"/>
                  <a:pt x="301" y="351"/>
                  <a:pt x="301" y="351"/>
                </a:cubicBezTo>
                <a:cubicBezTo>
                  <a:pt x="305" y="355"/>
                  <a:pt x="312" y="355"/>
                  <a:pt x="316" y="351"/>
                </a:cubicBezTo>
                <a:cubicBezTo>
                  <a:pt x="351" y="316"/>
                  <a:pt x="351" y="316"/>
                  <a:pt x="351" y="316"/>
                </a:cubicBezTo>
                <a:cubicBezTo>
                  <a:pt x="355" y="312"/>
                  <a:pt x="355" y="305"/>
                  <a:pt x="351" y="301"/>
                </a:cubicBezTo>
                <a:cubicBezTo>
                  <a:pt x="335" y="282"/>
                  <a:pt x="335" y="282"/>
                  <a:pt x="335" y="282"/>
                </a:cubicBezTo>
                <a:cubicBezTo>
                  <a:pt x="331" y="278"/>
                  <a:pt x="330" y="271"/>
                  <a:pt x="332" y="266"/>
                </a:cubicBezTo>
                <a:cubicBezTo>
                  <a:pt x="341" y="244"/>
                  <a:pt x="341" y="244"/>
                  <a:pt x="341" y="244"/>
                </a:cubicBezTo>
                <a:cubicBezTo>
                  <a:pt x="343" y="238"/>
                  <a:pt x="349" y="234"/>
                  <a:pt x="355" y="234"/>
                </a:cubicBezTo>
                <a:cubicBezTo>
                  <a:pt x="380" y="232"/>
                  <a:pt x="380" y="232"/>
                  <a:pt x="380" y="232"/>
                </a:cubicBezTo>
                <a:cubicBezTo>
                  <a:pt x="385" y="232"/>
                  <a:pt x="390" y="227"/>
                  <a:pt x="391" y="222"/>
                </a:cubicBezTo>
                <a:cubicBezTo>
                  <a:pt x="391" y="222"/>
                  <a:pt x="393" y="209"/>
                  <a:pt x="393" y="197"/>
                </a:cubicBezTo>
                <a:cubicBezTo>
                  <a:pt x="393" y="185"/>
                  <a:pt x="391" y="172"/>
                  <a:pt x="391" y="172"/>
                </a:cubicBezTo>
                <a:close/>
                <a:moveTo>
                  <a:pt x="196" y="246"/>
                </a:moveTo>
                <a:cubicBezTo>
                  <a:pt x="169" y="246"/>
                  <a:pt x="147" y="224"/>
                  <a:pt x="147" y="197"/>
                </a:cubicBezTo>
                <a:cubicBezTo>
                  <a:pt x="147" y="169"/>
                  <a:pt x="169" y="147"/>
                  <a:pt x="196" y="147"/>
                </a:cubicBezTo>
                <a:cubicBezTo>
                  <a:pt x="224" y="147"/>
                  <a:pt x="246" y="169"/>
                  <a:pt x="246" y="197"/>
                </a:cubicBezTo>
                <a:cubicBezTo>
                  <a:pt x="246" y="224"/>
                  <a:pt x="224" y="246"/>
                  <a:pt x="196" y="2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1043" name="Group 42"/>
          <p:cNvGrpSpPr>
            <a:grpSpLocks noChangeAspect="1"/>
          </p:cNvGrpSpPr>
          <p:nvPr/>
        </p:nvGrpSpPr>
        <p:grpSpPr bwMode="auto">
          <a:xfrm>
            <a:off x="4828218" y="4219369"/>
            <a:ext cx="398137" cy="398137"/>
            <a:chOff x="2696" y="2272"/>
            <a:chExt cx="944" cy="944"/>
          </a:xfrm>
          <a:solidFill>
            <a:schemeClr val="accent1"/>
          </a:solidFill>
        </p:grpSpPr>
        <p:sp>
          <p:nvSpPr>
            <p:cNvPr id="1046" name="Freeform 43"/>
            <p:cNvSpPr>
              <a:spLocks/>
            </p:cNvSpPr>
            <p:nvPr/>
          </p:nvSpPr>
          <p:spPr bwMode="auto">
            <a:xfrm>
              <a:off x="2977" y="2461"/>
              <a:ext cx="382" cy="566"/>
            </a:xfrm>
            <a:custGeom>
              <a:avLst/>
              <a:gdLst>
                <a:gd name="T0" fmla="*/ 4 w 162"/>
                <a:gd name="T1" fmla="*/ 152 h 240"/>
                <a:gd name="T2" fmla="*/ 75 w 162"/>
                <a:gd name="T3" fmla="*/ 237 h 240"/>
                <a:gd name="T4" fmla="*/ 81 w 162"/>
                <a:gd name="T5" fmla="*/ 240 h 240"/>
                <a:gd name="T6" fmla="*/ 87 w 162"/>
                <a:gd name="T7" fmla="*/ 237 h 240"/>
                <a:gd name="T8" fmla="*/ 158 w 162"/>
                <a:gd name="T9" fmla="*/ 152 h 240"/>
                <a:gd name="T10" fmla="*/ 152 w 162"/>
                <a:gd name="T11" fmla="*/ 138 h 240"/>
                <a:gd name="T12" fmla="*/ 122 w 162"/>
                <a:gd name="T13" fmla="*/ 138 h 240"/>
                <a:gd name="T14" fmla="*/ 122 w 162"/>
                <a:gd name="T15" fmla="*/ 8 h 240"/>
                <a:gd name="T16" fmla="*/ 114 w 162"/>
                <a:gd name="T17" fmla="*/ 0 h 240"/>
                <a:gd name="T18" fmla="*/ 48 w 162"/>
                <a:gd name="T19" fmla="*/ 0 h 240"/>
                <a:gd name="T20" fmla="*/ 40 w 162"/>
                <a:gd name="T21" fmla="*/ 8 h 240"/>
                <a:gd name="T22" fmla="*/ 40 w 162"/>
                <a:gd name="T23" fmla="*/ 138 h 240"/>
                <a:gd name="T24" fmla="*/ 10 w 162"/>
                <a:gd name="T25" fmla="*/ 138 h 240"/>
                <a:gd name="T26" fmla="*/ 4 w 162"/>
                <a:gd name="T27" fmla="*/ 15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240">
                  <a:moveTo>
                    <a:pt x="4" y="152"/>
                  </a:moveTo>
                  <a:cubicBezTo>
                    <a:pt x="28" y="180"/>
                    <a:pt x="51" y="209"/>
                    <a:pt x="75" y="237"/>
                  </a:cubicBezTo>
                  <a:cubicBezTo>
                    <a:pt x="77" y="239"/>
                    <a:pt x="79" y="240"/>
                    <a:pt x="81" y="240"/>
                  </a:cubicBezTo>
                  <a:cubicBezTo>
                    <a:pt x="83" y="240"/>
                    <a:pt x="85" y="239"/>
                    <a:pt x="87" y="237"/>
                  </a:cubicBezTo>
                  <a:cubicBezTo>
                    <a:pt x="111" y="209"/>
                    <a:pt x="134" y="180"/>
                    <a:pt x="158" y="152"/>
                  </a:cubicBezTo>
                  <a:cubicBezTo>
                    <a:pt x="162" y="146"/>
                    <a:pt x="160" y="138"/>
                    <a:pt x="152" y="138"/>
                  </a:cubicBezTo>
                  <a:cubicBezTo>
                    <a:pt x="142" y="138"/>
                    <a:pt x="132" y="138"/>
                    <a:pt x="122" y="138"/>
                  </a:cubicBezTo>
                  <a:cubicBezTo>
                    <a:pt x="122" y="95"/>
                    <a:pt x="122" y="51"/>
                    <a:pt x="122" y="8"/>
                  </a:cubicBezTo>
                  <a:cubicBezTo>
                    <a:pt x="122" y="4"/>
                    <a:pt x="119" y="0"/>
                    <a:pt x="114" y="0"/>
                  </a:cubicBezTo>
                  <a:cubicBezTo>
                    <a:pt x="92" y="0"/>
                    <a:pt x="70" y="0"/>
                    <a:pt x="48" y="0"/>
                  </a:cubicBezTo>
                  <a:cubicBezTo>
                    <a:pt x="43" y="0"/>
                    <a:pt x="40" y="4"/>
                    <a:pt x="40" y="8"/>
                  </a:cubicBezTo>
                  <a:cubicBezTo>
                    <a:pt x="40" y="51"/>
                    <a:pt x="40" y="95"/>
                    <a:pt x="40" y="138"/>
                  </a:cubicBezTo>
                  <a:cubicBezTo>
                    <a:pt x="30" y="138"/>
                    <a:pt x="20" y="138"/>
                    <a:pt x="10" y="138"/>
                  </a:cubicBezTo>
                  <a:cubicBezTo>
                    <a:pt x="2" y="138"/>
                    <a:pt x="0" y="146"/>
                    <a:pt x="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47" name="Freeform 44"/>
            <p:cNvSpPr>
              <a:spLocks noEditPoints="1"/>
            </p:cNvSpPr>
            <p:nvPr/>
          </p:nvSpPr>
          <p:spPr bwMode="auto">
            <a:xfrm>
              <a:off x="2696" y="2272"/>
              <a:ext cx="944" cy="944"/>
            </a:xfrm>
            <a:custGeom>
              <a:avLst/>
              <a:gdLst>
                <a:gd name="T0" fmla="*/ 200 w 400"/>
                <a:gd name="T1" fmla="*/ 400 h 400"/>
                <a:gd name="T2" fmla="*/ 400 w 400"/>
                <a:gd name="T3" fmla="*/ 200 h 400"/>
                <a:gd name="T4" fmla="*/ 200 w 400"/>
                <a:gd name="T5" fmla="*/ 0 h 400"/>
                <a:gd name="T6" fmla="*/ 0 w 400"/>
                <a:gd name="T7" fmla="*/ 200 h 400"/>
                <a:gd name="T8" fmla="*/ 200 w 400"/>
                <a:gd name="T9" fmla="*/ 400 h 400"/>
                <a:gd name="T10" fmla="*/ 200 w 400"/>
                <a:gd name="T11" fmla="*/ 32 h 400"/>
                <a:gd name="T12" fmla="*/ 368 w 400"/>
                <a:gd name="T13" fmla="*/ 200 h 400"/>
                <a:gd name="T14" fmla="*/ 200 w 400"/>
                <a:gd name="T15" fmla="*/ 368 h 400"/>
                <a:gd name="T16" fmla="*/ 32 w 400"/>
                <a:gd name="T17" fmla="*/ 200 h 400"/>
                <a:gd name="T18" fmla="*/ 200 w 400"/>
                <a:gd name="T19" fmla="*/ 3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400">
                  <a:moveTo>
                    <a:pt x="200" y="400"/>
                  </a:moveTo>
                  <a:cubicBezTo>
                    <a:pt x="310" y="400"/>
                    <a:pt x="400" y="310"/>
                    <a:pt x="400" y="200"/>
                  </a:cubicBezTo>
                  <a:cubicBezTo>
                    <a:pt x="400" y="90"/>
                    <a:pt x="310" y="0"/>
                    <a:pt x="200" y="0"/>
                  </a:cubicBezTo>
                  <a:cubicBezTo>
                    <a:pt x="90" y="0"/>
                    <a:pt x="0" y="90"/>
                    <a:pt x="0" y="200"/>
                  </a:cubicBezTo>
                  <a:cubicBezTo>
                    <a:pt x="0" y="310"/>
                    <a:pt x="90" y="400"/>
                    <a:pt x="200" y="400"/>
                  </a:cubicBezTo>
                  <a:close/>
                  <a:moveTo>
                    <a:pt x="200" y="32"/>
                  </a:moveTo>
                  <a:cubicBezTo>
                    <a:pt x="293" y="32"/>
                    <a:pt x="368" y="107"/>
                    <a:pt x="368" y="200"/>
                  </a:cubicBezTo>
                  <a:cubicBezTo>
                    <a:pt x="368" y="293"/>
                    <a:pt x="293" y="368"/>
                    <a:pt x="200" y="368"/>
                  </a:cubicBezTo>
                  <a:cubicBezTo>
                    <a:pt x="107" y="368"/>
                    <a:pt x="32" y="293"/>
                    <a:pt x="32" y="200"/>
                  </a:cubicBezTo>
                  <a:cubicBezTo>
                    <a:pt x="32" y="107"/>
                    <a:pt x="107" y="32"/>
                    <a:pt x="20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 name="Footer Placeholder 2"/>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136578900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真实项目中的使用案例</a:t>
            </a:r>
            <a:endParaRPr lang="en-GB" dirty="0">
              <a:latin typeface="SimSun" panose="02010600030101010101" pitchFamily="2" charset="-122"/>
              <a:ea typeface="SimSun" panose="02010600030101010101" pitchFamily="2" charset="-122"/>
            </a:endParaRPr>
          </a:p>
        </p:txBody>
      </p:sp>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真实的案例</a:t>
            </a:r>
            <a:endParaRPr lang="en-GB" dirty="0">
              <a:latin typeface="SimSun" panose="02010600030101010101" pitchFamily="2" charset="-122"/>
              <a:ea typeface="SimSun" panose="02010600030101010101" pitchFamily="2" charset="-122"/>
            </a:endParaRPr>
          </a:p>
        </p:txBody>
      </p:sp>
      <p:graphicFrame>
        <p:nvGraphicFramePr>
          <p:cNvPr id="5" name="Table 4"/>
          <p:cNvGraphicFramePr>
            <a:graphicFrameLocks noGrp="1"/>
          </p:cNvGraphicFramePr>
          <p:nvPr>
            <p:extLst>
              <p:ext uri="{D42A27DB-BD31-4B8C-83A1-F6EECF244321}">
                <p14:modId xmlns:p14="http://schemas.microsoft.com/office/powerpoint/2010/main" val="622993854"/>
              </p:ext>
            </p:extLst>
          </p:nvPr>
        </p:nvGraphicFramePr>
        <p:xfrm>
          <a:off x="458146" y="1798639"/>
          <a:ext cx="8230244" cy="3772343"/>
        </p:xfrm>
        <a:graphic>
          <a:graphicData uri="http://schemas.openxmlformats.org/drawingml/2006/table">
            <a:tbl>
              <a:tblPr>
                <a:tableStyleId>{5C22544A-7EE6-4342-B048-85BDC9FD1C3A}</a:tableStyleId>
              </a:tblPr>
              <a:tblGrid>
                <a:gridCol w="2057561"/>
                <a:gridCol w="2057561"/>
                <a:gridCol w="2057561"/>
                <a:gridCol w="2057561"/>
              </a:tblGrid>
              <a:tr h="517841">
                <a:tc>
                  <a:txBody>
                    <a:bodyPr/>
                    <a:lstStyle/>
                    <a:p>
                      <a:pPr algn="l"/>
                      <a:r>
                        <a:rPr lang="zh-CN" altLang="en-US" sz="1400" dirty="0" smtClean="0">
                          <a:solidFill>
                            <a:schemeClr val="lt1"/>
                          </a:solidFill>
                          <a:latin typeface="SimSun" panose="02010600030101010101" pitchFamily="2" charset="-122"/>
                          <a:ea typeface="SimSun" panose="02010600030101010101" pitchFamily="2" charset="-122"/>
                        </a:rPr>
                        <a:t>项目</a:t>
                      </a:r>
                      <a:endParaRPr lang="en-US" altLang="zh-CN" sz="1400" dirty="0" smtClean="0">
                        <a:solidFill>
                          <a:schemeClr val="lt1"/>
                        </a:solidFill>
                        <a:latin typeface="SimSun" panose="02010600030101010101" pitchFamily="2" charset="-122"/>
                        <a:ea typeface="SimSun" panose="02010600030101010101" pitchFamily="2" charset="-122"/>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GB" sz="1400" dirty="0" smtClean="0">
                          <a:solidFill>
                            <a:schemeClr val="lt1"/>
                          </a:solidFill>
                          <a:latin typeface="SimSun" panose="02010600030101010101" pitchFamily="2" charset="-122"/>
                          <a:ea typeface="SimSun" panose="02010600030101010101" pitchFamily="2" charset="-122"/>
                        </a:rPr>
                        <a:t>B2B</a:t>
                      </a:r>
                      <a:r>
                        <a:rPr lang="en-GB" sz="1400" baseline="0" dirty="0" smtClean="0">
                          <a:solidFill>
                            <a:schemeClr val="lt1"/>
                          </a:solidFill>
                          <a:latin typeface="SimSun" panose="02010600030101010101" pitchFamily="2" charset="-122"/>
                          <a:ea typeface="SimSun" panose="02010600030101010101" pitchFamily="2" charset="-122"/>
                        </a:rPr>
                        <a:t> </a:t>
                      </a:r>
                      <a:r>
                        <a:rPr lang="zh-CN" altLang="en-US" sz="1400" baseline="0" dirty="0" smtClean="0">
                          <a:solidFill>
                            <a:schemeClr val="lt1"/>
                          </a:solidFill>
                          <a:latin typeface="SimSun" panose="02010600030101010101" pitchFamily="2" charset="-122"/>
                          <a:ea typeface="SimSun" panose="02010600030101010101" pitchFamily="2" charset="-122"/>
                        </a:rPr>
                        <a:t>服务提供商</a:t>
                      </a:r>
                      <a:endParaRPr lang="en-GB" sz="1400" dirty="0">
                        <a:solidFill>
                          <a:schemeClr val="lt1"/>
                        </a:solidFill>
                        <a:latin typeface="SimSun" panose="02010600030101010101" pitchFamily="2" charset="-122"/>
                        <a:ea typeface="SimSun" panose="02010600030101010101" pitchFamily="2" charset="-122"/>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zh-CN" altLang="en-US" sz="1400" dirty="0" smtClean="0">
                          <a:solidFill>
                            <a:schemeClr val="lt1"/>
                          </a:solidFill>
                          <a:latin typeface="SimSun" panose="02010600030101010101" pitchFamily="2" charset="-122"/>
                          <a:ea typeface="SimSun" panose="02010600030101010101" pitchFamily="2" charset="-122"/>
                        </a:rPr>
                        <a:t>电子商务平台</a:t>
                      </a:r>
                      <a:endParaRPr lang="en-GB" sz="1400" dirty="0" smtClean="0">
                        <a:solidFill>
                          <a:schemeClr val="lt1"/>
                        </a:solidFill>
                        <a:latin typeface="SimSun" panose="02010600030101010101" pitchFamily="2" charset="-122"/>
                        <a:ea typeface="SimSun" panose="02010600030101010101" pitchFamily="2" charset="-122"/>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zh-CN" altLang="en-US" sz="1400" dirty="0" smtClean="0">
                          <a:solidFill>
                            <a:schemeClr val="lt1"/>
                          </a:solidFill>
                          <a:latin typeface="SimSun" panose="02010600030101010101" pitchFamily="2" charset="-122"/>
                          <a:ea typeface="SimSun" panose="02010600030101010101" pitchFamily="2" charset="-122"/>
                        </a:rPr>
                        <a:t>云代理</a:t>
                      </a:r>
                      <a:endParaRPr lang="en-GB" sz="1400" dirty="0">
                        <a:solidFill>
                          <a:schemeClr val="lt1"/>
                        </a:solidFill>
                        <a:latin typeface="SimSun" panose="02010600030101010101" pitchFamily="2" charset="-122"/>
                        <a:ea typeface="SimSun" panose="02010600030101010101" pitchFamily="2" charset="-122"/>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542417">
                <a:tc>
                  <a:txBody>
                    <a:bodyPr/>
                    <a:lstStyle/>
                    <a:p>
                      <a:pPr algn="l"/>
                      <a:r>
                        <a:rPr lang="en-GB" sz="1400" dirty="0" smtClean="0">
                          <a:solidFill>
                            <a:schemeClr val="dk2"/>
                          </a:solidFill>
                        </a:rPr>
                        <a:t>Orchestration</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Jenkins</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Jenkins</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Jenkins</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lt1">
                          <a:alpha val="0"/>
                        </a:schemeClr>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2417">
                <a:tc>
                  <a:txBody>
                    <a:bodyPr/>
                    <a:lstStyle/>
                    <a:p>
                      <a:pPr algn="l"/>
                      <a:r>
                        <a:rPr lang="en-GB" sz="1400" dirty="0" smtClean="0">
                          <a:solidFill>
                            <a:schemeClr val="dk2"/>
                          </a:solidFill>
                        </a:rPr>
                        <a:t>SCM</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Git</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SVN</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Git</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2417">
                <a:tc>
                  <a:txBody>
                    <a:bodyPr/>
                    <a:lstStyle/>
                    <a:p>
                      <a:pPr algn="l"/>
                      <a:r>
                        <a:rPr lang="en-GB" sz="1400" dirty="0" smtClean="0">
                          <a:solidFill>
                            <a:schemeClr val="dk2"/>
                          </a:solidFill>
                        </a:rPr>
                        <a:t>Build</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Maven, Grunt</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Maven,</a:t>
                      </a:r>
                      <a:r>
                        <a:rPr lang="en-GB" sz="1400" baseline="0" dirty="0" smtClean="0">
                          <a:solidFill>
                            <a:schemeClr val="dk2"/>
                          </a:solidFill>
                        </a:rPr>
                        <a:t> Ant</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Maven</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2417">
                <a:tc>
                  <a:txBody>
                    <a:bodyPr/>
                    <a:lstStyle/>
                    <a:p>
                      <a:pPr algn="l"/>
                      <a:r>
                        <a:rPr lang="en-GB" sz="1400" dirty="0" smtClean="0">
                          <a:solidFill>
                            <a:schemeClr val="dk2"/>
                          </a:solidFill>
                        </a:rPr>
                        <a:t>Test</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Selenium</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Selenium</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Selenium</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2417">
                <a:tc>
                  <a:txBody>
                    <a:bodyPr/>
                    <a:lstStyle/>
                    <a:p>
                      <a:pPr algn="l"/>
                      <a:r>
                        <a:rPr lang="en-GB" sz="1400" dirty="0" smtClean="0">
                          <a:solidFill>
                            <a:schemeClr val="dk2"/>
                          </a:solidFill>
                        </a:rPr>
                        <a:t>Deploy</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Jenkins and Shell scripts</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Jenkins and Shell scripts</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smtClean="0">
                          <a:solidFill>
                            <a:schemeClr val="dk2"/>
                          </a:solidFill>
                        </a:rPr>
                        <a:t>Jenkins and  Chef</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dk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2417">
                <a:tc>
                  <a:txBody>
                    <a:bodyPr/>
                    <a:lstStyle/>
                    <a:p>
                      <a:pPr algn="l"/>
                      <a:r>
                        <a:rPr lang="en-GB" sz="1400" dirty="0" smtClean="0">
                          <a:solidFill>
                            <a:schemeClr val="dk2"/>
                          </a:solidFill>
                        </a:rPr>
                        <a:t>Static</a:t>
                      </a:r>
                      <a:r>
                        <a:rPr lang="en-GB" sz="1400" baseline="0" dirty="0" smtClean="0">
                          <a:solidFill>
                            <a:schemeClr val="dk2"/>
                          </a:solidFill>
                        </a:rPr>
                        <a:t> Code Analysis</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err="1" smtClean="0">
                          <a:solidFill>
                            <a:schemeClr val="dk2"/>
                          </a:solidFill>
                        </a:rPr>
                        <a:t>SonarQube</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err="1" smtClean="0">
                          <a:solidFill>
                            <a:schemeClr val="dk2"/>
                          </a:solidFill>
                        </a:rPr>
                        <a:t>SonarQube</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400" dirty="0" err="1" smtClean="0">
                          <a:solidFill>
                            <a:schemeClr val="dk2"/>
                          </a:solidFill>
                        </a:rPr>
                        <a:t>SonarQube</a:t>
                      </a:r>
                      <a:endParaRPr lang="en-GB" sz="1400" dirty="0">
                        <a:solidFill>
                          <a:schemeClr val="dk2"/>
                        </a:solidFill>
                      </a:endParaRPr>
                    </a:p>
                  </a:txBody>
                  <a:tcPr marL="72009" marR="72009" marT="36005" marB="36005">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chemeClr val="dk2"/>
                      </a:solidFill>
                      <a:prstDash val="solid"/>
                      <a:round/>
                      <a:headEnd type="none" w="med" len="med"/>
                      <a:tailEnd type="none" w="med" len="med"/>
                    </a:lnT>
                    <a:lnB w="12700" cap="flat" cmpd="sng" algn="ctr">
                      <a:solidFill>
                        <a:schemeClr val="lt1">
                          <a:alpha val="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Footer Placeholder 2"/>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35250168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简介</a:t>
            </a:r>
            <a:endParaRPr lang="en-GB" dirty="0">
              <a:latin typeface="SimSun" panose="02010600030101010101" pitchFamily="2" charset="-122"/>
              <a:ea typeface="SimSun" panose="02010600030101010101" pitchFamily="2" charset="-122"/>
            </a:endParaRPr>
          </a:p>
        </p:txBody>
      </p:sp>
      <p:sp>
        <p:nvSpPr>
          <p:cNvPr id="3" name="Content Placeholder 2"/>
          <p:cNvSpPr>
            <a:spLocks noGrp="1"/>
          </p:cNvSpPr>
          <p:nvPr>
            <p:ph sz="quarter" idx="11"/>
          </p:nvPr>
        </p:nvSpPr>
        <p:spPr/>
        <p:txBody>
          <a:bodyPr/>
          <a:lstStyle/>
          <a:p>
            <a:r>
              <a:rPr lang="zh-CN" altLang="en-US" sz="1800" dirty="0" smtClean="0">
                <a:latin typeface="SimSun" panose="02010600030101010101" pitchFamily="2" charset="-122"/>
                <a:ea typeface="SimSun" panose="02010600030101010101" pitchFamily="2" charset="-122"/>
              </a:rPr>
              <a:t>提供计算平台和解决方案的云服务的一个类别</a:t>
            </a:r>
            <a:endParaRPr lang="en-GB" sz="1800" dirty="0" smtClean="0">
              <a:latin typeface="SimSun" panose="02010600030101010101" pitchFamily="2" charset="-122"/>
              <a:ea typeface="SimSun" panose="02010600030101010101" pitchFamily="2" charset="-122"/>
            </a:endParaRPr>
          </a:p>
          <a:p>
            <a:r>
              <a:rPr lang="zh-CN" altLang="en-US" sz="1800" dirty="0">
                <a:latin typeface="SimSun" panose="02010600030101010101" pitchFamily="2" charset="-122"/>
                <a:ea typeface="SimSun" panose="02010600030101010101" pitchFamily="2" charset="-122"/>
              </a:rPr>
              <a:t>允许用户使用供应商提供的工具来创建应用（</a:t>
            </a:r>
            <a:r>
              <a:rPr lang="en-US" altLang="zh-CN" sz="1800" dirty="0">
                <a:latin typeface="SimSun" panose="02010600030101010101" pitchFamily="2" charset="-122"/>
                <a:ea typeface="SimSun" panose="02010600030101010101" pitchFamily="2" charset="-122"/>
              </a:rPr>
              <a:t>application</a:t>
            </a:r>
            <a:r>
              <a:rPr lang="zh-CN" altLang="en-US" sz="1800" dirty="0">
                <a:latin typeface="SimSun" panose="02010600030101010101" pitchFamily="2" charset="-122"/>
                <a:ea typeface="SimSun" panose="02010600030101010101" pitchFamily="2" charset="-122"/>
              </a:rPr>
              <a:t>）</a:t>
            </a:r>
            <a:endParaRPr lang="en-GB" altLang="ja-JP" sz="1800" dirty="0">
              <a:latin typeface="SimSun" panose="02010600030101010101" pitchFamily="2" charset="-122"/>
              <a:ea typeface="SimSun" panose="02010600030101010101" pitchFamily="2" charset="-122"/>
            </a:endParaRPr>
          </a:p>
          <a:p>
            <a:r>
              <a:rPr lang="en-US" altLang="zh-CN" sz="1800" dirty="0" err="1" smtClean="0">
                <a:latin typeface="SimSun" panose="02010600030101010101" pitchFamily="2" charset="-122"/>
                <a:ea typeface="SimSun" panose="02010600030101010101" pitchFamily="2" charset="-122"/>
              </a:rPr>
              <a:t>IaaS</a:t>
            </a:r>
            <a:r>
              <a:rPr lang="zh-CN" altLang="en-US" sz="1800" dirty="0" smtClean="0">
                <a:latin typeface="SimSun" panose="02010600030101010101" pitchFamily="2" charset="-122"/>
                <a:ea typeface="SimSun" panose="02010600030101010101" pitchFamily="2" charset="-122"/>
              </a:rPr>
              <a:t>是云计算的基础层</a:t>
            </a:r>
            <a:endParaRPr lang="en-GB" sz="1800" dirty="0" smtClean="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例如虚拟</a:t>
            </a:r>
            <a:r>
              <a:rPr lang="zh-CN" altLang="en-US" dirty="0">
                <a:latin typeface="SimSun" panose="02010600030101010101" pitchFamily="2" charset="-122"/>
                <a:ea typeface="SimSun" panose="02010600030101010101" pitchFamily="2" charset="-122"/>
              </a:rPr>
              <a:t>机，存储，服务器，网络负载</a:t>
            </a:r>
            <a:r>
              <a:rPr lang="zh-CN" altLang="en-US" dirty="0" smtClean="0">
                <a:latin typeface="SimSun" panose="02010600030101010101" pitchFamily="2" charset="-122"/>
                <a:ea typeface="SimSun" panose="02010600030101010101" pitchFamily="2" charset="-122"/>
              </a:rPr>
              <a:t>均衡等的处理</a:t>
            </a:r>
            <a:r>
              <a:rPr lang="en-GB" dirty="0" smtClean="0">
                <a:latin typeface="SimSun" panose="02010600030101010101" pitchFamily="2" charset="-122"/>
                <a:ea typeface="SimSun" panose="02010600030101010101" pitchFamily="2" charset="-122"/>
              </a:rPr>
              <a:t>.</a:t>
            </a:r>
          </a:p>
          <a:p>
            <a:r>
              <a:rPr lang="en-GB" sz="1800" dirty="0" err="1" smtClean="0">
                <a:latin typeface="SimSun" panose="02010600030101010101" pitchFamily="2" charset="-122"/>
                <a:ea typeface="SimSun" panose="02010600030101010101" pitchFamily="2" charset="-122"/>
              </a:rPr>
              <a:t>PaaS</a:t>
            </a:r>
            <a:r>
              <a:rPr lang="en-GB" sz="1800" dirty="0" smtClean="0">
                <a:latin typeface="SimSun" panose="02010600030101010101" pitchFamily="2" charset="-122"/>
                <a:ea typeface="SimSun" panose="02010600030101010101" pitchFamily="2" charset="-122"/>
              </a:rPr>
              <a:t> </a:t>
            </a:r>
            <a:r>
              <a:rPr lang="zh-CN" altLang="en-US" sz="1800" dirty="0" smtClean="0">
                <a:latin typeface="SimSun" panose="02010600030101010101" pitchFamily="2" charset="-122"/>
                <a:ea typeface="SimSun" panose="02010600030101010101" pitchFamily="2" charset="-122"/>
              </a:rPr>
              <a:t>是</a:t>
            </a:r>
            <a:r>
              <a:rPr lang="en-US" altLang="zh-CN" sz="1800" dirty="0" err="1" smtClean="0">
                <a:latin typeface="SimSun" panose="02010600030101010101" pitchFamily="2" charset="-122"/>
                <a:ea typeface="SimSun" panose="02010600030101010101" pitchFamily="2" charset="-122"/>
              </a:rPr>
              <a:t>IaaS</a:t>
            </a:r>
            <a:r>
              <a:rPr lang="zh-CN" altLang="en-US" sz="1800" dirty="0" smtClean="0">
                <a:latin typeface="SimSun" panose="02010600030101010101" pitchFamily="2" charset="-122"/>
                <a:ea typeface="SimSun" panose="02010600030101010101" pitchFamily="2" charset="-122"/>
              </a:rPr>
              <a:t>（基础设施</a:t>
            </a:r>
            <a:r>
              <a:rPr lang="en-US" altLang="zh-CN" sz="1800" dirty="0" smtClean="0">
                <a:latin typeface="SimSun" panose="02010600030101010101" pitchFamily="2" charset="-122"/>
                <a:ea typeface="SimSun" panose="02010600030101010101" pitchFamily="2" charset="-122"/>
              </a:rPr>
              <a:t>/</a:t>
            </a:r>
            <a:r>
              <a:rPr lang="zh-CN" altLang="en-US" sz="1800" dirty="0" smtClean="0">
                <a:latin typeface="SimSun" panose="02010600030101010101" pitchFamily="2" charset="-122"/>
                <a:ea typeface="SimSun" panose="02010600030101010101" pitchFamily="2" charset="-122"/>
              </a:rPr>
              <a:t>硬件资源服务</a:t>
            </a:r>
            <a:r>
              <a:rPr lang="zh-CN" altLang="en-US" sz="1800" dirty="0">
                <a:latin typeface="SimSun" panose="02010600030101010101" pitchFamily="2" charset="-122"/>
                <a:ea typeface="SimSun" panose="02010600030101010101" pitchFamily="2" charset="-122"/>
              </a:rPr>
              <a:t>）</a:t>
            </a:r>
            <a:r>
              <a:rPr lang="zh-CN" altLang="en-US" sz="1800" dirty="0" smtClean="0">
                <a:latin typeface="SimSun" panose="02010600030101010101" pitchFamily="2" charset="-122"/>
                <a:ea typeface="SimSun" panose="02010600030101010101" pitchFamily="2" charset="-122"/>
              </a:rPr>
              <a:t>的上层服务</a:t>
            </a:r>
            <a:endParaRPr lang="en-GB" sz="1800" dirty="0">
              <a:latin typeface="SimSun" panose="02010600030101010101" pitchFamily="2" charset="-122"/>
              <a:ea typeface="SimSun" panose="02010600030101010101" pitchFamily="2" charset="-122"/>
            </a:endParaRPr>
          </a:p>
          <a:p>
            <a:pPr lvl="1"/>
            <a:r>
              <a:rPr lang="zh-CN" altLang="en-US" dirty="0" smtClean="0">
                <a:latin typeface="SimSun" panose="02010600030101010101" pitchFamily="2" charset="-122"/>
                <a:ea typeface="SimSun" panose="02010600030101010101" pitchFamily="2" charset="-122"/>
              </a:rPr>
              <a:t>提供开发环境</a:t>
            </a:r>
            <a:r>
              <a:rPr lang="zh-CN" altLang="en-US" dirty="0">
                <a:latin typeface="SimSun" panose="02010600030101010101" pitchFamily="2" charset="-122"/>
                <a:ea typeface="SimSun" panose="02010600030101010101" pitchFamily="2" charset="-122"/>
              </a:rPr>
              <a:t>，数据库，</a:t>
            </a:r>
            <a:r>
              <a:rPr lang="en-US" altLang="zh-CN" dirty="0">
                <a:latin typeface="SimSun" panose="02010600030101010101" pitchFamily="2" charset="-122"/>
                <a:ea typeface="SimSun" panose="02010600030101010101" pitchFamily="2" charset="-122"/>
              </a:rPr>
              <a:t>Web</a:t>
            </a:r>
            <a:r>
              <a:rPr lang="zh-CN" altLang="en-US" dirty="0" smtClean="0">
                <a:latin typeface="SimSun" panose="02010600030101010101" pitchFamily="2" charset="-122"/>
                <a:ea typeface="SimSun" panose="02010600030101010101" pitchFamily="2" charset="-122"/>
              </a:rPr>
              <a:t>服务器等作为服务</a:t>
            </a:r>
            <a:r>
              <a:rPr lang="en-GB" dirty="0" smtClean="0">
                <a:latin typeface="SimSun" panose="02010600030101010101" pitchFamily="2" charset="-122"/>
                <a:ea typeface="SimSun" panose="02010600030101010101" pitchFamily="2" charset="-122"/>
              </a:rPr>
              <a:t>.</a:t>
            </a:r>
          </a:p>
          <a:p>
            <a:r>
              <a:rPr lang="en-GB" sz="1800" dirty="0" err="1" smtClean="0">
                <a:latin typeface="SimSun" panose="02010600030101010101" pitchFamily="2" charset="-122"/>
                <a:ea typeface="SimSun" panose="02010600030101010101" pitchFamily="2" charset="-122"/>
              </a:rPr>
              <a:t>PaaS</a:t>
            </a:r>
            <a:r>
              <a:rPr lang="zh-CN" altLang="en-US" sz="1800" dirty="0">
                <a:latin typeface="SimSun" panose="02010600030101010101" pitchFamily="2" charset="-122"/>
                <a:ea typeface="SimSun" panose="02010600030101010101" pitchFamily="2" charset="-122"/>
              </a:rPr>
              <a:t>提供应</a:t>
            </a:r>
            <a:r>
              <a:rPr lang="zh-CN" altLang="en-US" sz="1800" dirty="0" smtClean="0">
                <a:latin typeface="SimSun" panose="02010600030101010101" pitchFamily="2" charset="-122"/>
                <a:ea typeface="SimSun" panose="02010600030101010101" pitchFamily="2" charset="-122"/>
              </a:rPr>
              <a:t>用平台</a:t>
            </a:r>
            <a:r>
              <a:rPr lang="zh-CN" altLang="en-US" sz="1800" dirty="0">
                <a:latin typeface="SimSun" panose="02010600030101010101" pitchFamily="2" charset="-122"/>
                <a:ea typeface="SimSun" panose="02010600030101010101" pitchFamily="2" charset="-122"/>
              </a:rPr>
              <a:t>作为服务</a:t>
            </a:r>
            <a:endParaRPr lang="en-GB" sz="1800" dirty="0" smtClean="0">
              <a:latin typeface="SimSun" panose="02010600030101010101" pitchFamily="2" charset="-122"/>
              <a:ea typeface="SimSun" panose="02010600030101010101" pitchFamily="2" charset="-122"/>
            </a:endParaRPr>
          </a:p>
          <a:p>
            <a:r>
              <a:rPr lang="zh-CN" altLang="en-US" sz="1800" dirty="0" smtClean="0">
                <a:latin typeface="SimSun" panose="02010600030101010101" pitchFamily="2" charset="-122"/>
                <a:ea typeface="SimSun" panose="02010600030101010101" pitchFamily="2" charset="-122"/>
              </a:rPr>
              <a:t>云计算增长</a:t>
            </a:r>
            <a:r>
              <a:rPr lang="zh-CN" altLang="en-US" sz="1800" dirty="0">
                <a:latin typeface="SimSun" panose="02010600030101010101" pitchFamily="2" charset="-122"/>
                <a:ea typeface="SimSun" panose="02010600030101010101" pitchFamily="2" charset="-122"/>
              </a:rPr>
              <a:t>速度</a:t>
            </a:r>
            <a:r>
              <a:rPr lang="zh-CN" altLang="en-US" sz="1800" dirty="0" smtClean="0">
                <a:latin typeface="SimSun" panose="02010600030101010101" pitchFamily="2" charset="-122"/>
                <a:ea typeface="SimSun" panose="02010600030101010101" pitchFamily="2" charset="-122"/>
              </a:rPr>
              <a:t>最快的领域</a:t>
            </a:r>
            <a:endParaRPr lang="en-GB" sz="1800" dirty="0" smtClean="0">
              <a:latin typeface="SimSun" panose="02010600030101010101" pitchFamily="2" charset="-122"/>
              <a:ea typeface="SimSun" panose="02010600030101010101" pitchFamily="2" charset="-122"/>
            </a:endParaRPr>
          </a:p>
          <a:p>
            <a:r>
              <a:rPr lang="zh-CN" altLang="en-US" sz="1800" dirty="0">
                <a:latin typeface="SimSun" panose="02010600030101010101" pitchFamily="2" charset="-122"/>
                <a:ea typeface="SimSun" panose="02010600030101010101" pitchFamily="2" charset="-122"/>
              </a:rPr>
              <a:t>帮</a:t>
            </a:r>
            <a:r>
              <a:rPr lang="zh-CN" altLang="en-US" sz="1800" dirty="0" smtClean="0">
                <a:latin typeface="SimSun" panose="02010600030101010101" pitchFamily="2" charset="-122"/>
                <a:ea typeface="SimSun" panose="02010600030101010101" pitchFamily="2" charset="-122"/>
              </a:rPr>
              <a:t>助</a:t>
            </a:r>
            <a:r>
              <a:rPr lang="en-US" altLang="zh-CN" sz="1800" dirty="0" err="1" smtClean="0">
                <a:latin typeface="SimSun" panose="02010600030101010101" pitchFamily="2" charset="-122"/>
                <a:ea typeface="SimSun" panose="02010600030101010101" pitchFamily="2" charset="-122"/>
              </a:rPr>
              <a:t>DevOps</a:t>
            </a:r>
            <a:r>
              <a:rPr lang="zh-CN" altLang="en-US" sz="1800" dirty="0">
                <a:latin typeface="SimSun" panose="02010600030101010101" pitchFamily="2" charset="-122"/>
                <a:ea typeface="SimSun" panose="02010600030101010101" pitchFamily="2" charset="-122"/>
              </a:rPr>
              <a:t>提供云服务</a:t>
            </a:r>
            <a:endParaRPr lang="en-GB" dirty="0" smtClean="0">
              <a:latin typeface="SimSun" panose="02010600030101010101" pitchFamily="2" charset="-122"/>
              <a:ea typeface="SimSun" panose="02010600030101010101" pitchFamily="2" charset="-122"/>
            </a:endParaRPr>
          </a:p>
          <a:p>
            <a:endParaRPr lang="en-GB" dirty="0">
              <a:latin typeface="SimSun" panose="02010600030101010101" pitchFamily="2" charset="-122"/>
              <a:ea typeface="SimSun" panose="02010600030101010101" pitchFamily="2" charset="-122"/>
            </a:endParaRPr>
          </a:p>
        </p:txBody>
      </p:sp>
      <p:sp>
        <p:nvSpPr>
          <p:cNvPr id="4" name="Title 3"/>
          <p:cNvSpPr>
            <a:spLocks noGrp="1"/>
          </p:cNvSpPr>
          <p:nvPr>
            <p:ph type="title"/>
          </p:nvPr>
        </p:nvSpPr>
        <p:spPr/>
        <p:txBody>
          <a:bodyPr/>
          <a:lstStyle/>
          <a:p>
            <a:r>
              <a:rPr lang="en-GB" dirty="0" err="1">
                <a:latin typeface="SimSun" panose="02010600030101010101" pitchFamily="2" charset="-122"/>
                <a:ea typeface="SimSun" panose="02010600030101010101" pitchFamily="2" charset="-122"/>
              </a:rPr>
              <a:t>PaaS（Platform</a:t>
            </a:r>
            <a:r>
              <a:rPr lang="en-GB" dirty="0">
                <a:latin typeface="SimSun" panose="02010600030101010101" pitchFamily="2" charset="-122"/>
                <a:ea typeface="SimSun" panose="02010600030101010101" pitchFamily="2" charset="-122"/>
              </a:rPr>
              <a:t> as a Service）</a:t>
            </a:r>
            <a:r>
              <a:rPr lang="ja-JP" altLang="en-US" dirty="0">
                <a:latin typeface="SimSun" panose="02010600030101010101" pitchFamily="2" charset="-122"/>
                <a:ea typeface="SimSun" panose="02010600030101010101" pitchFamily="2" charset="-122"/>
              </a:rPr>
              <a:t>平台资源服务</a:t>
            </a:r>
            <a:br>
              <a:rPr lang="ja-JP" altLang="en-US" dirty="0">
                <a:latin typeface="SimSun" panose="02010600030101010101" pitchFamily="2" charset="-122"/>
                <a:ea typeface="SimSun" panose="02010600030101010101" pitchFamily="2" charset="-122"/>
              </a:rPr>
            </a:br>
            <a:endParaRPr lang="en-GB" dirty="0">
              <a:latin typeface="SimSun" panose="02010600030101010101" pitchFamily="2" charset="-122"/>
              <a:ea typeface="SimSun" panose="02010600030101010101" pitchFamily="2" charset="-122"/>
            </a:endParaRPr>
          </a:p>
        </p:txBody>
      </p:sp>
      <p:pic>
        <p:nvPicPr>
          <p:cNvPr id="1026" name="Picture 2" descr="Opener Image"/>
          <p:cNvPicPr>
            <a:picLocks noChangeAspect="1" noChangeArrowheads="1"/>
          </p:cNvPicPr>
          <p:nvPr/>
        </p:nvPicPr>
        <p:blipFill rotWithShape="1">
          <a:blip r:embed="rId2">
            <a:extLst>
              <a:ext uri="{28A0092B-C50C-407E-A947-70E740481C1C}">
                <a14:useLocalDpi xmlns:a14="http://schemas.microsoft.com/office/drawing/2010/main" val="0"/>
              </a:ext>
            </a:extLst>
          </a:blip>
          <a:srcRect t="5120"/>
          <a:stretch/>
        </p:blipFill>
        <p:spPr bwMode="auto">
          <a:xfrm>
            <a:off x="5508104" y="3933056"/>
            <a:ext cx="2808312" cy="2348391"/>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13"/>
          </p:nvPr>
        </p:nvSpPr>
        <p:spPr>
          <a:xfrm>
            <a:off x="455613" y="6575425"/>
            <a:ext cx="3600000" cy="128588"/>
          </a:xfrm>
        </p:spPr>
        <p:txBody>
          <a:bodyPr/>
          <a:lstStyle/>
          <a:p>
            <a:pPr algn="l"/>
            <a:r>
              <a:rPr lang="en-AU" dirty="0" smtClean="0"/>
              <a:t>Copyright © 201</a:t>
            </a:r>
            <a:r>
              <a:rPr lang="en-US" altLang="zh-CN" dirty="0" smtClean="0"/>
              <a:t>6</a:t>
            </a:r>
            <a:r>
              <a:rPr lang="en-AU" dirty="0" smtClean="0"/>
              <a:t> Accenture  All rights reserved.</a:t>
            </a:r>
            <a:endParaRPr lang="en-AU" dirty="0"/>
          </a:p>
        </p:txBody>
      </p:sp>
    </p:spTree>
    <p:extLst>
      <p:ext uri="{BB962C8B-B14F-4D97-AF65-F5344CB8AC3E}">
        <p14:creationId xmlns:p14="http://schemas.microsoft.com/office/powerpoint/2010/main" val="3038874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zh-CN" altLang="en-US" dirty="0" smtClean="0">
                <a:latin typeface="SimSun" panose="02010600030101010101" pitchFamily="2" charset="-122"/>
                <a:ea typeface="SimSun" panose="02010600030101010101" pitchFamily="2" charset="-122"/>
              </a:rPr>
              <a:t>云计算部署模式</a:t>
            </a:r>
            <a:endParaRPr lang="en-US" dirty="0">
              <a:latin typeface="SimSun" panose="02010600030101010101" pitchFamily="2" charset="-122"/>
              <a:ea typeface="SimSun" panose="02010600030101010101" pitchFamily="2" charset="-122"/>
            </a:endParaRPr>
          </a:p>
        </p:txBody>
      </p:sp>
      <p:sp>
        <p:nvSpPr>
          <p:cNvPr id="12" name="Text Placeholder 11"/>
          <p:cNvSpPr>
            <a:spLocks noGrp="1"/>
          </p:cNvSpPr>
          <p:nvPr>
            <p:ph type="body" sz="quarter" idx="10"/>
          </p:nvPr>
        </p:nvSpPr>
        <p:spPr/>
        <p:txBody>
          <a:bodyPr/>
          <a:lstStyle/>
          <a:p>
            <a:r>
              <a:rPr lang="zh-CN" altLang="en-US" dirty="0" smtClean="0">
                <a:latin typeface="SimSun" panose="02010600030101010101" pitchFamily="2" charset="-122"/>
                <a:ea typeface="SimSun" panose="02010600030101010101" pitchFamily="2" charset="-122"/>
              </a:rPr>
              <a:t>谁来管理</a:t>
            </a:r>
            <a:r>
              <a:rPr lang="en-US" altLang="zh-CN" dirty="0" smtClean="0">
                <a:latin typeface="SimSun" panose="02010600030101010101" pitchFamily="2" charset="-122"/>
                <a:ea typeface="SimSun" panose="02010600030101010101" pitchFamily="2" charset="-122"/>
              </a:rPr>
              <a:t>&lt;</a:t>
            </a:r>
            <a:r>
              <a:rPr lang="en-US" dirty="0" smtClean="0">
                <a:latin typeface="SimSun" panose="02010600030101010101" pitchFamily="2" charset="-122"/>
                <a:ea typeface="SimSun" panose="02010600030101010101" pitchFamily="2" charset="-122"/>
              </a:rPr>
              <a:t>layers</a:t>
            </a:r>
            <a:r>
              <a:rPr lang="en-US" dirty="0" smtClean="0">
                <a:latin typeface="SimSun" panose="02010600030101010101" pitchFamily="2" charset="-122"/>
                <a:ea typeface="SimSun" panose="02010600030101010101" pitchFamily="2" charset="-122"/>
              </a:rPr>
              <a:t>&gt;? </a:t>
            </a:r>
            <a:endParaRPr lang="en-US" dirty="0">
              <a:latin typeface="SimSun" panose="02010600030101010101" pitchFamily="2" charset="-122"/>
              <a:ea typeface="SimSun" panose="02010600030101010101" pitchFamily="2" charset="-122"/>
            </a:endParaRPr>
          </a:p>
        </p:txBody>
      </p:sp>
      <p:sp>
        <p:nvSpPr>
          <p:cNvPr id="5" name="Footer Placeholder 4"/>
          <p:cNvSpPr>
            <a:spLocks noGrp="1"/>
          </p:cNvSpPr>
          <p:nvPr>
            <p:ph type="ftr" sz="quarter" idx="13"/>
          </p:nvPr>
        </p:nvSpPr>
        <p:spPr/>
        <p:txBody>
          <a:bodyPr/>
          <a:lstStyle/>
          <a:p>
            <a:r>
              <a:rPr lang="en-AU" dirty="0" smtClean="0"/>
              <a:t>Copyright © 201</a:t>
            </a:r>
            <a:r>
              <a:rPr lang="en-US" altLang="zh-CN" dirty="0" smtClean="0"/>
              <a:t>6</a:t>
            </a:r>
            <a:r>
              <a:rPr lang="en-AU" dirty="0" smtClean="0"/>
              <a:t> Accenture  All rights reserved.</a:t>
            </a:r>
            <a:endParaRPr lang="en-AU" dirty="0"/>
          </a:p>
        </p:txBody>
      </p:sp>
      <p:sp>
        <p:nvSpPr>
          <p:cNvPr id="19" name="Content Placeholder 46"/>
          <p:cNvSpPr txBox="1">
            <a:spLocks/>
          </p:cNvSpPr>
          <p:nvPr/>
        </p:nvSpPr>
        <p:spPr>
          <a:xfrm>
            <a:off x="455613" y="1759787"/>
            <a:ext cx="8151900" cy="430887"/>
          </a:xfrm>
          <a:prstGeom prst="rect">
            <a:avLst/>
          </a:prstGeom>
        </p:spPr>
        <p:txBody>
          <a:bodyPr lIns="0" tIns="0" rIns="0" bIns="0">
            <a:sp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z="1400" dirty="0" smtClean="0">
                <a:solidFill>
                  <a:schemeClr val="tx1"/>
                </a:solidFill>
                <a:latin typeface="SimSun" panose="02010600030101010101" pitchFamily="2" charset="-122"/>
                <a:ea typeface="SimSun" panose="02010600030101010101" pitchFamily="2" charset="-122"/>
                <a:cs typeface="Calibri" pitchFamily="34" charset="0"/>
              </a:rPr>
              <a:t>云服务为</a:t>
            </a:r>
            <a:r>
              <a:rPr lang="en-US" altLang="zh-CN" sz="1400" dirty="0" smtClean="0">
                <a:solidFill>
                  <a:schemeClr val="tx1"/>
                </a:solidFill>
                <a:latin typeface="SimSun" panose="02010600030101010101" pitchFamily="2" charset="-122"/>
                <a:ea typeface="SimSun" panose="02010600030101010101" pitchFamily="2" charset="-122"/>
                <a:cs typeface="Calibri" pitchFamily="34" charset="0"/>
              </a:rPr>
              <a:t>IT</a:t>
            </a:r>
            <a:r>
              <a:rPr lang="zh-CN" altLang="en-US" sz="1400" dirty="0" smtClean="0">
                <a:solidFill>
                  <a:schemeClr val="tx1"/>
                </a:solidFill>
                <a:latin typeface="SimSun" panose="02010600030101010101" pitchFamily="2" charset="-122"/>
                <a:ea typeface="SimSun" panose="02010600030101010101" pitchFamily="2" charset="-122"/>
                <a:cs typeface="Calibri" pitchFamily="34" charset="0"/>
              </a:rPr>
              <a:t>组织提供大量的有关商品基础设施</a:t>
            </a:r>
            <a:r>
              <a:rPr lang="zh-CN" altLang="en-US" sz="1400" dirty="0">
                <a:solidFill>
                  <a:schemeClr val="tx1"/>
                </a:solidFill>
                <a:latin typeface="SimSun" panose="02010600030101010101" pitchFamily="2" charset="-122"/>
                <a:ea typeface="SimSun" panose="02010600030101010101" pitchFamily="2" charset="-122"/>
                <a:cs typeface="Calibri" pitchFamily="34" charset="0"/>
              </a:rPr>
              <a:t>的模式</a:t>
            </a:r>
            <a:r>
              <a:rPr lang="zh-CN" altLang="en-US" sz="1400" dirty="0" smtClean="0">
                <a:solidFill>
                  <a:schemeClr val="tx1"/>
                </a:solidFill>
                <a:latin typeface="SimSun" panose="02010600030101010101" pitchFamily="2" charset="-122"/>
                <a:ea typeface="SimSun" panose="02010600030101010101" pitchFamily="2" charset="-122"/>
                <a:cs typeface="Calibri" pitchFamily="34" charset="0"/>
              </a:rPr>
              <a:t>。一些底层技术的上层管理部分被转移到云供应商那里。</a:t>
            </a:r>
            <a:endParaRPr lang="en-US" sz="1400" dirty="0">
              <a:solidFill>
                <a:schemeClr val="tx1"/>
              </a:solidFill>
              <a:latin typeface="SimSun" panose="02010600030101010101" pitchFamily="2" charset="-122"/>
              <a:ea typeface="SimSun" panose="02010600030101010101" pitchFamily="2" charset="-122"/>
              <a:cs typeface="Calibri" pitchFamily="34" charset="0"/>
            </a:endParaRPr>
          </a:p>
        </p:txBody>
      </p:sp>
      <p:sp>
        <p:nvSpPr>
          <p:cNvPr id="20" name="Rounded Rectangle 19"/>
          <p:cNvSpPr/>
          <p:nvPr/>
        </p:nvSpPr>
        <p:spPr>
          <a:xfrm>
            <a:off x="6687927" y="6117024"/>
            <a:ext cx="1998000" cy="23293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100" dirty="0" smtClean="0">
                <a:solidFill>
                  <a:schemeClr val="bg1"/>
                </a:solidFill>
                <a:latin typeface="SimSun" panose="02010600030101010101" pitchFamily="2" charset="-122"/>
                <a:ea typeface="SimSun" panose="02010600030101010101" pitchFamily="2" charset="-122"/>
              </a:rPr>
              <a:t>供应商管理</a:t>
            </a:r>
            <a:endParaRPr lang="en-US" sz="1100" dirty="0">
              <a:solidFill>
                <a:schemeClr val="bg1"/>
              </a:solidFill>
              <a:latin typeface="SimSun" panose="02010600030101010101" pitchFamily="2" charset="-122"/>
              <a:ea typeface="SimSun" panose="02010600030101010101" pitchFamily="2" charset="-122"/>
            </a:endParaRPr>
          </a:p>
        </p:txBody>
      </p:sp>
      <p:sp>
        <p:nvSpPr>
          <p:cNvPr id="21" name="Rounded Rectangle 20"/>
          <p:cNvSpPr/>
          <p:nvPr/>
        </p:nvSpPr>
        <p:spPr>
          <a:xfrm>
            <a:off x="4610489" y="6117024"/>
            <a:ext cx="1998874" cy="23293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100" dirty="0" smtClean="0">
                <a:solidFill>
                  <a:schemeClr val="tx1"/>
                </a:solidFill>
                <a:latin typeface="SimSun" panose="02010600030101010101" pitchFamily="2" charset="-122"/>
                <a:ea typeface="SimSun" panose="02010600030101010101" pitchFamily="2" charset="-122"/>
              </a:rPr>
              <a:t>客户管理</a:t>
            </a:r>
            <a:endParaRPr lang="en-US" sz="1100" dirty="0">
              <a:solidFill>
                <a:schemeClr val="tx1"/>
              </a:solidFill>
              <a:latin typeface="SimSun" panose="02010600030101010101" pitchFamily="2" charset="-122"/>
              <a:ea typeface="SimSun" panose="02010600030101010101" pitchFamily="2" charset="-122"/>
            </a:endParaRPr>
          </a:p>
        </p:txBody>
      </p:sp>
      <p:grpSp>
        <p:nvGrpSpPr>
          <p:cNvPr id="15" name="Group 14"/>
          <p:cNvGrpSpPr/>
          <p:nvPr/>
        </p:nvGrpSpPr>
        <p:grpSpPr>
          <a:xfrm>
            <a:off x="455613" y="2345625"/>
            <a:ext cx="8231187" cy="3513524"/>
            <a:chOff x="455613" y="2167087"/>
            <a:chExt cx="8231187" cy="3513524"/>
          </a:xfrm>
        </p:grpSpPr>
        <p:sp>
          <p:nvSpPr>
            <p:cNvPr id="32" name="TextBox 31"/>
            <p:cNvSpPr txBox="1"/>
            <p:nvPr/>
          </p:nvSpPr>
          <p:spPr>
            <a:xfrm>
              <a:off x="455613" y="2167087"/>
              <a:ext cx="1998874" cy="438730"/>
            </a:xfrm>
            <a:prstGeom prst="rect">
              <a:avLst/>
            </a:prstGeom>
            <a:solidFill>
              <a:schemeClr val="accent1"/>
            </a:solidFill>
            <a:ln w="12700" cmpd="sng">
              <a:noFill/>
            </a:ln>
            <a:effectLst/>
          </p:spPr>
          <p:style>
            <a:lnRef idx="3">
              <a:schemeClr val="lt1"/>
            </a:lnRef>
            <a:fillRef idx="1">
              <a:schemeClr val="accent1"/>
            </a:fillRef>
            <a:effectRef idx="1">
              <a:schemeClr val="accent1"/>
            </a:effectRef>
            <a:fontRef idx="minor">
              <a:schemeClr val="lt1"/>
            </a:fontRef>
          </p:style>
          <p:txBody>
            <a:bodyPr tIns="0" bIns="0" rtlCol="0" anchor="ctr"/>
            <a:lstStyle>
              <a:defPPr>
                <a:defRPr lang="en-US"/>
              </a:defPPr>
              <a:lvl1pPr algn="ctr">
                <a:defRPr sz="1200" b="0"/>
              </a:lvl1pPr>
            </a:lstStyle>
            <a:p>
              <a:r>
                <a:rPr lang="zh-CN" altLang="en-US" b="1" dirty="0" smtClean="0">
                  <a:solidFill>
                    <a:schemeClr val="bg1"/>
                  </a:solidFill>
                  <a:latin typeface="SimSun" panose="02010600030101010101" pitchFamily="2" charset="-122"/>
                  <a:ea typeface="SimSun" panose="02010600030101010101" pitchFamily="2" charset="-122"/>
                </a:rPr>
                <a:t>前提比较</a:t>
              </a:r>
              <a:endParaRPr lang="en-US" b="1" dirty="0">
                <a:solidFill>
                  <a:schemeClr val="bg1"/>
                </a:solidFill>
                <a:latin typeface="SimSun" panose="02010600030101010101" pitchFamily="2" charset="-122"/>
                <a:ea typeface="SimSun" panose="02010600030101010101" pitchFamily="2" charset="-122"/>
              </a:endParaRPr>
            </a:p>
          </p:txBody>
        </p:sp>
        <p:sp>
          <p:nvSpPr>
            <p:cNvPr id="43" name="TextBox 42"/>
            <p:cNvSpPr txBox="1"/>
            <p:nvPr/>
          </p:nvSpPr>
          <p:spPr>
            <a:xfrm>
              <a:off x="2533051" y="2167087"/>
              <a:ext cx="1998874" cy="438730"/>
            </a:xfrm>
            <a:prstGeom prst="rect">
              <a:avLst/>
            </a:prstGeom>
            <a:solidFill>
              <a:schemeClr val="accent2"/>
            </a:solidFill>
            <a:ln w="12700" cmpd="sng">
              <a:noFill/>
            </a:ln>
            <a:effectLst/>
          </p:spPr>
          <p:style>
            <a:lnRef idx="3">
              <a:schemeClr val="lt1"/>
            </a:lnRef>
            <a:fillRef idx="1">
              <a:schemeClr val="accent1"/>
            </a:fillRef>
            <a:effectRef idx="1">
              <a:schemeClr val="accent1"/>
            </a:effectRef>
            <a:fontRef idx="minor">
              <a:schemeClr val="lt1"/>
            </a:fontRef>
          </p:style>
          <p:txBody>
            <a:bodyPr tIns="0" bIns="0" rtlCol="0" anchor="ctr"/>
            <a:lstStyle>
              <a:defPPr>
                <a:defRPr lang="en-US"/>
              </a:defPPr>
              <a:lvl1pPr algn="ctr">
                <a:defRPr sz="1200" b="1">
                  <a:solidFill>
                    <a:schemeClr val="tx1"/>
                  </a:solidFill>
                </a:defRPr>
              </a:lvl1pPr>
            </a:lstStyle>
            <a:p>
              <a:r>
                <a:rPr kumimoji="1" lang="ja-JP" altLang="en-US" dirty="0">
                  <a:solidFill>
                    <a:schemeClr val="bg1"/>
                  </a:solidFill>
                  <a:latin typeface="SimSun" panose="02010600030101010101" pitchFamily="2" charset="-122"/>
                  <a:ea typeface="SimSun" panose="02010600030101010101" pitchFamily="2" charset="-122"/>
                  <a:cs typeface="Arial" pitchFamily="34" charset="0"/>
                </a:rPr>
                <a:t>硬件</a:t>
              </a:r>
              <a:r>
                <a:rPr kumimoji="1" lang="zh-CN" altLang="en-US" dirty="0">
                  <a:solidFill>
                    <a:schemeClr val="bg1"/>
                  </a:solidFill>
                  <a:latin typeface="SimSun" panose="02010600030101010101" pitchFamily="2" charset="-122"/>
                  <a:ea typeface="SimSun" panose="02010600030101010101" pitchFamily="2" charset="-122"/>
                  <a:cs typeface="Arial" pitchFamily="34" charset="0"/>
                </a:rPr>
                <a:t>资源服务</a:t>
              </a:r>
              <a:endParaRPr kumimoji="1" lang="en-US" altLang="ja-JP" dirty="0">
                <a:solidFill>
                  <a:schemeClr val="bg1"/>
                </a:solidFill>
                <a:latin typeface="SimSun" panose="02010600030101010101" pitchFamily="2" charset="-122"/>
                <a:ea typeface="SimSun" panose="02010600030101010101" pitchFamily="2" charset="-122"/>
                <a:cs typeface="Arial" pitchFamily="34" charset="0"/>
              </a:endParaRPr>
            </a:p>
          </p:txBody>
        </p:sp>
        <p:sp>
          <p:nvSpPr>
            <p:cNvPr id="54" name="TextBox 53"/>
            <p:cNvSpPr txBox="1"/>
            <p:nvPr/>
          </p:nvSpPr>
          <p:spPr>
            <a:xfrm>
              <a:off x="4610489" y="2167087"/>
              <a:ext cx="1998874" cy="438730"/>
            </a:xfrm>
            <a:prstGeom prst="rect">
              <a:avLst/>
            </a:prstGeom>
            <a:solidFill>
              <a:schemeClr val="accent3"/>
            </a:solidFill>
            <a:ln w="12700" cmpd="sng">
              <a:noFill/>
            </a:ln>
            <a:effectLst/>
          </p:spPr>
          <p:style>
            <a:lnRef idx="3">
              <a:schemeClr val="lt1"/>
            </a:lnRef>
            <a:fillRef idx="1">
              <a:schemeClr val="accent1"/>
            </a:fillRef>
            <a:effectRef idx="1">
              <a:schemeClr val="accent1"/>
            </a:effectRef>
            <a:fontRef idx="minor">
              <a:schemeClr val="lt1"/>
            </a:fontRef>
          </p:style>
          <p:txBody>
            <a:bodyPr tIns="0" bIns="0" rtlCol="0" anchor="ctr"/>
            <a:lstStyle>
              <a:defPPr>
                <a:defRPr lang="en-US"/>
              </a:defPPr>
              <a:lvl1pPr algn="ctr">
                <a:defRPr sz="1200" b="1">
                  <a:solidFill>
                    <a:schemeClr val="tx1"/>
                  </a:solidFill>
                </a:defRPr>
              </a:lvl1pPr>
            </a:lstStyle>
            <a:p>
              <a:r>
                <a:rPr kumimoji="1" lang="ja-JP" altLang="en-US" dirty="0">
                  <a:solidFill>
                    <a:schemeClr val="bg1"/>
                  </a:solidFill>
                  <a:latin typeface="SimSun" panose="02010600030101010101" pitchFamily="2" charset="-122"/>
                  <a:ea typeface="SimSun" panose="02010600030101010101" pitchFamily="2" charset="-122"/>
                  <a:cs typeface="Arial" pitchFamily="34" charset="0"/>
                </a:rPr>
                <a:t>平台资源</a:t>
              </a:r>
              <a:r>
                <a:rPr kumimoji="1" lang="zh-CN" altLang="en-US" dirty="0">
                  <a:solidFill>
                    <a:schemeClr val="bg1"/>
                  </a:solidFill>
                  <a:latin typeface="SimSun" panose="02010600030101010101" pitchFamily="2" charset="-122"/>
                  <a:ea typeface="SimSun" panose="02010600030101010101" pitchFamily="2" charset="-122"/>
                  <a:cs typeface="Arial" pitchFamily="34" charset="0"/>
                </a:rPr>
                <a:t>服务</a:t>
              </a:r>
              <a:endParaRPr kumimoji="1" lang="en-US" altLang="ja-JP" dirty="0">
                <a:solidFill>
                  <a:schemeClr val="bg1"/>
                </a:solidFill>
                <a:latin typeface="SimSun" panose="02010600030101010101" pitchFamily="2" charset="-122"/>
                <a:ea typeface="SimSun" panose="02010600030101010101" pitchFamily="2" charset="-122"/>
                <a:cs typeface="Arial" pitchFamily="34" charset="0"/>
              </a:endParaRPr>
            </a:p>
          </p:txBody>
        </p:sp>
        <p:sp>
          <p:nvSpPr>
            <p:cNvPr id="65" name="TextBox 64"/>
            <p:cNvSpPr txBox="1"/>
            <p:nvPr/>
          </p:nvSpPr>
          <p:spPr>
            <a:xfrm>
              <a:off x="6687926" y="2167087"/>
              <a:ext cx="1998874" cy="438730"/>
            </a:xfrm>
            <a:prstGeom prst="rect">
              <a:avLst/>
            </a:prstGeom>
            <a:solidFill>
              <a:schemeClr val="accent5"/>
            </a:solidFill>
            <a:ln w="12700" cmpd="sng">
              <a:noFill/>
            </a:ln>
            <a:effectLst/>
          </p:spPr>
          <p:style>
            <a:lnRef idx="3">
              <a:schemeClr val="lt1"/>
            </a:lnRef>
            <a:fillRef idx="1">
              <a:schemeClr val="accent1"/>
            </a:fillRef>
            <a:effectRef idx="1">
              <a:schemeClr val="accent1"/>
            </a:effectRef>
            <a:fontRef idx="minor">
              <a:schemeClr val="lt1"/>
            </a:fontRef>
          </p:style>
          <p:txBody>
            <a:bodyPr tIns="0" bIns="0" rtlCol="0" anchor="ctr"/>
            <a:lstStyle>
              <a:defPPr>
                <a:defRPr lang="en-US"/>
              </a:defPPr>
              <a:lvl1pPr algn="ctr">
                <a:defRPr sz="1200" b="1">
                  <a:solidFill>
                    <a:schemeClr val="tx1"/>
                  </a:solidFill>
                </a:defRPr>
              </a:lvl1pPr>
            </a:lstStyle>
            <a:p>
              <a:r>
                <a:rPr kumimoji="1" lang="ja-JP" altLang="en-US" dirty="0">
                  <a:solidFill>
                    <a:schemeClr val="bg1"/>
                  </a:solidFill>
                  <a:latin typeface="SimSun" panose="02010600030101010101" pitchFamily="2" charset="-122"/>
                  <a:ea typeface="SimSun" panose="02010600030101010101" pitchFamily="2" charset="-122"/>
                  <a:cs typeface="Arial" pitchFamily="34" charset="0"/>
                </a:rPr>
                <a:t>应用资源</a:t>
              </a:r>
              <a:r>
                <a:rPr kumimoji="1" lang="zh-CN" altLang="en-US" dirty="0">
                  <a:solidFill>
                    <a:schemeClr val="bg1"/>
                  </a:solidFill>
                  <a:latin typeface="SimSun" panose="02010600030101010101" pitchFamily="2" charset="-122"/>
                  <a:ea typeface="SimSun" panose="02010600030101010101" pitchFamily="2" charset="-122"/>
                  <a:cs typeface="Arial" pitchFamily="34" charset="0"/>
                </a:rPr>
                <a:t>服务</a:t>
              </a:r>
              <a:endParaRPr kumimoji="1" lang="en-US" altLang="ja-JP" dirty="0">
                <a:solidFill>
                  <a:schemeClr val="bg1"/>
                </a:solidFill>
                <a:latin typeface="SimSun" panose="02010600030101010101" pitchFamily="2" charset="-122"/>
                <a:ea typeface="SimSun" panose="02010600030101010101" pitchFamily="2" charset="-122"/>
                <a:cs typeface="Arial" pitchFamily="34" charset="0"/>
              </a:endParaRPr>
            </a:p>
          </p:txBody>
        </p:sp>
        <p:grpSp>
          <p:nvGrpSpPr>
            <p:cNvPr id="14" name="Group 13"/>
            <p:cNvGrpSpPr/>
            <p:nvPr/>
          </p:nvGrpSpPr>
          <p:grpSpPr>
            <a:xfrm>
              <a:off x="455613" y="2692929"/>
              <a:ext cx="8230314" cy="2987682"/>
              <a:chOff x="455613" y="2692928"/>
              <a:chExt cx="8230314" cy="3314357"/>
            </a:xfrm>
          </p:grpSpPr>
          <p:sp>
            <p:nvSpPr>
              <p:cNvPr id="23" name="Rounded Rectangle 22"/>
              <p:cNvSpPr/>
              <p:nvPr/>
            </p:nvSpPr>
            <p:spPr>
              <a:xfrm>
                <a:off x="455613" y="5672138"/>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网络</a:t>
                </a:r>
                <a:endParaRPr lang="en-US" sz="1050" dirty="0">
                  <a:solidFill>
                    <a:schemeClr val="tx1"/>
                  </a:solidFill>
                  <a:latin typeface="SimSun" panose="02010600030101010101" pitchFamily="2" charset="-122"/>
                  <a:ea typeface="SimSun" panose="02010600030101010101" pitchFamily="2" charset="-122"/>
                </a:endParaRPr>
              </a:p>
            </p:txBody>
          </p:sp>
          <p:sp>
            <p:nvSpPr>
              <p:cNvPr id="24" name="Rounded Rectangle 23"/>
              <p:cNvSpPr/>
              <p:nvPr/>
            </p:nvSpPr>
            <p:spPr>
              <a:xfrm>
                <a:off x="455613" y="5299735"/>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smtClean="0">
                    <a:solidFill>
                      <a:schemeClr val="tx1"/>
                    </a:solidFill>
                    <a:latin typeface="SimSun" panose="02010600030101010101" pitchFamily="2" charset="-122"/>
                    <a:ea typeface="SimSun" panose="02010600030101010101" pitchFamily="2" charset="-122"/>
                  </a:rPr>
                  <a:t>存储</a:t>
                </a:r>
                <a:r>
                  <a:rPr lang="zh-CN" altLang="en-US" sz="1050" dirty="0" smtClean="0">
                    <a:solidFill>
                      <a:schemeClr val="tx1"/>
                    </a:solidFill>
                    <a:latin typeface="SimSun" panose="02010600030101010101" pitchFamily="2" charset="-122"/>
                    <a:ea typeface="SimSun" panose="02010600030101010101" pitchFamily="2" charset="-122"/>
                  </a:rPr>
                  <a:t>装置</a:t>
                </a:r>
                <a:endParaRPr lang="en-US" sz="1050" dirty="0">
                  <a:solidFill>
                    <a:schemeClr val="tx1"/>
                  </a:solidFill>
                  <a:latin typeface="SimSun" panose="02010600030101010101" pitchFamily="2" charset="-122"/>
                  <a:ea typeface="SimSun" panose="02010600030101010101" pitchFamily="2" charset="-122"/>
                </a:endParaRPr>
              </a:p>
            </p:txBody>
          </p:sp>
          <p:sp>
            <p:nvSpPr>
              <p:cNvPr id="25" name="Rounded Rectangle 24"/>
              <p:cNvSpPr/>
              <p:nvPr/>
            </p:nvSpPr>
            <p:spPr>
              <a:xfrm>
                <a:off x="455613" y="4927334"/>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服务器</a:t>
                </a:r>
                <a:endParaRPr lang="en-US" sz="1050" dirty="0">
                  <a:solidFill>
                    <a:schemeClr val="tx1"/>
                  </a:solidFill>
                  <a:latin typeface="SimSun" panose="02010600030101010101" pitchFamily="2" charset="-122"/>
                  <a:ea typeface="SimSun" panose="02010600030101010101" pitchFamily="2" charset="-122"/>
                </a:endParaRPr>
              </a:p>
            </p:txBody>
          </p:sp>
          <p:sp>
            <p:nvSpPr>
              <p:cNvPr id="26" name="Rounded Rectangle 25"/>
              <p:cNvSpPr/>
              <p:nvPr/>
            </p:nvSpPr>
            <p:spPr>
              <a:xfrm>
                <a:off x="455613" y="4554933"/>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smtClean="0">
                    <a:solidFill>
                      <a:schemeClr val="tx1"/>
                    </a:solidFill>
                    <a:latin typeface="SimSun" panose="02010600030101010101" pitchFamily="2" charset="-122"/>
                    <a:ea typeface="SimSun" panose="02010600030101010101" pitchFamily="2" charset="-122"/>
                  </a:rPr>
                  <a:t>虚拟化</a:t>
                </a:r>
                <a:endParaRPr lang="en-US" sz="1050" dirty="0">
                  <a:solidFill>
                    <a:schemeClr val="tx1"/>
                  </a:solidFill>
                  <a:latin typeface="SimSun" panose="02010600030101010101" pitchFamily="2" charset="-122"/>
                  <a:ea typeface="SimSun" panose="02010600030101010101" pitchFamily="2" charset="-122"/>
                </a:endParaRPr>
              </a:p>
            </p:txBody>
          </p:sp>
          <p:sp>
            <p:nvSpPr>
              <p:cNvPr id="27" name="Rounded Rectangle 26"/>
              <p:cNvSpPr/>
              <p:nvPr/>
            </p:nvSpPr>
            <p:spPr>
              <a:xfrm>
                <a:off x="455613" y="4182532"/>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操作系统</a:t>
                </a:r>
                <a:endParaRPr lang="en-US" sz="1050" dirty="0">
                  <a:solidFill>
                    <a:schemeClr val="tx1"/>
                  </a:solidFill>
                  <a:latin typeface="SimSun" panose="02010600030101010101" pitchFamily="2" charset="-122"/>
                  <a:ea typeface="SimSun" panose="02010600030101010101" pitchFamily="2" charset="-122"/>
                </a:endParaRPr>
              </a:p>
            </p:txBody>
          </p:sp>
          <p:sp>
            <p:nvSpPr>
              <p:cNvPr id="28" name="Rounded Rectangle 27"/>
              <p:cNvSpPr/>
              <p:nvPr/>
            </p:nvSpPr>
            <p:spPr>
              <a:xfrm>
                <a:off x="455613" y="3810131"/>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数据库</a:t>
                </a:r>
                <a:endParaRPr lang="en-US" sz="1050" dirty="0">
                  <a:solidFill>
                    <a:schemeClr val="tx1"/>
                  </a:solidFill>
                  <a:latin typeface="SimSun" panose="02010600030101010101" pitchFamily="2" charset="-122"/>
                  <a:ea typeface="SimSun" panose="02010600030101010101" pitchFamily="2" charset="-122"/>
                </a:endParaRPr>
              </a:p>
            </p:txBody>
          </p:sp>
          <p:sp>
            <p:nvSpPr>
              <p:cNvPr id="29" name="Rounded Rectangle 28"/>
              <p:cNvSpPr/>
              <p:nvPr/>
            </p:nvSpPr>
            <p:spPr>
              <a:xfrm>
                <a:off x="455613" y="3437730"/>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系统软件</a:t>
                </a:r>
                <a:endParaRPr lang="en-US" sz="1050" dirty="0">
                  <a:solidFill>
                    <a:schemeClr val="tx1"/>
                  </a:solidFill>
                  <a:latin typeface="SimSun" panose="02010600030101010101" pitchFamily="2" charset="-122"/>
                  <a:ea typeface="SimSun" panose="02010600030101010101" pitchFamily="2" charset="-122"/>
                </a:endParaRPr>
              </a:p>
            </p:txBody>
          </p:sp>
          <p:sp>
            <p:nvSpPr>
              <p:cNvPr id="30" name="Rounded Rectangle 29"/>
              <p:cNvSpPr/>
              <p:nvPr/>
            </p:nvSpPr>
            <p:spPr>
              <a:xfrm>
                <a:off x="455613" y="3065329"/>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应用架构</a:t>
                </a:r>
                <a:endParaRPr lang="en-US" sz="1050" dirty="0">
                  <a:solidFill>
                    <a:schemeClr val="tx1"/>
                  </a:solidFill>
                  <a:latin typeface="SimSun" panose="02010600030101010101" pitchFamily="2" charset="-122"/>
                  <a:ea typeface="SimSun" panose="02010600030101010101" pitchFamily="2" charset="-122"/>
                </a:endParaRPr>
              </a:p>
            </p:txBody>
          </p:sp>
          <p:sp>
            <p:nvSpPr>
              <p:cNvPr id="31" name="Rounded Rectangle 30"/>
              <p:cNvSpPr/>
              <p:nvPr/>
            </p:nvSpPr>
            <p:spPr>
              <a:xfrm>
                <a:off x="455613" y="2692928"/>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eaLnBrk="1" hangingPunct="1"/>
                <a:r>
                  <a:rPr lang="zh-CN" altLang="en-US" sz="1050" dirty="0" smtClean="0">
                    <a:solidFill>
                      <a:schemeClr val="tx1"/>
                    </a:solidFill>
                    <a:latin typeface="SimSun" panose="02010600030101010101" pitchFamily="2" charset="-122"/>
                    <a:ea typeface="SimSun" panose="02010600030101010101" pitchFamily="2" charset="-122"/>
                  </a:rPr>
                  <a:t>应用</a:t>
                </a:r>
                <a:endParaRPr lang="en-US" sz="1050" dirty="0">
                  <a:solidFill>
                    <a:schemeClr val="tx1"/>
                  </a:solidFill>
                  <a:latin typeface="SimSun" panose="02010600030101010101" pitchFamily="2" charset="-122"/>
                  <a:ea typeface="SimSun" panose="02010600030101010101" pitchFamily="2" charset="-122"/>
                </a:endParaRPr>
              </a:p>
            </p:txBody>
          </p:sp>
          <p:sp>
            <p:nvSpPr>
              <p:cNvPr id="76" name="Rounded Rectangle 75"/>
              <p:cNvSpPr/>
              <p:nvPr/>
            </p:nvSpPr>
            <p:spPr>
              <a:xfrm>
                <a:off x="2533051" y="5672138"/>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网络</a:t>
                </a:r>
                <a:endParaRPr lang="en-US" sz="1050" dirty="0">
                  <a:solidFill>
                    <a:schemeClr val="bg1"/>
                  </a:solidFill>
                  <a:latin typeface="SimSun" panose="02010600030101010101" pitchFamily="2" charset="-122"/>
                  <a:ea typeface="SimSun" panose="02010600030101010101" pitchFamily="2" charset="-122"/>
                </a:endParaRPr>
              </a:p>
            </p:txBody>
          </p:sp>
          <p:sp>
            <p:nvSpPr>
              <p:cNvPr id="77" name="Rounded Rectangle 76"/>
              <p:cNvSpPr/>
              <p:nvPr/>
            </p:nvSpPr>
            <p:spPr>
              <a:xfrm>
                <a:off x="2533051" y="5299735"/>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bg1"/>
                    </a:solidFill>
                    <a:latin typeface="SimSun" panose="02010600030101010101" pitchFamily="2" charset="-122"/>
                    <a:ea typeface="SimSun" panose="02010600030101010101" pitchFamily="2" charset="-122"/>
                  </a:rPr>
                  <a:t>存储装置</a:t>
                </a:r>
              </a:p>
            </p:txBody>
          </p:sp>
          <p:sp>
            <p:nvSpPr>
              <p:cNvPr id="78" name="Rounded Rectangle 77"/>
              <p:cNvSpPr/>
              <p:nvPr/>
            </p:nvSpPr>
            <p:spPr>
              <a:xfrm>
                <a:off x="2533051" y="4927334"/>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服务器</a:t>
                </a:r>
                <a:endParaRPr lang="en-US" sz="1050" dirty="0">
                  <a:solidFill>
                    <a:schemeClr val="bg1"/>
                  </a:solidFill>
                  <a:latin typeface="SimSun" panose="02010600030101010101" pitchFamily="2" charset="-122"/>
                  <a:ea typeface="SimSun" panose="02010600030101010101" pitchFamily="2" charset="-122"/>
                </a:endParaRPr>
              </a:p>
            </p:txBody>
          </p:sp>
          <p:sp>
            <p:nvSpPr>
              <p:cNvPr id="79" name="Rounded Rectangle 78"/>
              <p:cNvSpPr/>
              <p:nvPr/>
            </p:nvSpPr>
            <p:spPr>
              <a:xfrm>
                <a:off x="2533051" y="4554933"/>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虚拟化</a:t>
                </a:r>
                <a:endParaRPr lang="en-US" sz="1050" dirty="0">
                  <a:solidFill>
                    <a:schemeClr val="bg1"/>
                  </a:solidFill>
                  <a:latin typeface="SimSun" panose="02010600030101010101" pitchFamily="2" charset="-122"/>
                  <a:ea typeface="SimSun" panose="02010600030101010101" pitchFamily="2" charset="-122"/>
                </a:endParaRPr>
              </a:p>
            </p:txBody>
          </p:sp>
          <p:sp>
            <p:nvSpPr>
              <p:cNvPr id="80" name="Rounded Rectangle 79"/>
              <p:cNvSpPr/>
              <p:nvPr/>
            </p:nvSpPr>
            <p:spPr>
              <a:xfrm>
                <a:off x="2533051" y="4182532"/>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tx1"/>
                    </a:solidFill>
                    <a:latin typeface="SimSun" panose="02010600030101010101" pitchFamily="2" charset="-122"/>
                    <a:ea typeface="SimSun" panose="02010600030101010101" pitchFamily="2" charset="-122"/>
                  </a:rPr>
                  <a:t>操作系统</a:t>
                </a:r>
                <a:endParaRPr lang="en-US" sz="1050" dirty="0">
                  <a:solidFill>
                    <a:schemeClr val="tx1"/>
                  </a:solidFill>
                  <a:latin typeface="SimSun" panose="02010600030101010101" pitchFamily="2" charset="-122"/>
                  <a:ea typeface="SimSun" panose="02010600030101010101" pitchFamily="2" charset="-122"/>
                </a:endParaRPr>
              </a:p>
            </p:txBody>
          </p:sp>
          <p:sp>
            <p:nvSpPr>
              <p:cNvPr id="81" name="Rounded Rectangle 80"/>
              <p:cNvSpPr/>
              <p:nvPr/>
            </p:nvSpPr>
            <p:spPr>
              <a:xfrm>
                <a:off x="2533051" y="3810131"/>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tx1"/>
                    </a:solidFill>
                    <a:latin typeface="SimSun" panose="02010600030101010101" pitchFamily="2" charset="-122"/>
                    <a:ea typeface="SimSun" panose="02010600030101010101" pitchFamily="2" charset="-122"/>
                  </a:rPr>
                  <a:t>数据库</a:t>
                </a:r>
                <a:endParaRPr lang="en-US" sz="1050" dirty="0">
                  <a:solidFill>
                    <a:schemeClr val="tx1"/>
                  </a:solidFill>
                  <a:latin typeface="SimSun" panose="02010600030101010101" pitchFamily="2" charset="-122"/>
                  <a:ea typeface="SimSun" panose="02010600030101010101" pitchFamily="2" charset="-122"/>
                </a:endParaRPr>
              </a:p>
            </p:txBody>
          </p:sp>
          <p:sp>
            <p:nvSpPr>
              <p:cNvPr id="82" name="Rounded Rectangle 81"/>
              <p:cNvSpPr/>
              <p:nvPr/>
            </p:nvSpPr>
            <p:spPr>
              <a:xfrm>
                <a:off x="2533051" y="3437730"/>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tx1"/>
                    </a:solidFill>
                    <a:latin typeface="SimSun" panose="02010600030101010101" pitchFamily="2" charset="-122"/>
                    <a:ea typeface="SimSun" panose="02010600030101010101" pitchFamily="2" charset="-122"/>
                  </a:rPr>
                  <a:t>系统软件</a:t>
                </a:r>
                <a:endParaRPr lang="en-US" sz="1050" dirty="0">
                  <a:solidFill>
                    <a:schemeClr val="tx1"/>
                  </a:solidFill>
                  <a:latin typeface="SimSun" panose="02010600030101010101" pitchFamily="2" charset="-122"/>
                  <a:ea typeface="SimSun" panose="02010600030101010101" pitchFamily="2" charset="-122"/>
                </a:endParaRPr>
              </a:p>
            </p:txBody>
          </p:sp>
          <p:sp>
            <p:nvSpPr>
              <p:cNvPr id="83" name="Rounded Rectangle 82"/>
              <p:cNvSpPr/>
              <p:nvPr/>
            </p:nvSpPr>
            <p:spPr>
              <a:xfrm>
                <a:off x="2533051" y="3065329"/>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tx1"/>
                    </a:solidFill>
                    <a:latin typeface="SimSun" panose="02010600030101010101" pitchFamily="2" charset="-122"/>
                    <a:ea typeface="SimSun" panose="02010600030101010101" pitchFamily="2" charset="-122"/>
                  </a:rPr>
                  <a:t>应用架构</a:t>
                </a:r>
                <a:endParaRPr lang="en-US" sz="1050" dirty="0">
                  <a:solidFill>
                    <a:schemeClr val="tx1"/>
                  </a:solidFill>
                  <a:latin typeface="SimSun" panose="02010600030101010101" pitchFamily="2" charset="-122"/>
                  <a:ea typeface="SimSun" panose="02010600030101010101" pitchFamily="2" charset="-122"/>
                </a:endParaRPr>
              </a:p>
            </p:txBody>
          </p:sp>
          <p:sp>
            <p:nvSpPr>
              <p:cNvPr id="84" name="Rounded Rectangle 83"/>
              <p:cNvSpPr/>
              <p:nvPr/>
            </p:nvSpPr>
            <p:spPr>
              <a:xfrm>
                <a:off x="2533051" y="2692928"/>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eaLnBrk="1" hangingPunct="1"/>
                <a:r>
                  <a:rPr lang="zh-CN" altLang="en-US" sz="1050" dirty="0" smtClean="0">
                    <a:solidFill>
                      <a:schemeClr val="tx1"/>
                    </a:solidFill>
                    <a:latin typeface="SimSun" panose="02010600030101010101" pitchFamily="2" charset="-122"/>
                    <a:ea typeface="SimSun" panose="02010600030101010101" pitchFamily="2" charset="-122"/>
                  </a:rPr>
                  <a:t>应用</a:t>
                </a:r>
                <a:endParaRPr lang="en-US" sz="1050" dirty="0">
                  <a:solidFill>
                    <a:schemeClr val="tx1"/>
                  </a:solidFill>
                  <a:latin typeface="SimSun" panose="02010600030101010101" pitchFamily="2" charset="-122"/>
                  <a:ea typeface="SimSun" panose="02010600030101010101" pitchFamily="2" charset="-122"/>
                </a:endParaRPr>
              </a:p>
            </p:txBody>
          </p:sp>
          <p:sp>
            <p:nvSpPr>
              <p:cNvPr id="86" name="Rounded Rectangle 85"/>
              <p:cNvSpPr/>
              <p:nvPr/>
            </p:nvSpPr>
            <p:spPr>
              <a:xfrm>
                <a:off x="4610489" y="5672138"/>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网络</a:t>
                </a:r>
                <a:endParaRPr lang="en-US" sz="1050" dirty="0">
                  <a:solidFill>
                    <a:schemeClr val="bg1"/>
                  </a:solidFill>
                  <a:latin typeface="SimSun" panose="02010600030101010101" pitchFamily="2" charset="-122"/>
                  <a:ea typeface="SimSun" panose="02010600030101010101" pitchFamily="2" charset="-122"/>
                </a:endParaRPr>
              </a:p>
            </p:txBody>
          </p:sp>
          <p:sp>
            <p:nvSpPr>
              <p:cNvPr id="87" name="Rounded Rectangle 86"/>
              <p:cNvSpPr/>
              <p:nvPr/>
            </p:nvSpPr>
            <p:spPr>
              <a:xfrm>
                <a:off x="4610489" y="5299735"/>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bg1"/>
                    </a:solidFill>
                    <a:latin typeface="SimSun" panose="02010600030101010101" pitchFamily="2" charset="-122"/>
                    <a:ea typeface="SimSun" panose="02010600030101010101" pitchFamily="2" charset="-122"/>
                  </a:rPr>
                  <a:t>存储装置</a:t>
                </a:r>
                <a:endParaRPr lang="en-US" sz="1050" dirty="0">
                  <a:solidFill>
                    <a:schemeClr val="bg1"/>
                  </a:solidFill>
                  <a:latin typeface="SimSun" panose="02010600030101010101" pitchFamily="2" charset="-122"/>
                  <a:ea typeface="SimSun" panose="02010600030101010101" pitchFamily="2" charset="-122"/>
                </a:endParaRPr>
              </a:p>
            </p:txBody>
          </p:sp>
          <p:sp>
            <p:nvSpPr>
              <p:cNvPr id="88" name="Rounded Rectangle 87"/>
              <p:cNvSpPr/>
              <p:nvPr/>
            </p:nvSpPr>
            <p:spPr>
              <a:xfrm>
                <a:off x="4610489" y="4927334"/>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smtClean="0">
                    <a:solidFill>
                      <a:schemeClr val="bg1"/>
                    </a:solidFill>
                    <a:latin typeface="SimSun" panose="02010600030101010101" pitchFamily="2" charset="-122"/>
                    <a:ea typeface="SimSun" panose="02010600030101010101" pitchFamily="2" charset="-122"/>
                  </a:rPr>
                  <a:t>服务器</a:t>
                </a:r>
                <a:endParaRPr lang="en-US" sz="1050" dirty="0">
                  <a:solidFill>
                    <a:schemeClr val="bg1"/>
                  </a:solidFill>
                  <a:latin typeface="SimSun" panose="02010600030101010101" pitchFamily="2" charset="-122"/>
                  <a:ea typeface="SimSun" panose="02010600030101010101" pitchFamily="2" charset="-122"/>
                </a:endParaRPr>
              </a:p>
            </p:txBody>
          </p:sp>
          <p:sp>
            <p:nvSpPr>
              <p:cNvPr id="89" name="Rounded Rectangle 88"/>
              <p:cNvSpPr/>
              <p:nvPr/>
            </p:nvSpPr>
            <p:spPr>
              <a:xfrm>
                <a:off x="4610489" y="4554933"/>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smtClean="0">
                    <a:solidFill>
                      <a:schemeClr val="bg1"/>
                    </a:solidFill>
                    <a:latin typeface="SimSun" panose="02010600030101010101" pitchFamily="2" charset="-122"/>
                    <a:ea typeface="SimSun" panose="02010600030101010101" pitchFamily="2" charset="-122"/>
                  </a:rPr>
                  <a:t>虚拟化</a:t>
                </a:r>
                <a:endParaRPr lang="ja-JP" altLang="en-US" sz="1050" dirty="0">
                  <a:solidFill>
                    <a:schemeClr val="bg1"/>
                  </a:solidFill>
                  <a:latin typeface="SimSun" panose="02010600030101010101" pitchFamily="2" charset="-122"/>
                  <a:ea typeface="SimSun" panose="02010600030101010101" pitchFamily="2" charset="-122"/>
                </a:endParaRPr>
              </a:p>
            </p:txBody>
          </p:sp>
          <p:sp>
            <p:nvSpPr>
              <p:cNvPr id="90" name="Rounded Rectangle 89"/>
              <p:cNvSpPr/>
              <p:nvPr/>
            </p:nvSpPr>
            <p:spPr>
              <a:xfrm>
                <a:off x="4610489" y="4182532"/>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操作系统</a:t>
                </a:r>
                <a:endParaRPr lang="en-US" sz="1050" dirty="0">
                  <a:solidFill>
                    <a:schemeClr val="bg1"/>
                  </a:solidFill>
                  <a:latin typeface="SimSun" panose="02010600030101010101" pitchFamily="2" charset="-122"/>
                  <a:ea typeface="SimSun" panose="02010600030101010101" pitchFamily="2" charset="-122"/>
                </a:endParaRPr>
              </a:p>
            </p:txBody>
          </p:sp>
          <p:sp>
            <p:nvSpPr>
              <p:cNvPr id="91" name="Rounded Rectangle 90"/>
              <p:cNvSpPr/>
              <p:nvPr/>
            </p:nvSpPr>
            <p:spPr>
              <a:xfrm>
                <a:off x="4610489" y="3810131"/>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a:solidFill>
                      <a:schemeClr val="bg1"/>
                    </a:solidFill>
                    <a:latin typeface="SimSun" panose="02010600030101010101" pitchFamily="2" charset="-122"/>
                    <a:ea typeface="SimSun" panose="02010600030101010101" pitchFamily="2" charset="-122"/>
                  </a:rPr>
                  <a:t>数据库</a:t>
                </a:r>
                <a:endParaRPr lang="en-US" sz="1050" dirty="0">
                  <a:solidFill>
                    <a:schemeClr val="bg1"/>
                  </a:solidFill>
                  <a:latin typeface="SimSun" panose="02010600030101010101" pitchFamily="2" charset="-122"/>
                  <a:ea typeface="SimSun" panose="02010600030101010101" pitchFamily="2" charset="-122"/>
                </a:endParaRPr>
              </a:p>
            </p:txBody>
          </p:sp>
          <p:sp>
            <p:nvSpPr>
              <p:cNvPr id="92" name="Rounded Rectangle 91"/>
              <p:cNvSpPr/>
              <p:nvPr/>
            </p:nvSpPr>
            <p:spPr>
              <a:xfrm>
                <a:off x="4610489" y="3437730"/>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系统软件</a:t>
                </a:r>
                <a:endParaRPr lang="en-US" sz="1050" dirty="0">
                  <a:solidFill>
                    <a:schemeClr val="bg1"/>
                  </a:solidFill>
                  <a:latin typeface="SimSun" panose="02010600030101010101" pitchFamily="2" charset="-122"/>
                  <a:ea typeface="SimSun" panose="02010600030101010101" pitchFamily="2" charset="-122"/>
                </a:endParaRPr>
              </a:p>
            </p:txBody>
          </p:sp>
          <p:sp>
            <p:nvSpPr>
              <p:cNvPr id="93" name="Rounded Rectangle 92"/>
              <p:cNvSpPr/>
              <p:nvPr/>
            </p:nvSpPr>
            <p:spPr>
              <a:xfrm>
                <a:off x="4610489" y="3065329"/>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tx1"/>
                    </a:solidFill>
                    <a:latin typeface="SimSun" panose="02010600030101010101" pitchFamily="2" charset="-122"/>
                    <a:ea typeface="SimSun" panose="02010600030101010101" pitchFamily="2" charset="-122"/>
                  </a:rPr>
                  <a:t>应用架构</a:t>
                </a:r>
              </a:p>
            </p:txBody>
          </p:sp>
          <p:sp>
            <p:nvSpPr>
              <p:cNvPr id="94" name="Rounded Rectangle 93"/>
              <p:cNvSpPr/>
              <p:nvPr/>
            </p:nvSpPr>
            <p:spPr>
              <a:xfrm>
                <a:off x="4610489" y="2692928"/>
                <a:ext cx="1998000" cy="335147"/>
              </a:xfrm>
              <a:prstGeom prst="roundRect">
                <a:avLst>
                  <a:gd name="adj" fmla="val 0"/>
                </a:avLst>
              </a:prstGeom>
              <a:solidFill>
                <a:schemeClr val="tx2">
                  <a:lumMod val="20000"/>
                  <a:lumOff val="80000"/>
                </a:schemeClr>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eaLnBrk="1" hangingPunct="1"/>
                <a:r>
                  <a:rPr lang="zh-CN" altLang="en-US" sz="1050" dirty="0" smtClean="0">
                    <a:solidFill>
                      <a:schemeClr val="tx1"/>
                    </a:solidFill>
                    <a:latin typeface="SimSun" panose="02010600030101010101" pitchFamily="2" charset="-122"/>
                    <a:ea typeface="SimSun" panose="02010600030101010101" pitchFamily="2" charset="-122"/>
                  </a:rPr>
                  <a:t>应用</a:t>
                </a:r>
                <a:endParaRPr lang="en-US" sz="1050" dirty="0">
                  <a:solidFill>
                    <a:schemeClr val="tx1"/>
                  </a:solidFill>
                  <a:latin typeface="SimSun" panose="02010600030101010101" pitchFamily="2" charset="-122"/>
                  <a:ea typeface="SimSun" panose="02010600030101010101" pitchFamily="2" charset="-122"/>
                </a:endParaRPr>
              </a:p>
            </p:txBody>
          </p:sp>
          <p:sp>
            <p:nvSpPr>
              <p:cNvPr id="96" name="Rounded Rectangle 95"/>
              <p:cNvSpPr/>
              <p:nvPr/>
            </p:nvSpPr>
            <p:spPr>
              <a:xfrm>
                <a:off x="6687927" y="5672138"/>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网络</a:t>
                </a:r>
                <a:endParaRPr lang="en-US" sz="1050" dirty="0">
                  <a:solidFill>
                    <a:schemeClr val="bg1"/>
                  </a:solidFill>
                  <a:latin typeface="SimSun" panose="02010600030101010101" pitchFamily="2" charset="-122"/>
                  <a:ea typeface="SimSun" panose="02010600030101010101" pitchFamily="2" charset="-122"/>
                </a:endParaRPr>
              </a:p>
            </p:txBody>
          </p:sp>
          <p:sp>
            <p:nvSpPr>
              <p:cNvPr id="97" name="Rounded Rectangle 96"/>
              <p:cNvSpPr/>
              <p:nvPr/>
            </p:nvSpPr>
            <p:spPr>
              <a:xfrm>
                <a:off x="6687927" y="5299735"/>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存储装置</a:t>
                </a:r>
                <a:endParaRPr lang="en-US" sz="1050" dirty="0">
                  <a:solidFill>
                    <a:schemeClr val="bg1"/>
                  </a:solidFill>
                  <a:latin typeface="SimSun" panose="02010600030101010101" pitchFamily="2" charset="-122"/>
                  <a:ea typeface="SimSun" panose="02010600030101010101" pitchFamily="2" charset="-122"/>
                </a:endParaRPr>
              </a:p>
            </p:txBody>
          </p:sp>
          <p:sp>
            <p:nvSpPr>
              <p:cNvPr id="98" name="Rounded Rectangle 97"/>
              <p:cNvSpPr/>
              <p:nvPr/>
            </p:nvSpPr>
            <p:spPr>
              <a:xfrm>
                <a:off x="6687927" y="4927334"/>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服务器</a:t>
                </a:r>
                <a:endParaRPr lang="en-US" sz="1050" dirty="0">
                  <a:solidFill>
                    <a:schemeClr val="bg1"/>
                  </a:solidFill>
                  <a:latin typeface="SimSun" panose="02010600030101010101" pitchFamily="2" charset="-122"/>
                  <a:ea typeface="SimSun" panose="02010600030101010101" pitchFamily="2" charset="-122"/>
                </a:endParaRPr>
              </a:p>
            </p:txBody>
          </p:sp>
          <p:sp>
            <p:nvSpPr>
              <p:cNvPr id="99" name="Rounded Rectangle 98"/>
              <p:cNvSpPr/>
              <p:nvPr/>
            </p:nvSpPr>
            <p:spPr>
              <a:xfrm>
                <a:off x="6687927" y="4554933"/>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虚拟化</a:t>
                </a:r>
                <a:endParaRPr lang="en-US" sz="1050" dirty="0">
                  <a:solidFill>
                    <a:schemeClr val="bg1"/>
                  </a:solidFill>
                  <a:latin typeface="SimSun" panose="02010600030101010101" pitchFamily="2" charset="-122"/>
                  <a:ea typeface="SimSun" panose="02010600030101010101" pitchFamily="2" charset="-122"/>
                </a:endParaRPr>
              </a:p>
            </p:txBody>
          </p:sp>
          <p:sp>
            <p:nvSpPr>
              <p:cNvPr id="100" name="Rounded Rectangle 99"/>
              <p:cNvSpPr/>
              <p:nvPr/>
            </p:nvSpPr>
            <p:spPr>
              <a:xfrm>
                <a:off x="6687927" y="4182532"/>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操作系统</a:t>
                </a:r>
                <a:endParaRPr lang="en-US" sz="1050" dirty="0">
                  <a:solidFill>
                    <a:schemeClr val="bg1"/>
                  </a:solidFill>
                  <a:latin typeface="SimSun" panose="02010600030101010101" pitchFamily="2" charset="-122"/>
                  <a:ea typeface="SimSun" panose="02010600030101010101" pitchFamily="2" charset="-122"/>
                </a:endParaRPr>
              </a:p>
            </p:txBody>
          </p:sp>
          <p:sp>
            <p:nvSpPr>
              <p:cNvPr id="101" name="Rounded Rectangle 100"/>
              <p:cNvSpPr/>
              <p:nvPr/>
            </p:nvSpPr>
            <p:spPr>
              <a:xfrm>
                <a:off x="6687927" y="3810131"/>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smtClean="0">
                    <a:solidFill>
                      <a:schemeClr val="bg1"/>
                    </a:solidFill>
                    <a:latin typeface="SimSun" panose="02010600030101010101" pitchFamily="2" charset="-122"/>
                    <a:ea typeface="SimSun" panose="02010600030101010101" pitchFamily="2" charset="-122"/>
                  </a:rPr>
                  <a:t>数据库</a:t>
                </a:r>
                <a:endParaRPr lang="en-US" sz="1050" dirty="0">
                  <a:solidFill>
                    <a:schemeClr val="bg1"/>
                  </a:solidFill>
                  <a:latin typeface="SimSun" panose="02010600030101010101" pitchFamily="2" charset="-122"/>
                  <a:ea typeface="SimSun" panose="02010600030101010101" pitchFamily="2" charset="-122"/>
                </a:endParaRPr>
              </a:p>
            </p:txBody>
          </p:sp>
          <p:sp>
            <p:nvSpPr>
              <p:cNvPr id="102" name="Rounded Rectangle 101"/>
              <p:cNvSpPr/>
              <p:nvPr/>
            </p:nvSpPr>
            <p:spPr>
              <a:xfrm>
                <a:off x="6687927" y="3437730"/>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sz="1050" dirty="0">
                    <a:solidFill>
                      <a:schemeClr val="bg1"/>
                    </a:solidFill>
                    <a:latin typeface="SimSun" panose="02010600030101010101" pitchFamily="2" charset="-122"/>
                    <a:ea typeface="SimSun" panose="02010600030101010101" pitchFamily="2" charset="-122"/>
                  </a:rPr>
                  <a:t>系统软件</a:t>
                </a:r>
                <a:endParaRPr lang="en-US" sz="1050" dirty="0">
                  <a:solidFill>
                    <a:schemeClr val="bg1"/>
                  </a:solidFill>
                  <a:latin typeface="SimSun" panose="02010600030101010101" pitchFamily="2" charset="-122"/>
                  <a:ea typeface="SimSun" panose="02010600030101010101" pitchFamily="2" charset="-122"/>
                </a:endParaRPr>
              </a:p>
            </p:txBody>
          </p:sp>
          <p:sp>
            <p:nvSpPr>
              <p:cNvPr id="103" name="Rounded Rectangle 102"/>
              <p:cNvSpPr/>
              <p:nvPr/>
            </p:nvSpPr>
            <p:spPr>
              <a:xfrm>
                <a:off x="6687927" y="3065329"/>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sz="1050" dirty="0">
                    <a:solidFill>
                      <a:schemeClr val="bg1"/>
                    </a:solidFill>
                    <a:latin typeface="SimSun" panose="02010600030101010101" pitchFamily="2" charset="-122"/>
                    <a:ea typeface="SimSun" panose="02010600030101010101" pitchFamily="2" charset="-122"/>
                  </a:rPr>
                  <a:t>应用架构</a:t>
                </a:r>
                <a:endParaRPr lang="en-US" sz="1050" dirty="0">
                  <a:solidFill>
                    <a:schemeClr val="bg1"/>
                  </a:solidFill>
                  <a:latin typeface="SimSun" panose="02010600030101010101" pitchFamily="2" charset="-122"/>
                  <a:ea typeface="SimSun" panose="02010600030101010101" pitchFamily="2" charset="-122"/>
                </a:endParaRPr>
              </a:p>
            </p:txBody>
          </p:sp>
          <p:sp>
            <p:nvSpPr>
              <p:cNvPr id="104" name="Rounded Rectangle 103"/>
              <p:cNvSpPr/>
              <p:nvPr/>
            </p:nvSpPr>
            <p:spPr>
              <a:xfrm>
                <a:off x="6687927" y="2692928"/>
                <a:ext cx="1998000" cy="335147"/>
              </a:xfrm>
              <a:prstGeom prst="roundRect">
                <a:avLst>
                  <a:gd name="adj" fmla="val 0"/>
                </a:avLst>
              </a:prstGeom>
              <a:solidFill>
                <a:schemeClr val="tx2"/>
              </a:solidFill>
              <a:ln w="12700" cmpd="sng">
                <a:noFill/>
              </a:ln>
              <a:effectLst/>
            </p:spPr>
            <p:style>
              <a:lnRef idx="3">
                <a:schemeClr val="lt1"/>
              </a:lnRef>
              <a:fillRef idx="1">
                <a:schemeClr val="accent6"/>
              </a:fillRef>
              <a:effectRef idx="1">
                <a:schemeClr val="accent6"/>
              </a:effectRef>
              <a:fontRef idx="minor">
                <a:schemeClr val="lt1"/>
              </a:fontRef>
            </p:style>
            <p:txBody>
              <a:bodyPr rtlCol="0" anchor="ctr"/>
              <a:lstStyle/>
              <a:p>
                <a:pPr algn="ctr" eaLnBrk="1" hangingPunct="1"/>
                <a:r>
                  <a:rPr lang="ja-JP" altLang="en-US" sz="1050" dirty="0">
                    <a:solidFill>
                      <a:schemeClr val="bg1"/>
                    </a:solidFill>
                    <a:latin typeface="SimSun" panose="02010600030101010101" pitchFamily="2" charset="-122"/>
                    <a:ea typeface="SimSun" panose="02010600030101010101" pitchFamily="2" charset="-122"/>
                  </a:rPr>
                  <a:t>应</a:t>
                </a:r>
                <a:r>
                  <a:rPr lang="ja-JP" altLang="en-US" sz="1050" dirty="0" smtClean="0">
                    <a:solidFill>
                      <a:schemeClr val="bg1"/>
                    </a:solidFill>
                    <a:latin typeface="SimSun" panose="02010600030101010101" pitchFamily="2" charset="-122"/>
                    <a:ea typeface="SimSun" panose="02010600030101010101" pitchFamily="2" charset="-122"/>
                  </a:rPr>
                  <a:t>用</a:t>
                </a:r>
                <a:endParaRPr lang="ja-JP" altLang="en-US" sz="1050" dirty="0">
                  <a:solidFill>
                    <a:schemeClr val="bg1"/>
                  </a:solidFill>
                  <a:latin typeface="SimSun" panose="02010600030101010101" pitchFamily="2" charset="-122"/>
                  <a:ea typeface="SimSun" panose="02010600030101010101" pitchFamily="2" charset="-122"/>
                </a:endParaRPr>
              </a:p>
            </p:txBody>
          </p:sp>
        </p:grpSp>
      </p:grpSp>
    </p:spTree>
    <p:extLst>
      <p:ext uri="{BB962C8B-B14F-4D97-AF65-F5344CB8AC3E}">
        <p14:creationId xmlns:p14="http://schemas.microsoft.com/office/powerpoint/2010/main" val="36624458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latin typeface="SimSun" panose="02010600030101010101" pitchFamily="2" charset="-122"/>
                <a:ea typeface="SimSun" panose="02010600030101010101" pitchFamily="2" charset="-122"/>
              </a:rPr>
              <a:t>PaaS</a:t>
            </a:r>
            <a:r>
              <a:rPr lang="zh-CN" altLang="en-US" dirty="0" smtClean="0">
                <a:latin typeface="SimSun" panose="02010600030101010101" pitchFamily="2" charset="-122"/>
                <a:ea typeface="SimSun" panose="02010600030101010101" pitchFamily="2" charset="-122"/>
              </a:rPr>
              <a:t>的</a:t>
            </a:r>
            <a:r>
              <a:rPr lang="ja-JP" altLang="en-US" dirty="0" smtClean="0">
                <a:latin typeface="SimSun" panose="02010600030101010101" pitchFamily="2" charset="-122"/>
                <a:ea typeface="SimSun" panose="02010600030101010101" pitchFamily="2" charset="-122"/>
              </a:rPr>
              <a:t>价值</a:t>
            </a:r>
            <a:endParaRPr lang="en-GB" dirty="0">
              <a:latin typeface="SimSun" panose="02010600030101010101" pitchFamily="2" charset="-122"/>
              <a:ea typeface="SimSun" panose="02010600030101010101" pitchFamily="2" charset="-122"/>
            </a:endParaRPr>
          </a:p>
        </p:txBody>
      </p:sp>
      <p:grpSp>
        <p:nvGrpSpPr>
          <p:cNvPr id="2" name="Group 1"/>
          <p:cNvGrpSpPr/>
          <p:nvPr/>
        </p:nvGrpSpPr>
        <p:grpSpPr>
          <a:xfrm>
            <a:off x="512909" y="1196906"/>
            <a:ext cx="6512289" cy="927099"/>
            <a:chOff x="512909" y="1246066"/>
            <a:chExt cx="6512289" cy="927099"/>
          </a:xfrm>
        </p:grpSpPr>
        <p:sp>
          <p:nvSpPr>
            <p:cNvPr id="75" name="Content Placeholder 4"/>
            <p:cNvSpPr txBox="1">
              <a:spLocks/>
            </p:cNvSpPr>
            <p:nvPr/>
          </p:nvSpPr>
          <p:spPr>
            <a:xfrm>
              <a:off x="1655411" y="1291022"/>
              <a:ext cx="5369787" cy="339624"/>
            </a:xfrm>
            <a:prstGeom prst="rect">
              <a:avLst/>
            </a:prstGeom>
          </p:spPr>
          <p:txBody>
            <a:bodyPr vert="horz" lIns="0" tIns="0" rIns="0" bIns="0" rtlCol="0" anchor="t">
              <a:noAutofit/>
            </a:bodyPr>
            <a:lstStyle>
              <a:lvl1pPr marL="263525" indent="-263525"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1pPr>
              <a:lvl2pPr marL="538163" indent="-274638"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2pPr>
              <a:lvl3pPr marL="803275" indent="-265113"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3pPr>
              <a:lvl4pPr marL="1076325" indent="-273050"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4pPr>
              <a:lvl5pPr marL="1341438" indent="-265113"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spcAft>
                  <a:spcPts val="0"/>
                </a:spcAft>
                <a:buNone/>
              </a:pPr>
              <a:r>
                <a:rPr lang="ja-JP" altLang="en-US" sz="1600" dirty="0">
                  <a:latin typeface="SimSun" panose="02010600030101010101" pitchFamily="2" charset="-122"/>
                  <a:ea typeface="SimSun" panose="02010600030101010101" pitchFamily="2" charset="-122"/>
                </a:rPr>
                <a:t>降低成本</a:t>
              </a:r>
              <a:endParaRPr lang="en-CA" sz="1600" dirty="0">
                <a:latin typeface="SimSun" panose="02010600030101010101" pitchFamily="2" charset="-122"/>
                <a:ea typeface="SimSun" panose="02010600030101010101" pitchFamily="2" charset="-122"/>
              </a:endParaRPr>
            </a:p>
          </p:txBody>
        </p:sp>
        <p:pic>
          <p:nvPicPr>
            <p:cNvPr id="79" name="Picture 18" descr="http://www.clker.com/cliparts/d/6/7/f/13665273011480355466free-grey-cloud-dollar_coin-t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909" y="1246066"/>
              <a:ext cx="674715" cy="674715"/>
            </a:xfrm>
            <a:prstGeom prst="rect">
              <a:avLst/>
            </a:prstGeom>
            <a:noFill/>
            <a:extLst>
              <a:ext uri="{909E8E84-426E-40DD-AFC4-6F175D3DCCD1}">
                <a14:hiddenFill xmlns:a14="http://schemas.microsoft.com/office/drawing/2010/main">
                  <a:solidFill>
                    <a:srgbClr val="FFFFFF"/>
                  </a:solidFill>
                </a14:hiddenFill>
              </a:ext>
            </a:extLst>
          </p:spPr>
        </p:pic>
        <p:sp>
          <p:nvSpPr>
            <p:cNvPr id="83" name="Content Placeholder 4"/>
            <p:cNvSpPr txBox="1">
              <a:spLocks/>
            </p:cNvSpPr>
            <p:nvPr/>
          </p:nvSpPr>
          <p:spPr>
            <a:xfrm>
              <a:off x="1655411" y="1535228"/>
              <a:ext cx="5369787" cy="637937"/>
            </a:xfrm>
            <a:prstGeom prst="rect">
              <a:avLst/>
            </a:prstGeom>
          </p:spPr>
          <p:txBody>
            <a:bodyPr vert="horz" lIns="0" tIns="0" rIns="0" bIns="0" numCol="1" rtlCol="0" anchor="t">
              <a:noAutofit/>
            </a:bodyPr>
            <a:lstStyle>
              <a:lvl1pPr marL="263525" indent="-263525"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1pPr>
              <a:lvl2pPr marL="538163" indent="-274638"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2pPr>
              <a:lvl3pPr marL="803275" indent="-265113"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3pPr>
              <a:lvl4pPr marL="1076325" indent="-273050"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4pPr>
              <a:lvl5pPr marL="1341438" indent="-265113" algn="l" rtl="0" eaLnBrk="1" fontAlgn="base" hangingPunct="1">
                <a:spcBef>
                  <a:spcPts val="600"/>
                </a:spcBef>
                <a:spcAft>
                  <a:spcPct val="0"/>
                </a:spcAft>
                <a:buFont typeface="Arial" pitchFamily="34" charset="0"/>
                <a:buChar char="•"/>
                <a:defRPr sz="2000" kern="1200">
                  <a:solidFill>
                    <a:schemeClr val="tx2"/>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lvl="3" indent="-176213">
                <a:spcBef>
                  <a:spcPts val="300"/>
                </a:spcBef>
                <a:spcAft>
                  <a:spcPts val="0"/>
                </a:spcAft>
                <a:buSzPct val="80000"/>
                <a:buFont typeface="Arial" panose="020B0604020202020204" pitchFamily="34" charset="0"/>
                <a:buChar char="•"/>
                <a:defRPr/>
              </a:pPr>
              <a:r>
                <a:rPr lang="zh-CN" altLang="en-US" sz="1400" dirty="0" smtClean="0">
                  <a:latin typeface="SimSun" panose="02010600030101010101" pitchFamily="2" charset="-122"/>
                  <a:ea typeface="SimSun" panose="02010600030101010101" pitchFamily="2" charset="-122"/>
                  <a:cs typeface="+mn-cs"/>
                </a:rPr>
                <a:t>应用基础设施的低运营成本</a:t>
              </a:r>
              <a:endParaRPr lang="en-CA" sz="1400" dirty="0" smtClean="0">
                <a:latin typeface="SimSun" panose="02010600030101010101" pitchFamily="2" charset="-122"/>
                <a:ea typeface="SimSun" panose="02010600030101010101" pitchFamily="2" charset="-122"/>
                <a:cs typeface="+mn-cs"/>
              </a:endParaRPr>
            </a:p>
            <a:p>
              <a:pPr marL="176213" lvl="3" indent="-176213">
                <a:spcBef>
                  <a:spcPts val="300"/>
                </a:spcBef>
                <a:spcAft>
                  <a:spcPts val="0"/>
                </a:spcAft>
                <a:buSzPct val="80000"/>
                <a:buFont typeface="Arial" panose="020B0604020202020204" pitchFamily="34" charset="0"/>
                <a:buChar char="•"/>
                <a:defRPr/>
              </a:pPr>
              <a:r>
                <a:rPr lang="zh-CN" altLang="en-US" sz="1400" dirty="0" smtClean="0">
                  <a:latin typeface="SimSun" panose="02010600030101010101" pitchFamily="2" charset="-122"/>
                  <a:ea typeface="SimSun" panose="02010600030101010101" pitchFamily="2" charset="-122"/>
                </a:rPr>
                <a:t>应用基础设施</a:t>
              </a:r>
              <a:r>
                <a:rPr lang="ja-JP" altLang="en-US" sz="1400" dirty="0" smtClean="0">
                  <a:latin typeface="SimSun" panose="02010600030101010101" pitchFamily="2" charset="-122"/>
                  <a:ea typeface="SimSun" panose="02010600030101010101" pitchFamily="2" charset="-122"/>
                  <a:cs typeface="+mn-cs"/>
                </a:rPr>
                <a:t>按</a:t>
              </a:r>
              <a:r>
                <a:rPr lang="zh-CN" altLang="en-US" sz="1400" dirty="0" smtClean="0">
                  <a:latin typeface="SimSun" panose="02010600030101010101" pitchFamily="2" charset="-122"/>
                  <a:ea typeface="SimSun" panose="02010600030101010101" pitchFamily="2" charset="-122"/>
                  <a:cs typeface="+mn-cs"/>
                </a:rPr>
                <a:t>需</a:t>
              </a:r>
              <a:r>
                <a:rPr lang="ja-JP" altLang="en-US" sz="1400" dirty="0" smtClean="0">
                  <a:latin typeface="SimSun" panose="02010600030101010101" pitchFamily="2" charset="-122"/>
                  <a:ea typeface="SimSun" panose="02010600030101010101" pitchFamily="2" charset="-122"/>
                  <a:cs typeface="+mn-cs"/>
                </a:rPr>
                <a:t>付费</a:t>
              </a:r>
              <a:endParaRPr lang="en-CA" sz="1400" dirty="0" smtClean="0">
                <a:latin typeface="SimSun" panose="02010600030101010101" pitchFamily="2" charset="-122"/>
                <a:ea typeface="SimSun" panose="02010600030101010101" pitchFamily="2" charset="-122"/>
                <a:cs typeface="+mn-cs"/>
              </a:endParaRPr>
            </a:p>
            <a:p>
              <a:pPr marL="176213" lvl="3" indent="-176213">
                <a:spcBef>
                  <a:spcPts val="300"/>
                </a:spcBef>
                <a:spcAft>
                  <a:spcPts val="0"/>
                </a:spcAft>
                <a:buSzPct val="80000"/>
                <a:buFont typeface="Arial" panose="020B0604020202020204" pitchFamily="34" charset="0"/>
                <a:buChar char="•"/>
                <a:defRPr/>
              </a:pPr>
              <a:r>
                <a:rPr lang="zh-CN" altLang="en-US" sz="1400" dirty="0" smtClean="0">
                  <a:latin typeface="SimSun" panose="02010600030101010101" pitchFamily="2" charset="-122"/>
                  <a:ea typeface="SimSun" panose="02010600030101010101" pitchFamily="2" charset="-122"/>
                  <a:cs typeface="+mn-cs"/>
                </a:rPr>
                <a:t>规模经济</a:t>
              </a:r>
              <a:endParaRPr lang="en-CA" sz="1400" dirty="0" smtClean="0">
                <a:latin typeface="SimSun" panose="02010600030101010101" pitchFamily="2" charset="-122"/>
                <a:ea typeface="SimSun" panose="02010600030101010101" pitchFamily="2" charset="-122"/>
                <a:cs typeface="+mn-cs"/>
              </a:endParaRPr>
            </a:p>
          </p:txBody>
        </p:sp>
      </p:grpSp>
      <p:grpSp>
        <p:nvGrpSpPr>
          <p:cNvPr id="3" name="Group 2"/>
          <p:cNvGrpSpPr/>
          <p:nvPr/>
        </p:nvGrpSpPr>
        <p:grpSpPr>
          <a:xfrm>
            <a:off x="512909" y="2321686"/>
            <a:ext cx="6577005" cy="949851"/>
            <a:chOff x="512909" y="2427291"/>
            <a:chExt cx="6577005" cy="949851"/>
          </a:xfrm>
        </p:grpSpPr>
        <p:sp>
          <p:nvSpPr>
            <p:cNvPr id="73" name="Content Placeholder 4"/>
            <p:cNvSpPr txBox="1">
              <a:spLocks/>
            </p:cNvSpPr>
            <p:nvPr/>
          </p:nvSpPr>
          <p:spPr>
            <a:xfrm>
              <a:off x="1655411" y="2446902"/>
              <a:ext cx="4307682" cy="304800"/>
            </a:xfrm>
            <a:prstGeom prst="rect">
              <a:avLst/>
            </a:prstGeom>
          </p:spPr>
          <p:txBody>
            <a:bodyPr vert="horz" lIns="0" tIns="0" rIns="0" bIns="0" rtlCol="0" anchor="t">
              <a:noAutofit/>
            </a:bodyPr>
            <a:lstStyle>
              <a:defPPr>
                <a:defRPr lang="en-US"/>
              </a:defPPr>
              <a:lvl1pPr indent="0" fontAlgn="base">
                <a:spcBef>
                  <a:spcPts val="300"/>
                </a:spcBef>
                <a:spcAft>
                  <a:spcPts val="0"/>
                </a:spcAft>
                <a:buFont typeface="Arial" pitchFamily="34" charset="0"/>
                <a:buNone/>
                <a:defRPr>
                  <a:solidFill>
                    <a:schemeClr val="tx2"/>
                  </a:solidFill>
                  <a:latin typeface="Arial"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076325" indent="-273050"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600" dirty="0">
                  <a:latin typeface="SimSun" panose="02010600030101010101" pitchFamily="2" charset="-122"/>
                  <a:ea typeface="SimSun" panose="02010600030101010101" pitchFamily="2" charset="-122"/>
                </a:rPr>
                <a:t>上市速度</a:t>
              </a:r>
              <a:endParaRPr lang="en-CA" sz="1600" dirty="0">
                <a:latin typeface="SimSun" panose="02010600030101010101" pitchFamily="2" charset="-122"/>
                <a:ea typeface="SimSun" panose="02010600030101010101" pitchFamily="2" charset="-122"/>
              </a:endParaRPr>
            </a:p>
          </p:txBody>
        </p:sp>
        <p:pic>
          <p:nvPicPr>
            <p:cNvPr id="74" name="Picture 8" descr="http://www.clker.com/cliparts/c/7/f/d/1366532369376561270free-grey-cloud-runner-th.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909" y="2427291"/>
              <a:ext cx="674362" cy="674362"/>
            </a:xfrm>
            <a:prstGeom prst="rect">
              <a:avLst/>
            </a:prstGeom>
            <a:noFill/>
            <a:extLst>
              <a:ext uri="{909E8E84-426E-40DD-AFC4-6F175D3DCCD1}">
                <a14:hiddenFill xmlns:a14="http://schemas.microsoft.com/office/drawing/2010/main">
                  <a:solidFill>
                    <a:srgbClr val="FFFFFF"/>
                  </a:solidFill>
                </a14:hiddenFill>
              </a:ext>
            </a:extLst>
          </p:spPr>
        </p:pic>
        <p:sp>
          <p:nvSpPr>
            <p:cNvPr id="84" name="Content Placeholder 4"/>
            <p:cNvSpPr txBox="1">
              <a:spLocks/>
            </p:cNvSpPr>
            <p:nvPr/>
          </p:nvSpPr>
          <p:spPr>
            <a:xfrm>
              <a:off x="1720127" y="2714149"/>
              <a:ext cx="5369787" cy="662993"/>
            </a:xfrm>
            <a:prstGeom prst="rect">
              <a:avLst/>
            </a:prstGeom>
          </p:spPr>
          <p:txBody>
            <a:bodyPr vert="horz" lIns="0" tIns="0" rIns="0" bIns="0" numCol="1" rtlCol="0" anchor="t">
              <a:noAutofit/>
            </a:bodyPr>
            <a:lstStyle>
              <a:defPPr>
                <a:defRPr lang="en-US"/>
              </a:defPPr>
              <a:lvl1pPr marL="263525" indent="-263525"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76213" lvl="3" indent="-176213" fontAlgn="base">
                <a:spcBef>
                  <a:spcPts val="300"/>
                </a:spcBef>
                <a:spcAft>
                  <a:spcPts val="0"/>
                </a:spcAft>
                <a:buSzPct val="80000"/>
                <a:buFont typeface="Arial" panose="020B0604020202020204" pitchFamily="34" charset="0"/>
                <a:buChar char="•"/>
                <a:defRPr sz="1600">
                  <a:solidFill>
                    <a:schemeClr val="tx2"/>
                  </a:solidFill>
                  <a:latin typeface="Calibri" panose="020F0502020204030204"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3"/>
              <a:r>
                <a:rPr lang="zh-CN" altLang="en-US" sz="1400" dirty="0" smtClean="0">
                  <a:latin typeface="SimSun" panose="02010600030101010101" pitchFamily="2" charset="-122"/>
                  <a:ea typeface="SimSun" panose="02010600030101010101" pitchFamily="2" charset="-122"/>
                </a:rPr>
                <a:t>缩短测试时间</a:t>
              </a:r>
              <a:endParaRPr lang="en-CA" sz="1400" dirty="0">
                <a:latin typeface="SimSun" panose="02010600030101010101" pitchFamily="2" charset="-122"/>
                <a:ea typeface="SimSun" panose="02010600030101010101" pitchFamily="2" charset="-122"/>
              </a:endParaRPr>
            </a:p>
            <a:p>
              <a:pPr lvl="3"/>
              <a:r>
                <a:rPr lang="zh-CN" altLang="en-US" sz="1400" dirty="0" smtClean="0">
                  <a:latin typeface="SimSun" panose="02010600030101010101" pitchFamily="2" charset="-122"/>
                  <a:ea typeface="SimSun" panose="02010600030101010101" pitchFamily="2" charset="-122"/>
                </a:rPr>
                <a:t>对客户来说可以更快的使用</a:t>
              </a:r>
              <a:endParaRPr lang="en-CA" sz="1400" dirty="0">
                <a:latin typeface="SimSun" panose="02010600030101010101" pitchFamily="2" charset="-122"/>
                <a:ea typeface="SimSun" panose="02010600030101010101" pitchFamily="2" charset="-122"/>
              </a:endParaRPr>
            </a:p>
          </p:txBody>
        </p:sp>
      </p:grpSp>
      <p:grpSp>
        <p:nvGrpSpPr>
          <p:cNvPr id="5" name="Group 4"/>
          <p:cNvGrpSpPr/>
          <p:nvPr/>
        </p:nvGrpSpPr>
        <p:grpSpPr>
          <a:xfrm>
            <a:off x="512909" y="3217520"/>
            <a:ext cx="6567889" cy="892102"/>
            <a:chOff x="512909" y="3356992"/>
            <a:chExt cx="6567889" cy="892102"/>
          </a:xfrm>
        </p:grpSpPr>
        <p:sp>
          <p:nvSpPr>
            <p:cNvPr id="76" name="Content Placeholder 4"/>
            <p:cNvSpPr txBox="1">
              <a:spLocks/>
            </p:cNvSpPr>
            <p:nvPr/>
          </p:nvSpPr>
          <p:spPr>
            <a:xfrm>
              <a:off x="1655411" y="3356992"/>
              <a:ext cx="4307682" cy="318968"/>
            </a:xfrm>
            <a:prstGeom prst="rect">
              <a:avLst/>
            </a:prstGeom>
          </p:spPr>
          <p:txBody>
            <a:bodyPr vert="horz" lIns="0" tIns="0" rIns="0" bIns="0" rtlCol="0" anchor="t">
              <a:noAutofit/>
            </a:bodyPr>
            <a:lstStyle>
              <a:defPPr>
                <a:defRPr lang="en-US"/>
              </a:defPPr>
              <a:lvl1pPr indent="0" fontAlgn="base">
                <a:spcBef>
                  <a:spcPts val="300"/>
                </a:spcBef>
                <a:spcAft>
                  <a:spcPts val="0"/>
                </a:spcAft>
                <a:buFont typeface="Arial" pitchFamily="34" charset="0"/>
                <a:buNone/>
                <a:defRPr>
                  <a:solidFill>
                    <a:schemeClr val="tx2"/>
                  </a:solidFill>
                  <a:latin typeface="Arial"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076325" indent="-273050"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zh-CN" altLang="en-US" sz="1600" dirty="0">
                  <a:latin typeface="SimSun" panose="02010600030101010101" pitchFamily="2" charset="-122"/>
                  <a:ea typeface="SimSun" panose="02010600030101010101" pitchFamily="2" charset="-122"/>
                </a:rPr>
                <a:t>弹性</a:t>
              </a:r>
              <a:r>
                <a:rPr lang="en-US" altLang="zh-CN" sz="1600" dirty="0">
                  <a:latin typeface="SimSun" panose="02010600030101010101" pitchFamily="2" charset="-122"/>
                  <a:ea typeface="SimSun" panose="02010600030101010101" pitchFamily="2" charset="-122"/>
                </a:rPr>
                <a:t>/</a:t>
              </a:r>
              <a:r>
                <a:rPr lang="zh-CN" altLang="en-US" sz="1600" dirty="0">
                  <a:latin typeface="SimSun" panose="02010600030101010101" pitchFamily="2" charset="-122"/>
                  <a:ea typeface="SimSun" panose="02010600030101010101" pitchFamily="2" charset="-122"/>
                </a:rPr>
                <a:t>可扩展性</a:t>
              </a:r>
              <a:endParaRPr lang="en-CA" sz="1600" dirty="0">
                <a:latin typeface="SimSun" panose="02010600030101010101" pitchFamily="2" charset="-122"/>
                <a:ea typeface="SimSun" panose="02010600030101010101" pitchFamily="2" charset="-122"/>
              </a:endParaRPr>
            </a:p>
          </p:txBody>
        </p:sp>
        <p:pic>
          <p:nvPicPr>
            <p:cNvPr id="80" name="Picture 22" descr="http://www.clker.com/cliparts/0/4/3/e/1366526766537226386free-grey-cloud-cursor_drag_arrow-th.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2909" y="3501008"/>
              <a:ext cx="674715" cy="674715"/>
            </a:xfrm>
            <a:prstGeom prst="rect">
              <a:avLst/>
            </a:prstGeom>
            <a:noFill/>
            <a:extLst>
              <a:ext uri="{909E8E84-426E-40DD-AFC4-6F175D3DCCD1}">
                <a14:hiddenFill xmlns:a14="http://schemas.microsoft.com/office/drawing/2010/main">
                  <a:solidFill>
                    <a:srgbClr val="FFFFFF"/>
                  </a:solidFill>
                </a14:hiddenFill>
              </a:ext>
            </a:extLst>
          </p:spPr>
        </p:pic>
        <p:sp>
          <p:nvSpPr>
            <p:cNvPr id="85" name="Content Placeholder 4"/>
            <p:cNvSpPr txBox="1">
              <a:spLocks/>
            </p:cNvSpPr>
            <p:nvPr/>
          </p:nvSpPr>
          <p:spPr>
            <a:xfrm>
              <a:off x="1720128" y="3611157"/>
              <a:ext cx="5360670" cy="637937"/>
            </a:xfrm>
            <a:prstGeom prst="rect">
              <a:avLst/>
            </a:prstGeom>
          </p:spPr>
          <p:txBody>
            <a:bodyPr vert="horz" lIns="0" tIns="0" rIns="0" bIns="0" numCol="1" rtlCol="0" anchor="t">
              <a:noAutofit/>
            </a:bodyPr>
            <a:lstStyle>
              <a:defPPr>
                <a:defRPr lang="en-US"/>
              </a:defPPr>
              <a:lvl1pPr indent="0" fontAlgn="base">
                <a:spcBef>
                  <a:spcPts val="300"/>
                </a:spcBef>
                <a:spcAft>
                  <a:spcPts val="0"/>
                </a:spcAft>
                <a:buFont typeface="Arial" pitchFamily="34" charset="0"/>
                <a:buNone/>
                <a:defRPr sz="2000" b="1">
                  <a:solidFill>
                    <a:schemeClr val="tx1">
                      <a:lumMod val="65000"/>
                      <a:lumOff val="35000"/>
                    </a:schemeClr>
                  </a:solidFill>
                  <a:latin typeface="Calibri" panose="020F0502020204030204"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82563" lvl="3" indent="-182563" fontAlgn="base">
                <a:spcBef>
                  <a:spcPts val="300"/>
                </a:spcBef>
                <a:spcAft>
                  <a:spcPts val="0"/>
                </a:spcAft>
                <a:buSzPct val="80000"/>
                <a:buFont typeface="Arial" pitchFamily="34" charset="0"/>
                <a:buChar char="•"/>
                <a:defRPr>
                  <a:solidFill>
                    <a:schemeClr val="tx2"/>
                  </a:solidFill>
                  <a:latin typeface="Calibri" panose="020F0502020204030204"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3"/>
              <a:r>
                <a:rPr lang="ja-JP" altLang="en-US" sz="1400" dirty="0" smtClean="0">
                  <a:latin typeface="SimSun" panose="02010600030101010101" pitchFamily="2" charset="-122"/>
                  <a:ea typeface="SimSun" panose="02010600030101010101" pitchFamily="2" charset="-122"/>
                </a:rPr>
                <a:t>你需要它</a:t>
              </a:r>
              <a:r>
                <a:rPr lang="zh-CN" altLang="en-US" sz="1400" dirty="0" smtClean="0">
                  <a:latin typeface="SimSun" panose="02010600030101010101" pitchFamily="2" charset="-122"/>
                  <a:ea typeface="SimSun" panose="02010600030101010101" pitchFamily="2" charset="-122"/>
                </a:rPr>
                <a:t>时的能力（动态伸缩性）</a:t>
              </a:r>
              <a:endParaRPr lang="en-CA" sz="1400" dirty="0">
                <a:latin typeface="SimSun" panose="02010600030101010101" pitchFamily="2" charset="-122"/>
                <a:ea typeface="SimSun" panose="02010600030101010101" pitchFamily="2" charset="-122"/>
              </a:endParaRPr>
            </a:p>
            <a:p>
              <a:pPr lvl="3"/>
              <a:r>
                <a:rPr lang="zh-CN" altLang="en-US" sz="1400" dirty="0" smtClean="0">
                  <a:latin typeface="SimSun" panose="02010600030101010101" pitchFamily="2" charset="-122"/>
                  <a:ea typeface="SimSun" panose="02010600030101010101" pitchFamily="2" charset="-122"/>
                </a:rPr>
                <a:t>处理负载突然变化的能力</a:t>
              </a:r>
              <a:endParaRPr lang="en-CA" sz="1400" dirty="0">
                <a:latin typeface="SimSun" panose="02010600030101010101" pitchFamily="2" charset="-122"/>
                <a:ea typeface="SimSun" panose="02010600030101010101" pitchFamily="2" charset="-122"/>
              </a:endParaRPr>
            </a:p>
            <a:p>
              <a:pPr lvl="3"/>
              <a:r>
                <a:rPr lang="zh-CN" altLang="en-US" sz="1400" dirty="0">
                  <a:latin typeface="SimSun" panose="02010600030101010101" pitchFamily="2" charset="-122"/>
                  <a:ea typeface="SimSun" panose="02010600030101010101" pitchFamily="2" charset="-122"/>
                </a:rPr>
                <a:t>实现高业务</a:t>
              </a:r>
              <a:r>
                <a:rPr lang="zh-CN" altLang="en-US" sz="1400" dirty="0" smtClean="0">
                  <a:latin typeface="SimSun" panose="02010600030101010101" pitchFamily="2" charset="-122"/>
                  <a:ea typeface="SimSun" panose="02010600030101010101" pitchFamily="2" charset="-122"/>
                </a:rPr>
                <a:t>敏捷性的能力</a:t>
              </a:r>
              <a:endParaRPr lang="en-CA" sz="1400" dirty="0">
                <a:latin typeface="SimSun" panose="02010600030101010101" pitchFamily="2" charset="-122"/>
                <a:ea typeface="SimSun" panose="02010600030101010101" pitchFamily="2" charset="-122"/>
              </a:endParaRPr>
            </a:p>
          </p:txBody>
        </p:sp>
      </p:grpSp>
      <p:grpSp>
        <p:nvGrpSpPr>
          <p:cNvPr id="6" name="Group 5"/>
          <p:cNvGrpSpPr/>
          <p:nvPr/>
        </p:nvGrpSpPr>
        <p:grpSpPr>
          <a:xfrm>
            <a:off x="512411" y="4328593"/>
            <a:ext cx="6579869" cy="883933"/>
            <a:chOff x="512411" y="4437112"/>
            <a:chExt cx="6579869" cy="883933"/>
          </a:xfrm>
        </p:grpSpPr>
        <p:sp>
          <p:nvSpPr>
            <p:cNvPr id="81" name="Content Placeholder 4"/>
            <p:cNvSpPr txBox="1">
              <a:spLocks/>
            </p:cNvSpPr>
            <p:nvPr/>
          </p:nvSpPr>
          <p:spPr>
            <a:xfrm>
              <a:off x="1655411" y="4437112"/>
              <a:ext cx="4307682" cy="284818"/>
            </a:xfrm>
            <a:prstGeom prst="rect">
              <a:avLst/>
            </a:prstGeom>
          </p:spPr>
          <p:txBody>
            <a:bodyPr vert="horz" lIns="0" tIns="0" rIns="0" bIns="0" rtlCol="0" anchor="t">
              <a:noAutofit/>
            </a:bodyPr>
            <a:lstStyle>
              <a:defPPr>
                <a:defRPr lang="en-US"/>
              </a:defPPr>
              <a:lvl1pPr indent="0" fontAlgn="base">
                <a:spcBef>
                  <a:spcPts val="300"/>
                </a:spcBef>
                <a:spcAft>
                  <a:spcPts val="0"/>
                </a:spcAft>
                <a:buFont typeface="Arial" pitchFamily="34" charset="0"/>
                <a:buNone/>
                <a:defRPr>
                  <a:solidFill>
                    <a:schemeClr val="tx2"/>
                  </a:solidFill>
                  <a:latin typeface="Arial"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076325" indent="-273050"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600" dirty="0">
                  <a:latin typeface="SimSun" panose="02010600030101010101" pitchFamily="2" charset="-122"/>
                  <a:ea typeface="SimSun" panose="02010600030101010101" pitchFamily="2" charset="-122"/>
                </a:rPr>
                <a:t>敏捷</a:t>
              </a:r>
              <a:endParaRPr lang="en-CA" sz="1600" dirty="0">
                <a:latin typeface="SimSun" panose="02010600030101010101" pitchFamily="2" charset="-122"/>
                <a:ea typeface="SimSun" panose="02010600030101010101" pitchFamily="2" charset="-122"/>
              </a:endParaRPr>
            </a:p>
          </p:txBody>
        </p:sp>
        <p:pic>
          <p:nvPicPr>
            <p:cNvPr id="82" name="Picture 26" descr="http://www.clker.com/cliparts/b/5/1/8/1366532209448244285free-grey-cloud-rotate_3d-th.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411" y="4581128"/>
              <a:ext cx="674715" cy="674715"/>
            </a:xfrm>
            <a:prstGeom prst="rect">
              <a:avLst/>
            </a:prstGeom>
            <a:noFill/>
            <a:extLst>
              <a:ext uri="{909E8E84-426E-40DD-AFC4-6F175D3DCCD1}">
                <a14:hiddenFill xmlns:a14="http://schemas.microsoft.com/office/drawing/2010/main">
                  <a:solidFill>
                    <a:srgbClr val="FFFFFF"/>
                  </a:solidFill>
                </a14:hiddenFill>
              </a:ext>
            </a:extLst>
          </p:spPr>
        </p:pic>
        <p:sp>
          <p:nvSpPr>
            <p:cNvPr id="86" name="Content Placeholder 4"/>
            <p:cNvSpPr txBox="1">
              <a:spLocks/>
            </p:cNvSpPr>
            <p:nvPr/>
          </p:nvSpPr>
          <p:spPr>
            <a:xfrm>
              <a:off x="1731610" y="4683108"/>
              <a:ext cx="5360670" cy="637937"/>
            </a:xfrm>
            <a:prstGeom prst="rect">
              <a:avLst/>
            </a:prstGeom>
          </p:spPr>
          <p:txBody>
            <a:bodyPr vert="horz" lIns="0" tIns="0" rIns="0" bIns="0" numCol="1" rtlCol="0" anchor="t">
              <a:noAutofit/>
            </a:bodyPr>
            <a:lstStyle>
              <a:defPPr>
                <a:defRPr lang="en-US"/>
              </a:defPPr>
              <a:lvl1pPr indent="0" fontAlgn="base">
                <a:spcBef>
                  <a:spcPts val="300"/>
                </a:spcBef>
                <a:spcAft>
                  <a:spcPts val="0"/>
                </a:spcAft>
                <a:buFont typeface="Arial" pitchFamily="34" charset="0"/>
                <a:buNone/>
                <a:defRPr sz="2000" b="1">
                  <a:solidFill>
                    <a:schemeClr val="tx1">
                      <a:lumMod val="65000"/>
                      <a:lumOff val="35000"/>
                    </a:schemeClr>
                  </a:solidFill>
                  <a:latin typeface="Calibri" panose="020F0502020204030204"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82563" lvl="3" indent="-182563" fontAlgn="base">
                <a:spcBef>
                  <a:spcPts val="300"/>
                </a:spcBef>
                <a:spcAft>
                  <a:spcPts val="0"/>
                </a:spcAft>
                <a:buSzPct val="80000"/>
                <a:buFont typeface="Arial" pitchFamily="34" charset="0"/>
                <a:buChar char="•"/>
                <a:defRPr>
                  <a:solidFill>
                    <a:schemeClr val="tx2"/>
                  </a:solidFill>
                  <a:latin typeface="Calibri" panose="020F0502020204030204"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3"/>
              <a:r>
                <a:rPr lang="zh-CN" altLang="en-US" sz="1400" dirty="0">
                  <a:latin typeface="SimSun" panose="02010600030101010101" pitchFamily="2" charset="-122"/>
                  <a:ea typeface="SimSun" panose="02010600030101010101" pitchFamily="2" charset="-122"/>
                </a:rPr>
                <a:t>开发人员生产力</a:t>
              </a:r>
              <a:endParaRPr lang="en-CA" sz="1400" dirty="0" smtClean="0">
                <a:latin typeface="SimSun" panose="02010600030101010101" pitchFamily="2" charset="-122"/>
                <a:ea typeface="SimSun" panose="02010600030101010101" pitchFamily="2" charset="-122"/>
              </a:endParaRPr>
            </a:p>
            <a:p>
              <a:pPr lvl="3"/>
              <a:r>
                <a:rPr lang="zh-CN" altLang="en-US" sz="1400" dirty="0" smtClean="0">
                  <a:latin typeface="SimSun" panose="02010600030101010101" pitchFamily="2" charset="-122"/>
                  <a:ea typeface="SimSun" panose="02010600030101010101" pitchFamily="2" charset="-122"/>
                </a:rPr>
                <a:t>更快部署，更快迭代</a:t>
              </a:r>
              <a:endParaRPr lang="en-CA" sz="1400" dirty="0" smtClean="0">
                <a:latin typeface="SimSun" panose="02010600030101010101" pitchFamily="2" charset="-122"/>
                <a:ea typeface="SimSun" panose="02010600030101010101" pitchFamily="2" charset="-122"/>
              </a:endParaRPr>
            </a:p>
            <a:p>
              <a:pPr lvl="3"/>
              <a:r>
                <a:rPr lang="zh-CN" altLang="en-US" sz="1400" dirty="0">
                  <a:latin typeface="SimSun" panose="02010600030101010101" pitchFamily="2" charset="-122"/>
                  <a:ea typeface="SimSun" panose="02010600030101010101" pitchFamily="2" charset="-122"/>
                </a:rPr>
                <a:t>更快地响应不断变化的业务需求</a:t>
              </a:r>
              <a:endParaRPr lang="en-CA" sz="1400" dirty="0" smtClean="0">
                <a:latin typeface="SimSun" panose="02010600030101010101" pitchFamily="2" charset="-122"/>
                <a:ea typeface="SimSun" panose="02010600030101010101" pitchFamily="2" charset="-122"/>
              </a:endParaRPr>
            </a:p>
          </p:txBody>
        </p:sp>
      </p:grpSp>
      <p:grpSp>
        <p:nvGrpSpPr>
          <p:cNvPr id="7" name="Group 6"/>
          <p:cNvGrpSpPr/>
          <p:nvPr/>
        </p:nvGrpSpPr>
        <p:grpSpPr>
          <a:xfrm>
            <a:off x="512909" y="5420175"/>
            <a:ext cx="6579371" cy="1050643"/>
            <a:chOff x="512909" y="5661248"/>
            <a:chExt cx="6579371" cy="1202950"/>
          </a:xfrm>
        </p:grpSpPr>
        <p:sp>
          <p:nvSpPr>
            <p:cNvPr id="77" name="Content Placeholder 4"/>
            <p:cNvSpPr txBox="1">
              <a:spLocks/>
            </p:cNvSpPr>
            <p:nvPr/>
          </p:nvSpPr>
          <p:spPr>
            <a:xfrm>
              <a:off x="1655411" y="5661248"/>
              <a:ext cx="4307682" cy="285275"/>
            </a:xfrm>
            <a:prstGeom prst="rect">
              <a:avLst/>
            </a:prstGeom>
          </p:spPr>
          <p:txBody>
            <a:bodyPr vert="horz" lIns="0" tIns="0" rIns="0" bIns="0" rtlCol="0" anchor="t">
              <a:noAutofit/>
            </a:bodyPr>
            <a:lstStyle>
              <a:defPPr>
                <a:defRPr lang="en-US"/>
              </a:defPPr>
              <a:lvl1pPr indent="0" fontAlgn="base">
                <a:spcBef>
                  <a:spcPts val="300"/>
                </a:spcBef>
                <a:spcAft>
                  <a:spcPts val="0"/>
                </a:spcAft>
                <a:buFont typeface="Arial" pitchFamily="34" charset="0"/>
                <a:buNone/>
                <a:defRPr>
                  <a:solidFill>
                    <a:schemeClr val="tx2"/>
                  </a:solidFill>
                  <a:latin typeface="Arial"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076325" indent="-273050"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600" dirty="0">
                  <a:latin typeface="SimSun" panose="02010600030101010101" pitchFamily="2" charset="-122"/>
                  <a:ea typeface="SimSun" panose="02010600030101010101" pitchFamily="2" charset="-122"/>
                </a:rPr>
                <a:t>高性能计算</a:t>
              </a:r>
              <a:endParaRPr lang="en-CA" sz="1600" dirty="0">
                <a:latin typeface="SimSun" panose="02010600030101010101" pitchFamily="2" charset="-122"/>
                <a:ea typeface="SimSun" panose="02010600030101010101" pitchFamily="2" charset="-122"/>
              </a:endParaRPr>
            </a:p>
          </p:txBody>
        </p:sp>
        <p:pic>
          <p:nvPicPr>
            <p:cNvPr id="78" name="Picture 14" descr="http://www.clker.com/cliparts/a/1/b/f/13665257911562373612free-grey-cloud-chip-th.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909" y="5661248"/>
              <a:ext cx="674715" cy="674715"/>
            </a:xfrm>
            <a:prstGeom prst="rect">
              <a:avLst/>
            </a:prstGeom>
            <a:noFill/>
            <a:extLst>
              <a:ext uri="{909E8E84-426E-40DD-AFC4-6F175D3DCCD1}">
                <a14:hiddenFill xmlns:a14="http://schemas.microsoft.com/office/drawing/2010/main">
                  <a:solidFill>
                    <a:srgbClr val="FFFFFF"/>
                  </a:solidFill>
                </a14:hiddenFill>
              </a:ext>
            </a:extLst>
          </p:spPr>
        </p:pic>
        <p:sp>
          <p:nvSpPr>
            <p:cNvPr id="87" name="Content Placeholder 4"/>
            <p:cNvSpPr txBox="1">
              <a:spLocks/>
            </p:cNvSpPr>
            <p:nvPr/>
          </p:nvSpPr>
          <p:spPr>
            <a:xfrm>
              <a:off x="1731610" y="5946523"/>
              <a:ext cx="5360670" cy="917675"/>
            </a:xfrm>
            <a:prstGeom prst="rect">
              <a:avLst/>
            </a:prstGeom>
          </p:spPr>
          <p:txBody>
            <a:bodyPr vert="horz" lIns="0" tIns="0" rIns="0" bIns="0" numCol="1" rtlCol="0" anchor="t">
              <a:noAutofit/>
            </a:bodyPr>
            <a:lstStyle>
              <a:defPPr>
                <a:defRPr lang="en-US"/>
              </a:defPPr>
              <a:lvl1pPr indent="0" fontAlgn="base">
                <a:spcBef>
                  <a:spcPts val="300"/>
                </a:spcBef>
                <a:spcAft>
                  <a:spcPts val="0"/>
                </a:spcAft>
                <a:buFont typeface="Arial" pitchFamily="34" charset="0"/>
                <a:buNone/>
                <a:defRPr sz="2000" b="1">
                  <a:solidFill>
                    <a:schemeClr val="tx1">
                      <a:lumMod val="65000"/>
                      <a:lumOff val="35000"/>
                    </a:schemeClr>
                  </a:solidFill>
                  <a:latin typeface="Calibri" panose="020F0502020204030204" pitchFamily="34" charset="0"/>
                  <a:ea typeface="Arial" pitchFamily="-105" charset="-52"/>
                  <a:cs typeface="Arial" pitchFamily="34" charset="0"/>
                </a:defRPr>
              </a:lvl1pPr>
              <a:lvl2pPr marL="538163" indent="-274638"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2pPr>
              <a:lvl3pPr marL="803275"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3pPr>
              <a:lvl4pPr marL="182563" lvl="3" indent="-182563" fontAlgn="base">
                <a:spcBef>
                  <a:spcPts val="300"/>
                </a:spcBef>
                <a:spcAft>
                  <a:spcPts val="0"/>
                </a:spcAft>
                <a:buSzPct val="80000"/>
                <a:buFont typeface="Arial" pitchFamily="34" charset="0"/>
                <a:buChar char="•"/>
                <a:defRPr sz="1600">
                  <a:solidFill>
                    <a:schemeClr val="tx2"/>
                  </a:solidFill>
                  <a:latin typeface="Calibri" panose="020F0502020204030204" pitchFamily="34" charset="0"/>
                </a:defRPr>
              </a:lvl4pPr>
              <a:lvl5pPr marL="1341438" indent="-265113" fontAlgn="base">
                <a:spcBef>
                  <a:spcPts val="600"/>
                </a:spcBef>
                <a:spcAft>
                  <a:spcPct val="0"/>
                </a:spcAft>
                <a:buFont typeface="Arial" pitchFamily="34" charset="0"/>
                <a:buChar char="•"/>
                <a:defRPr sz="2000">
                  <a:solidFill>
                    <a:schemeClr val="tx2"/>
                  </a:solidFill>
                  <a:latin typeface="Arial" pitchFamily="34" charset="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3"/>
              <a:r>
                <a:rPr lang="zh-CN" altLang="en-US" sz="1400" dirty="0" smtClean="0">
                  <a:latin typeface="SimSun" panose="02010600030101010101" pitchFamily="2" charset="-122"/>
                  <a:ea typeface="SimSun" panose="02010600030101010101" pitchFamily="2" charset="-122"/>
                </a:rPr>
                <a:t>基于物理基础设施的增强能力</a:t>
              </a:r>
              <a:endParaRPr lang="en-CA" sz="1400" dirty="0">
                <a:latin typeface="SimSun" panose="02010600030101010101" pitchFamily="2" charset="-122"/>
                <a:ea typeface="SimSun" panose="02010600030101010101" pitchFamily="2" charset="-122"/>
              </a:endParaRPr>
            </a:p>
            <a:p>
              <a:pPr lvl="3"/>
              <a:r>
                <a:rPr lang="zh-CN" altLang="en-US" sz="1400" dirty="0">
                  <a:latin typeface="SimSun" panose="02010600030101010101" pitchFamily="2" charset="-122"/>
                  <a:ea typeface="SimSun" panose="02010600030101010101" pitchFamily="2" charset="-122"/>
                </a:rPr>
                <a:t>避免供应</a:t>
              </a:r>
              <a:r>
                <a:rPr lang="zh-CN" altLang="en-US" sz="1400" dirty="0" smtClean="0">
                  <a:latin typeface="SimSun" panose="02010600030101010101" pitchFamily="2" charset="-122"/>
                  <a:ea typeface="SimSun" panose="02010600030101010101" pitchFamily="2" charset="-122"/>
                </a:rPr>
                <a:t>（以及支付</a:t>
              </a:r>
              <a:r>
                <a:rPr lang="zh-CN" altLang="en-US" sz="1400" dirty="0">
                  <a:latin typeface="SimSun" panose="02010600030101010101" pitchFamily="2" charset="-122"/>
                  <a:ea typeface="SimSun" panose="02010600030101010101" pitchFamily="2" charset="-122"/>
                </a:rPr>
                <a:t>）的峰值</a:t>
              </a:r>
              <a:endParaRPr lang="en-CA" sz="1400" dirty="0">
                <a:latin typeface="SimSun" panose="02010600030101010101" pitchFamily="2" charset="-122"/>
                <a:ea typeface="SimSun" panose="02010600030101010101" pitchFamily="2" charset="-122"/>
              </a:endParaRPr>
            </a:p>
            <a:p>
              <a:pPr lvl="3"/>
              <a:r>
                <a:rPr lang="zh-CN" altLang="en-US" sz="1400" dirty="0" smtClean="0">
                  <a:latin typeface="SimSun" panose="02010600030101010101" pitchFamily="2" charset="-122"/>
                  <a:ea typeface="SimSun" panose="02010600030101010101" pitchFamily="2" charset="-122"/>
                </a:rPr>
                <a:t>按需的</a:t>
              </a:r>
              <a:r>
                <a:rPr lang="en-CA" sz="1400" dirty="0" smtClean="0">
                  <a:latin typeface="SimSun" panose="02010600030101010101" pitchFamily="2" charset="-122"/>
                  <a:ea typeface="SimSun" panose="02010600030101010101" pitchFamily="2" charset="-122"/>
                </a:rPr>
                <a:t>“</a:t>
              </a:r>
              <a:r>
                <a:rPr lang="zh-CN" altLang="en-US" sz="1400" dirty="0" smtClean="0">
                  <a:latin typeface="SimSun" panose="02010600030101010101" pitchFamily="2" charset="-122"/>
                  <a:ea typeface="SimSun" panose="02010600030101010101" pitchFamily="2" charset="-122"/>
                </a:rPr>
                <a:t>无限</a:t>
              </a:r>
              <a:r>
                <a:rPr lang="en-CA" sz="1400" dirty="0" smtClean="0">
                  <a:latin typeface="SimSun" panose="02010600030101010101" pitchFamily="2" charset="-122"/>
                  <a:ea typeface="SimSun" panose="02010600030101010101" pitchFamily="2" charset="-122"/>
                </a:rPr>
                <a:t>”</a:t>
              </a:r>
              <a:r>
                <a:rPr lang="zh-CN" altLang="en-US" sz="1400" dirty="0" smtClean="0">
                  <a:latin typeface="SimSun" panose="02010600030101010101" pitchFamily="2" charset="-122"/>
                  <a:ea typeface="SimSun" panose="02010600030101010101" pitchFamily="2" charset="-122"/>
                </a:rPr>
                <a:t>计算能力</a:t>
              </a:r>
              <a:endParaRPr lang="en-CA" sz="1400" dirty="0">
                <a:latin typeface="SimSun" panose="02010600030101010101" pitchFamily="2" charset="-122"/>
                <a:ea typeface="SimSun" panose="02010600030101010101" pitchFamily="2" charset="-122"/>
              </a:endParaRPr>
            </a:p>
          </p:txBody>
        </p:sp>
      </p:grpSp>
      <p:sp>
        <p:nvSpPr>
          <p:cNvPr id="24" name="Footer Placeholder 4"/>
          <p:cNvSpPr>
            <a:spLocks noGrp="1"/>
          </p:cNvSpPr>
          <p:nvPr>
            <p:ph type="ftr" sz="quarter" idx="13"/>
          </p:nvPr>
        </p:nvSpPr>
        <p:spPr>
          <a:xfrm>
            <a:off x="-117550" y="6573070"/>
            <a:ext cx="3600000" cy="128588"/>
          </a:xfrm>
        </p:spPr>
        <p:txBody>
          <a:bodyPr/>
          <a:lstStyle/>
          <a:p>
            <a:r>
              <a:rPr lang="en-AU" dirty="0" smtClean="0"/>
              <a:t>Copyright © 20</a:t>
            </a:r>
            <a:r>
              <a:rPr lang="en-US" altLang="zh-CN" dirty="0" smtClean="0"/>
              <a:t>16</a:t>
            </a:r>
            <a:r>
              <a:rPr lang="en-AU" dirty="0" smtClean="0"/>
              <a:t> Accenture  All rights reserved.</a:t>
            </a:r>
            <a:endParaRPr lang="en-AU" dirty="0"/>
          </a:p>
        </p:txBody>
      </p:sp>
    </p:spTree>
    <p:extLst>
      <p:ext uri="{BB962C8B-B14F-4D97-AF65-F5344CB8AC3E}">
        <p14:creationId xmlns:p14="http://schemas.microsoft.com/office/powerpoint/2010/main" val="3060804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5-1066 DevOps Academy">
  <a:themeElements>
    <a:clrScheme name="Custom 9">
      <a:dk1>
        <a:srgbClr val="000000"/>
      </a:dk1>
      <a:lt1>
        <a:srgbClr val="FFFFFF"/>
      </a:lt1>
      <a:dk2>
        <a:srgbClr val="666666"/>
      </a:dk2>
      <a:lt2>
        <a:srgbClr val="778888"/>
      </a:lt2>
      <a:accent1>
        <a:srgbClr val="00A000"/>
      </a:accent1>
      <a:accent2>
        <a:srgbClr val="FF9900"/>
      </a:accent2>
      <a:accent3>
        <a:srgbClr val="6688BB"/>
      </a:accent3>
      <a:accent4>
        <a:srgbClr val="AADDEE"/>
      </a:accent4>
      <a:accent5>
        <a:srgbClr val="003344"/>
      </a:accent5>
      <a:accent6>
        <a:srgbClr val="00A000"/>
      </a:accent6>
      <a:hlink>
        <a:srgbClr val="00A000"/>
      </a:hlink>
      <a:folHlink>
        <a:srgbClr val="00A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3"/>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BFBB5BF09D2FB43BEC430549F0DDF4A" ma:contentTypeVersion="0" ma:contentTypeDescription="Create a new document." ma:contentTypeScope="" ma:versionID="7a0de2ed6fdf2ec982e9290f3e4ee0de">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8FF39-A5D2-4C20-89CA-E0BB61C09927}"/>
</file>

<file path=customXml/itemProps2.xml><?xml version="1.0" encoding="utf-8"?>
<ds:datastoreItem xmlns:ds="http://schemas.openxmlformats.org/officeDocument/2006/customXml" ds:itemID="{48F8F1A2-C046-4AB9-81EA-C5F4637558F3}"/>
</file>

<file path=customXml/itemProps3.xml><?xml version="1.0" encoding="utf-8"?>
<ds:datastoreItem xmlns:ds="http://schemas.openxmlformats.org/officeDocument/2006/customXml" ds:itemID="{9FB9E9F0-A80E-4BC0-BC10-BBDB06BF5FEE}"/>
</file>

<file path=docProps/app.xml><?xml version="1.0" encoding="utf-8"?>
<Properties xmlns="http://schemas.openxmlformats.org/officeDocument/2006/extended-properties" xmlns:vt="http://schemas.openxmlformats.org/officeDocument/2006/docPropsVTypes">
  <Template>Top_WHT_2</Template>
  <TotalTime>10218</TotalTime>
  <Words>5497</Words>
  <Application>Microsoft Office PowerPoint</Application>
  <PresentationFormat>On-screen Show (4:3)</PresentationFormat>
  <Paragraphs>1068</Paragraphs>
  <Slides>64</Slides>
  <Notes>5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2" baseType="lpstr">
      <vt:lpstr>MV Boli</vt:lpstr>
      <vt:lpstr>Calibri</vt:lpstr>
      <vt:lpstr>Arial</vt:lpstr>
      <vt:lpstr>Wingdings</vt:lpstr>
      <vt:lpstr>黑体</vt:lpstr>
      <vt:lpstr>SimSun</vt:lpstr>
      <vt:lpstr>15-1066 DevOps Academy</vt:lpstr>
      <vt:lpstr>think-cell Slide</vt:lpstr>
      <vt:lpstr>DevOps Introduction</vt:lpstr>
      <vt:lpstr>DevOps  DCSC 的定义– Martin Croker and Markos Rendell</vt:lpstr>
      <vt:lpstr>什么是 DevOps?</vt:lpstr>
      <vt:lpstr>PowerPoint Presentation</vt:lpstr>
      <vt:lpstr>DevOps核心概念</vt:lpstr>
      <vt:lpstr>云技术基础</vt:lpstr>
      <vt:lpstr>PaaS（Platform as a Service）平台资源服务 </vt:lpstr>
      <vt:lpstr>云计算部署模式</vt:lpstr>
      <vt:lpstr>PaaS的价值</vt:lpstr>
      <vt:lpstr>PaaS的优势</vt:lpstr>
      <vt:lpstr>补丁修复</vt:lpstr>
      <vt:lpstr>补丁修复</vt:lpstr>
      <vt:lpstr>补丁修复</vt:lpstr>
      <vt:lpstr>监控</vt:lpstr>
      <vt:lpstr>监控</vt:lpstr>
      <vt:lpstr>监控</vt:lpstr>
      <vt:lpstr>监控</vt:lpstr>
      <vt:lpstr>备份</vt:lpstr>
      <vt:lpstr>备份</vt:lpstr>
      <vt:lpstr>备份</vt:lpstr>
      <vt:lpstr>DevOps核心概念</vt:lpstr>
      <vt:lpstr>介绍</vt:lpstr>
      <vt:lpstr>配置项目</vt:lpstr>
      <vt:lpstr>可配置项目</vt:lpstr>
      <vt:lpstr>软件配置管理</vt:lpstr>
      <vt:lpstr>版本控制</vt:lpstr>
      <vt:lpstr>推荐工具</vt:lpstr>
      <vt:lpstr>Git提供一个版本控制的分散式选项</vt:lpstr>
      <vt:lpstr>精益概述</vt:lpstr>
      <vt:lpstr>精益模型</vt:lpstr>
      <vt:lpstr>精益–快速反馈</vt:lpstr>
      <vt:lpstr>精益–SCM主要含义</vt:lpstr>
      <vt:lpstr>分支策略</vt:lpstr>
      <vt:lpstr>分支策略</vt:lpstr>
      <vt:lpstr>DevOps核心概念</vt:lpstr>
      <vt:lpstr>代码质量</vt:lpstr>
      <vt:lpstr>什么是测试？ </vt:lpstr>
      <vt:lpstr>不同的测试阶段</vt:lpstr>
      <vt:lpstr>质量检验关</vt:lpstr>
      <vt:lpstr>在CI流程中质量检查关的应用</vt:lpstr>
      <vt:lpstr>静态代码分析</vt:lpstr>
      <vt:lpstr>定制代码分析</vt:lpstr>
      <vt:lpstr>其他静态代码分析工具</vt:lpstr>
      <vt:lpstr>Cucumber</vt:lpstr>
      <vt:lpstr>功能自动化测试– Selenium</vt:lpstr>
      <vt:lpstr>功能自动化测试- Selenium</vt:lpstr>
      <vt:lpstr>功能自动化测试– OWASP Zed Attack Proxy (ZAP)</vt:lpstr>
      <vt:lpstr>功能自动化测试– OWASP Zed Attack Proxy (ZAP)</vt:lpstr>
      <vt:lpstr>可选择的产品</vt:lpstr>
      <vt:lpstr>PowerPoint Presentation</vt:lpstr>
      <vt:lpstr>持续集成的定义来自哪里</vt:lpstr>
      <vt:lpstr>持续交付的定义来自哪里</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推荐的工具</vt:lpstr>
      <vt:lpstr>真实项目中的使用案例</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5-1066 DevOps Academy</dc:title>
  <dc:creator>creative.services.presentations@accenture.com</dc:creator>
  <cp:lastModifiedBy>zhiqing.shen</cp:lastModifiedBy>
  <cp:revision>1315</cp:revision>
  <cp:lastPrinted>2009-05-13T12:37:25Z</cp:lastPrinted>
  <dcterms:created xsi:type="dcterms:W3CDTF">2012-01-18T22:44:04Z</dcterms:created>
  <dcterms:modified xsi:type="dcterms:W3CDTF">2016-07-01T05:5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FBB5BF09D2FB43BEC430549F0DDF4A</vt:lpwstr>
  </property>
  <property fmtid="{D5CDD505-2E9C-101B-9397-08002B2CF9AE}" pid="3" name="UserName">
    <vt:lpwstr>dpallos</vt:lpwstr>
  </property>
  <property fmtid="{D5CDD505-2E9C-101B-9397-08002B2CF9AE}" pid="4" name="ComputerName">
    <vt:lpwstr>ACN008369</vt:lpwstr>
  </property>
  <property fmtid="{D5CDD505-2E9C-101B-9397-08002B2CF9AE}" pid="5" name="palette_size">
    <vt:lpwstr>5</vt:lpwstr>
  </property>
  <property fmtid="{D5CDD505-2E9C-101B-9397-08002B2CF9AE}" pid="6" name="GUIDE_C1L">
    <vt:lpwstr>35.87504</vt:lpwstr>
  </property>
  <property fmtid="{D5CDD505-2E9C-101B-9397-08002B2CF9AE}" pid="7" name="GUIDE_C1R">
    <vt:lpwstr>246.3307</vt:lpwstr>
  </property>
  <property fmtid="{D5CDD505-2E9C-101B-9397-08002B2CF9AE}" pid="8" name="GUIDE_C2L">
    <vt:lpwstr>254.8346</vt:lpwstr>
  </property>
  <property fmtid="{D5CDD505-2E9C-101B-9397-08002B2CF9AE}" pid="9" name="GUIDE_ML">
    <vt:lpwstr>355.748</vt:lpwstr>
  </property>
  <property fmtid="{D5CDD505-2E9C-101B-9397-08002B2CF9AE}" pid="10" name="GUIDE_MR">
    <vt:lpwstr>364.252</vt:lpwstr>
  </property>
  <property fmtid="{D5CDD505-2E9C-101B-9397-08002B2CF9AE}" pid="11" name="GUIDE_C2R">
    <vt:lpwstr>465.125</vt:lpwstr>
  </property>
  <property fmtid="{D5CDD505-2E9C-101B-9397-08002B2CF9AE}" pid="12" name="GUIDE_C3L">
    <vt:lpwstr>473.75</vt:lpwstr>
  </property>
  <property fmtid="{D5CDD505-2E9C-101B-9397-08002B2CF9AE}" pid="13" name="GUIDE_C3R">
    <vt:lpwstr>684.1251</vt:lpwstr>
  </property>
  <property fmtid="{D5CDD505-2E9C-101B-9397-08002B2CF9AE}" pid="14" name="GUIDE_GTL_R">
    <vt:lpwstr>688</vt:lpwstr>
  </property>
  <property fmtid="{D5CDD505-2E9C-101B-9397-08002B2CF9AE}" pid="15" name="GUIDE_R1">
    <vt:lpwstr>30.62504</vt:lpwstr>
  </property>
  <property fmtid="{D5CDD505-2E9C-101B-9397-08002B2CF9AE}" pid="16" name="GUIDE_R2">
    <vt:lpwstr>83.12504</vt:lpwstr>
  </property>
  <property fmtid="{D5CDD505-2E9C-101B-9397-08002B2CF9AE}" pid="17" name="GUIDE_R3">
    <vt:lpwstr>100.6645</vt:lpwstr>
  </property>
  <property fmtid="{D5CDD505-2E9C-101B-9397-08002B2CF9AE}" pid="18" name="GUIDE_R4">
    <vt:lpwstr>511.25</vt:lpwstr>
  </property>
</Properties>
</file>